
<file path=[Content_Types].xml><?xml version="1.0" encoding="utf-8"?>
<Types xmlns="http://schemas.openxmlformats.org/package/2006/content-types">
  <Default Extension="jpeg" ContentType="image/jpeg"/>
  <Default Extension="jpg" ContentType="image/jpeg"/>
  <Default Extension="mp3" ContentType="audio/m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8.xml" ContentType="application/vnd.openxmlformats-officedocument.presentationml.tags+xml"/>
  <Override PartName="/ppt/notesSlides/notesSlide40.xml" ContentType="application/vnd.openxmlformats-officedocument.presentationml.notesSlide+xml"/>
  <Override PartName="/ppt/tags/tag9.xml" ContentType="application/vnd.openxmlformats-officedocument.presentationml.tags+xml"/>
  <Override PartName="/ppt/notesSlides/notesSlide41.xml" ContentType="application/vnd.openxmlformats-officedocument.presentationml.notesSlide+xml"/>
  <Override PartName="/ppt/tags/tag10.xml" ContentType="application/vnd.openxmlformats-officedocument.presentationml.tags+xml"/>
  <Override PartName="/ppt/notesSlides/notesSlide42.xml" ContentType="application/vnd.openxmlformats-officedocument.presentationml.notesSlide+xml"/>
  <Override PartName="/ppt/tags/tag11.xml" ContentType="application/vnd.openxmlformats-officedocument.presentationml.tags+xml"/>
  <Override PartName="/ppt/notesSlides/notesSlide43.xml" ContentType="application/vnd.openxmlformats-officedocument.presentationml.notesSlide+xml"/>
  <Override PartName="/ppt/tags/tag12.xml" ContentType="application/vnd.openxmlformats-officedocument.presentationml.tags+xml"/>
  <Override PartName="/ppt/notesSlides/notesSlide4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47.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48.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49.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50.xml" ContentType="application/vnd.openxmlformats-officedocument.presentationml.notesSlide+xml"/>
  <Override PartName="/ppt/tags/tag76.xml" ContentType="application/vnd.openxmlformats-officedocument.presentationml.tags+xml"/>
  <Override PartName="/ppt/notesSlides/notesSlide51.xml" ContentType="application/vnd.openxmlformats-officedocument.presentationml.notesSlide+xml"/>
  <Override PartName="/ppt/tags/tag77.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78.xml" ContentType="application/vnd.openxmlformats-officedocument.presentationml.tags+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6" r:id="rId5"/>
  </p:sldMasterIdLst>
  <p:notesMasterIdLst>
    <p:notesMasterId r:id="rId66"/>
  </p:notesMasterIdLst>
  <p:handoutMasterIdLst>
    <p:handoutMasterId r:id="rId67"/>
  </p:handoutMasterIdLst>
  <p:sldIdLst>
    <p:sldId id="314" r:id="rId6"/>
    <p:sldId id="406" r:id="rId7"/>
    <p:sldId id="419" r:id="rId8"/>
    <p:sldId id="388" r:id="rId9"/>
    <p:sldId id="509" r:id="rId10"/>
    <p:sldId id="532" r:id="rId11"/>
    <p:sldId id="530" r:id="rId12"/>
    <p:sldId id="533" r:id="rId13"/>
    <p:sldId id="433" r:id="rId14"/>
    <p:sldId id="542" r:id="rId15"/>
    <p:sldId id="543" r:id="rId16"/>
    <p:sldId id="534" r:id="rId17"/>
    <p:sldId id="558" r:id="rId18"/>
    <p:sldId id="535" r:id="rId19"/>
    <p:sldId id="559" r:id="rId20"/>
    <p:sldId id="557" r:id="rId21"/>
    <p:sldId id="536" r:id="rId22"/>
    <p:sldId id="567" r:id="rId23"/>
    <p:sldId id="537" r:id="rId24"/>
    <p:sldId id="538" r:id="rId25"/>
    <p:sldId id="539" r:id="rId26"/>
    <p:sldId id="540" r:id="rId27"/>
    <p:sldId id="568" r:id="rId28"/>
    <p:sldId id="589" r:id="rId29"/>
    <p:sldId id="544" r:id="rId30"/>
    <p:sldId id="572" r:id="rId31"/>
    <p:sldId id="573" r:id="rId32"/>
    <p:sldId id="574" r:id="rId33"/>
    <p:sldId id="575" r:id="rId34"/>
    <p:sldId id="571" r:id="rId35"/>
    <p:sldId id="576" r:id="rId36"/>
    <p:sldId id="577" r:id="rId37"/>
    <p:sldId id="579" r:id="rId38"/>
    <p:sldId id="588" r:id="rId39"/>
    <p:sldId id="580" r:id="rId40"/>
    <p:sldId id="581" r:id="rId41"/>
    <p:sldId id="582" r:id="rId42"/>
    <p:sldId id="583" r:id="rId43"/>
    <p:sldId id="584" r:id="rId44"/>
    <p:sldId id="587" r:id="rId45"/>
    <p:sldId id="586" r:id="rId46"/>
    <p:sldId id="585" r:id="rId47"/>
    <p:sldId id="545" r:id="rId48"/>
    <p:sldId id="546" r:id="rId49"/>
    <p:sldId id="548" r:id="rId50"/>
    <p:sldId id="554" r:id="rId51"/>
    <p:sldId id="553" r:id="rId52"/>
    <p:sldId id="552" r:id="rId53"/>
    <p:sldId id="551" r:id="rId54"/>
    <p:sldId id="555" r:id="rId55"/>
    <p:sldId id="550" r:id="rId56"/>
    <p:sldId id="556" r:id="rId57"/>
    <p:sldId id="560" r:id="rId58"/>
    <p:sldId id="561" r:id="rId59"/>
    <p:sldId id="562" r:id="rId60"/>
    <p:sldId id="563" r:id="rId61"/>
    <p:sldId id="564" r:id="rId62"/>
    <p:sldId id="565" r:id="rId63"/>
    <p:sldId id="566" r:id="rId64"/>
    <p:sldId id="405" r:id="rId65"/>
  </p:sldIdLst>
  <p:sldSz cx="12192000" cy="6858000"/>
  <p:notesSz cx="6797675" cy="9926638"/>
  <p:defaultTex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03"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BA00"/>
    <a:srgbClr val="0093A7"/>
    <a:srgbClr val="404040"/>
    <a:srgbClr val="3F3F3F"/>
    <a:srgbClr val="606060"/>
    <a:srgbClr val="585958"/>
    <a:srgbClr val="FFFFFF"/>
    <a:srgbClr val="D8DEE4"/>
    <a:srgbClr val="005977"/>
    <a:srgbClr val="0EAA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21EEAA-DA1C-4AC2-A7CF-17DC2F8AEB82}" v="1" dt="2025-06-26T05:58:21.45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03" autoAdjust="0"/>
    <p:restoredTop sz="85343" autoAdjust="0"/>
  </p:normalViewPr>
  <p:slideViewPr>
    <p:cSldViewPr snapToGrid="0">
      <p:cViewPr varScale="1">
        <p:scale>
          <a:sx n="70" d="100"/>
          <a:sy n="70" d="100"/>
        </p:scale>
        <p:origin x="1051" y="58"/>
      </p:cViewPr>
      <p:guideLst>
        <p:guide orient="horz" pos="3203"/>
        <p:guide pos="3840"/>
      </p:guideLst>
    </p:cSldViewPr>
  </p:slideViewPr>
  <p:notesTextViewPr>
    <p:cViewPr>
      <p:scale>
        <a:sx n="3" d="2"/>
        <a:sy n="3" d="2"/>
      </p:scale>
      <p:origin x="0" y="0"/>
    </p:cViewPr>
  </p:notesTextViewPr>
  <p:sorterViewPr>
    <p:cViewPr>
      <p:scale>
        <a:sx n="69" d="100"/>
        <a:sy n="69" d="100"/>
      </p:scale>
      <p:origin x="0" y="-2560"/>
    </p:cViewPr>
  </p:sorterViewPr>
  <p:notesViewPr>
    <p:cSldViewPr snapToGrid="0">
      <p:cViewPr varScale="1">
        <p:scale>
          <a:sx n="58" d="100"/>
          <a:sy n="58" d="100"/>
        </p:scale>
        <p:origin x="2808" y="7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notesMaster" Target="notesMasters/notesMaster1.xml"/><Relationship Id="rId5" Type="http://schemas.openxmlformats.org/officeDocument/2006/relationships/slideMaster" Target="slideMasters/slideMaster1.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handoutMaster" Target="handoutMasters/handout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8056"/>
          </a:xfrm>
          <a:prstGeom prst="rect">
            <a:avLst/>
          </a:prstGeom>
        </p:spPr>
        <p:txBody>
          <a:bodyPr vert="horz" lIns="91432" tIns="45716" rIns="91432" bIns="45716" rtlCol="0"/>
          <a:lstStyle>
            <a:lvl1pPr algn="l">
              <a:defRPr sz="1200"/>
            </a:lvl1pPr>
          </a:lstStyle>
          <a:p>
            <a:endParaRPr lang="en-US"/>
          </a:p>
        </p:txBody>
      </p:sp>
      <p:sp>
        <p:nvSpPr>
          <p:cNvPr id="3" name="Date Placeholder 2"/>
          <p:cNvSpPr>
            <a:spLocks noGrp="1"/>
          </p:cNvSpPr>
          <p:nvPr>
            <p:ph type="dt" sz="quarter" idx="1"/>
          </p:nvPr>
        </p:nvSpPr>
        <p:spPr>
          <a:xfrm>
            <a:off x="3850444" y="1"/>
            <a:ext cx="2945659" cy="498056"/>
          </a:xfrm>
          <a:prstGeom prst="rect">
            <a:avLst/>
          </a:prstGeom>
        </p:spPr>
        <p:txBody>
          <a:bodyPr vert="horz" lIns="91432" tIns="45716" rIns="91432" bIns="45716" rtlCol="0"/>
          <a:lstStyle>
            <a:lvl1pPr algn="r">
              <a:defRPr sz="1200"/>
            </a:lvl1pPr>
          </a:lstStyle>
          <a:p>
            <a:fld id="{CC0385A9-19D8-454E-881B-EC9DC2CA071D}" type="datetimeFigureOut">
              <a:rPr lang="en-US" smtClean="0"/>
              <a:t>6/26/2025</a:t>
            </a:fld>
            <a:endParaRPr lang="en-US"/>
          </a:p>
        </p:txBody>
      </p:sp>
      <p:sp>
        <p:nvSpPr>
          <p:cNvPr id="4" name="Footer Placeholder 3"/>
          <p:cNvSpPr>
            <a:spLocks noGrp="1"/>
          </p:cNvSpPr>
          <p:nvPr>
            <p:ph type="ftr" sz="quarter" idx="2"/>
          </p:nvPr>
        </p:nvSpPr>
        <p:spPr>
          <a:xfrm>
            <a:off x="1" y="9428585"/>
            <a:ext cx="2945659" cy="498055"/>
          </a:xfrm>
          <a:prstGeom prst="rect">
            <a:avLst/>
          </a:prstGeom>
        </p:spPr>
        <p:txBody>
          <a:bodyPr vert="horz" lIns="91432" tIns="45716" rIns="91432" bIns="45716" rtlCol="0" anchor="b"/>
          <a:lstStyle>
            <a:lvl1pPr algn="l">
              <a:defRPr sz="1200"/>
            </a:lvl1pPr>
          </a:lstStyle>
          <a:p>
            <a:endParaRPr lang="en-US"/>
          </a:p>
        </p:txBody>
      </p:sp>
      <p:sp>
        <p:nvSpPr>
          <p:cNvPr id="5" name="Slide Number Placeholder 4"/>
          <p:cNvSpPr>
            <a:spLocks noGrp="1"/>
          </p:cNvSpPr>
          <p:nvPr>
            <p:ph type="sldNum" sz="quarter" idx="3"/>
          </p:nvPr>
        </p:nvSpPr>
        <p:spPr>
          <a:xfrm>
            <a:off x="3850444" y="9428585"/>
            <a:ext cx="2945659" cy="498055"/>
          </a:xfrm>
          <a:prstGeom prst="rect">
            <a:avLst/>
          </a:prstGeom>
        </p:spPr>
        <p:txBody>
          <a:bodyPr vert="horz" lIns="91432" tIns="45716" rIns="91432" bIns="45716" rtlCol="0" anchor="b"/>
          <a:lstStyle>
            <a:lvl1pPr algn="r">
              <a:defRPr sz="1200"/>
            </a:lvl1pPr>
          </a:lstStyle>
          <a:p>
            <a:fld id="{8110298A-A03F-418F-998A-F7CA54F8BFE9}" type="slidenum">
              <a:rPr lang="en-US" smtClean="0"/>
              <a:t>‹Nr.›</a:t>
            </a:fld>
            <a:endParaRPr lang="en-US"/>
          </a:p>
        </p:txBody>
      </p:sp>
    </p:spTree>
    <p:extLst>
      <p:ext uri="{BB962C8B-B14F-4D97-AF65-F5344CB8AC3E}">
        <p14:creationId xmlns:p14="http://schemas.microsoft.com/office/powerpoint/2010/main" val="11084894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5659" cy="498056"/>
          </a:xfrm>
          <a:prstGeom prst="rect">
            <a:avLst/>
          </a:prstGeom>
        </p:spPr>
        <p:txBody>
          <a:bodyPr vert="horz" lIns="91432" tIns="45716" rIns="91432" bIns="45716" rtlCol="0"/>
          <a:lstStyle>
            <a:lvl1pPr algn="l">
              <a:defRPr sz="1200"/>
            </a:lvl1pPr>
          </a:lstStyle>
          <a:p>
            <a:endParaRPr lang="de-DE"/>
          </a:p>
        </p:txBody>
      </p:sp>
      <p:sp>
        <p:nvSpPr>
          <p:cNvPr id="3" name="Datumsplatzhalter 2"/>
          <p:cNvSpPr>
            <a:spLocks noGrp="1"/>
          </p:cNvSpPr>
          <p:nvPr>
            <p:ph type="dt" idx="1"/>
          </p:nvPr>
        </p:nvSpPr>
        <p:spPr>
          <a:xfrm>
            <a:off x="3850444" y="1"/>
            <a:ext cx="2945659" cy="498056"/>
          </a:xfrm>
          <a:prstGeom prst="rect">
            <a:avLst/>
          </a:prstGeom>
        </p:spPr>
        <p:txBody>
          <a:bodyPr vert="horz" lIns="91432" tIns="45716" rIns="91432" bIns="45716" rtlCol="0"/>
          <a:lstStyle>
            <a:lvl1pPr algn="r">
              <a:defRPr sz="1200"/>
            </a:lvl1pPr>
          </a:lstStyle>
          <a:p>
            <a:fld id="{C170264A-6BBC-4BC1-B181-B8EACB9E6011}" type="datetimeFigureOut">
              <a:rPr lang="de-DE" smtClean="0"/>
              <a:t>26.06.2025</a:t>
            </a:fld>
            <a:endParaRPr lang="de-DE"/>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32" tIns="45716" rIns="91432" bIns="45716" rtlCol="0" anchor="ctr"/>
          <a:lstStyle/>
          <a:p>
            <a:endParaRPr lang="de-DE"/>
          </a:p>
        </p:txBody>
      </p:sp>
      <p:sp>
        <p:nvSpPr>
          <p:cNvPr id="5" name="Notizenplatzhalter 4"/>
          <p:cNvSpPr>
            <a:spLocks noGrp="1"/>
          </p:cNvSpPr>
          <p:nvPr>
            <p:ph type="body" sz="quarter" idx="3"/>
          </p:nvPr>
        </p:nvSpPr>
        <p:spPr>
          <a:xfrm>
            <a:off x="679768" y="4777194"/>
            <a:ext cx="5438140" cy="3908614"/>
          </a:xfrm>
          <a:prstGeom prst="rect">
            <a:avLst/>
          </a:prstGeom>
        </p:spPr>
        <p:txBody>
          <a:bodyPr vert="horz" lIns="91432" tIns="45716" rIns="91432" bIns="45716"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428585"/>
            <a:ext cx="2945659" cy="498055"/>
          </a:xfrm>
          <a:prstGeom prst="rect">
            <a:avLst/>
          </a:prstGeom>
        </p:spPr>
        <p:txBody>
          <a:bodyPr vert="horz" lIns="91432" tIns="45716" rIns="91432" bIns="45716" rtlCol="0" anchor="b"/>
          <a:lstStyle>
            <a:lvl1pPr algn="l">
              <a:defRPr sz="1200"/>
            </a:lvl1pPr>
          </a:lstStyle>
          <a:p>
            <a:endParaRPr lang="de-DE"/>
          </a:p>
        </p:txBody>
      </p:sp>
      <p:sp>
        <p:nvSpPr>
          <p:cNvPr id="7" name="Foliennummernplatzhalter 6"/>
          <p:cNvSpPr>
            <a:spLocks noGrp="1"/>
          </p:cNvSpPr>
          <p:nvPr>
            <p:ph type="sldNum" sz="quarter" idx="5"/>
          </p:nvPr>
        </p:nvSpPr>
        <p:spPr>
          <a:xfrm>
            <a:off x="3850444" y="9428585"/>
            <a:ext cx="2945659" cy="498055"/>
          </a:xfrm>
          <a:prstGeom prst="rect">
            <a:avLst/>
          </a:prstGeom>
        </p:spPr>
        <p:txBody>
          <a:bodyPr vert="horz" lIns="91432" tIns="45716" rIns="91432" bIns="45716" rtlCol="0" anchor="b"/>
          <a:lstStyle>
            <a:lvl1pPr algn="r">
              <a:defRPr sz="1200"/>
            </a:lvl1pPr>
          </a:lstStyle>
          <a:p>
            <a:fld id="{FCDE97FF-EDB7-4A78-BB35-D88D634F738A}" type="slidenum">
              <a:rPr lang="de-DE" smtClean="0"/>
              <a:t>‹Nr.›</a:t>
            </a:fld>
            <a:endParaRPr lang="de-DE"/>
          </a:p>
        </p:txBody>
      </p:sp>
    </p:spTree>
    <p:extLst>
      <p:ext uri="{BB962C8B-B14F-4D97-AF65-F5344CB8AC3E}">
        <p14:creationId xmlns:p14="http://schemas.microsoft.com/office/powerpoint/2010/main" val="14686087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FCDE97FF-EDB7-4A78-BB35-D88D634F738A}" type="slidenum">
              <a:rPr lang="de-DE" smtClean="0"/>
              <a:t>1</a:t>
            </a:fld>
            <a:endParaRPr lang="de-DE" dirty="0"/>
          </a:p>
        </p:txBody>
      </p:sp>
    </p:spTree>
    <p:extLst>
      <p:ext uri="{BB962C8B-B14F-4D97-AF65-F5344CB8AC3E}">
        <p14:creationId xmlns:p14="http://schemas.microsoft.com/office/powerpoint/2010/main" val="32964397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BDB033-77EB-5DBF-F441-17A3F406413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1ED3303-9574-41E1-A663-4C096F0B191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CB27C0C-9189-9B3A-8D9E-2B82CCC20181}"/>
              </a:ext>
            </a:extLst>
          </p:cNvPr>
          <p:cNvSpPr>
            <a:spLocks noGrp="1"/>
          </p:cNvSpPr>
          <p:nvPr>
            <p:ph type="body" idx="1"/>
          </p:nvPr>
        </p:nvSpPr>
        <p:spPr/>
        <p:txBody>
          <a:bodyPr/>
          <a:lstStyle/>
          <a:p>
            <a:r>
              <a:rPr lang="de-DE" dirty="0"/>
              <a:t>Divergierende Interessen </a:t>
            </a:r>
          </a:p>
          <a:p>
            <a:endParaRPr lang="de-DE" dirty="0"/>
          </a:p>
          <a:p>
            <a:r>
              <a:rPr lang="de-DE" dirty="0"/>
              <a:t>Pensionszusage: „damals ein Segen – heute ein Fluch“ </a:t>
            </a:r>
          </a:p>
        </p:txBody>
      </p:sp>
      <p:sp>
        <p:nvSpPr>
          <p:cNvPr id="4" name="Foliennummernplatzhalter 3">
            <a:extLst>
              <a:ext uri="{FF2B5EF4-FFF2-40B4-BE49-F238E27FC236}">
                <a16:creationId xmlns:a16="http://schemas.microsoft.com/office/drawing/2014/main" id="{C8C33991-324A-BE0A-14A1-2A52EC96DD57}"/>
              </a:ext>
            </a:extLst>
          </p:cNvPr>
          <p:cNvSpPr>
            <a:spLocks noGrp="1"/>
          </p:cNvSpPr>
          <p:nvPr>
            <p:ph type="sldNum" sz="quarter" idx="10"/>
          </p:nvPr>
        </p:nvSpPr>
        <p:spPr/>
        <p:txBody>
          <a:bodyPr/>
          <a:lstStyle/>
          <a:p>
            <a:fld id="{FCDE97FF-EDB7-4A78-BB35-D88D634F738A}" type="slidenum">
              <a:rPr lang="de-DE" smtClean="0"/>
              <a:t>11</a:t>
            </a:fld>
            <a:endParaRPr lang="de-DE"/>
          </a:p>
        </p:txBody>
      </p:sp>
    </p:spTree>
    <p:extLst>
      <p:ext uri="{BB962C8B-B14F-4D97-AF65-F5344CB8AC3E}">
        <p14:creationId xmlns:p14="http://schemas.microsoft.com/office/powerpoint/2010/main" val="2812804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AFB3B2-CBF8-A91F-3892-44535FF9E1C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5EAB9AC-D43A-31DA-C331-51132E6273F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89446E3-AEE3-32EC-D81C-13FB1461E8FC}"/>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D044535-8F75-FDF8-5B33-E6DACFD6951A}"/>
              </a:ext>
            </a:extLst>
          </p:cNvPr>
          <p:cNvSpPr>
            <a:spLocks noGrp="1"/>
          </p:cNvSpPr>
          <p:nvPr>
            <p:ph type="sldNum" sz="quarter" idx="10"/>
          </p:nvPr>
        </p:nvSpPr>
        <p:spPr/>
        <p:txBody>
          <a:bodyPr/>
          <a:lstStyle/>
          <a:p>
            <a:fld id="{FCDE97FF-EDB7-4A78-BB35-D88D634F738A}" type="slidenum">
              <a:rPr lang="de-DE" smtClean="0"/>
              <a:t>12</a:t>
            </a:fld>
            <a:endParaRPr lang="de-DE"/>
          </a:p>
        </p:txBody>
      </p:sp>
    </p:spTree>
    <p:extLst>
      <p:ext uri="{BB962C8B-B14F-4D97-AF65-F5344CB8AC3E}">
        <p14:creationId xmlns:p14="http://schemas.microsoft.com/office/powerpoint/2010/main" val="7244106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B6A5A5-C5F1-FB7E-365D-219881947F6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CDFD45A-6C03-4B34-EFFD-28ED63E4785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F4B41AE-CBB2-094F-FE16-B5AC933F7BF9}"/>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548E4D63-C034-BE4D-CF8D-B7AA7BD79577}"/>
              </a:ext>
            </a:extLst>
          </p:cNvPr>
          <p:cNvSpPr>
            <a:spLocks noGrp="1"/>
          </p:cNvSpPr>
          <p:nvPr>
            <p:ph type="sldNum" sz="quarter" idx="10"/>
          </p:nvPr>
        </p:nvSpPr>
        <p:spPr/>
        <p:txBody>
          <a:bodyPr/>
          <a:lstStyle/>
          <a:p>
            <a:fld id="{FCDE97FF-EDB7-4A78-BB35-D88D634F738A}" type="slidenum">
              <a:rPr lang="de-DE" smtClean="0"/>
              <a:t>13</a:t>
            </a:fld>
            <a:endParaRPr lang="de-DE"/>
          </a:p>
        </p:txBody>
      </p:sp>
    </p:spTree>
    <p:extLst>
      <p:ext uri="{BB962C8B-B14F-4D97-AF65-F5344CB8AC3E}">
        <p14:creationId xmlns:p14="http://schemas.microsoft.com/office/powerpoint/2010/main" val="9222193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FF3712-C405-3CB6-CA54-240DB8C547D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DC05ED0-5636-8387-411B-531C15C39F6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0D0334F-C308-32D0-7A80-A36220C781A3}"/>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E41E96BC-2CBF-AC6E-60DC-0BBEA4F5405F}"/>
              </a:ext>
            </a:extLst>
          </p:cNvPr>
          <p:cNvSpPr>
            <a:spLocks noGrp="1"/>
          </p:cNvSpPr>
          <p:nvPr>
            <p:ph type="sldNum" sz="quarter" idx="10"/>
          </p:nvPr>
        </p:nvSpPr>
        <p:spPr/>
        <p:txBody>
          <a:bodyPr/>
          <a:lstStyle/>
          <a:p>
            <a:fld id="{FCDE97FF-EDB7-4A78-BB35-D88D634F738A}" type="slidenum">
              <a:rPr lang="de-DE" smtClean="0"/>
              <a:t>14</a:t>
            </a:fld>
            <a:endParaRPr lang="de-DE"/>
          </a:p>
        </p:txBody>
      </p:sp>
    </p:spTree>
    <p:extLst>
      <p:ext uri="{BB962C8B-B14F-4D97-AF65-F5344CB8AC3E}">
        <p14:creationId xmlns:p14="http://schemas.microsoft.com/office/powerpoint/2010/main" val="14276090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37A6A8-C711-BE0E-87AB-E77EB87635F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442720A-CA1C-9A58-0F88-108F6F2074E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750C149-508F-896E-9A9B-1B877C2E5EE4}"/>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399A4266-8E8B-E35B-F8E3-CE02F069BF69}"/>
              </a:ext>
            </a:extLst>
          </p:cNvPr>
          <p:cNvSpPr>
            <a:spLocks noGrp="1"/>
          </p:cNvSpPr>
          <p:nvPr>
            <p:ph type="sldNum" sz="quarter" idx="10"/>
          </p:nvPr>
        </p:nvSpPr>
        <p:spPr/>
        <p:txBody>
          <a:bodyPr/>
          <a:lstStyle/>
          <a:p>
            <a:fld id="{FCDE97FF-EDB7-4A78-BB35-D88D634F738A}" type="slidenum">
              <a:rPr lang="de-DE" smtClean="0"/>
              <a:t>15</a:t>
            </a:fld>
            <a:endParaRPr lang="de-DE"/>
          </a:p>
        </p:txBody>
      </p:sp>
    </p:spTree>
    <p:extLst>
      <p:ext uri="{BB962C8B-B14F-4D97-AF65-F5344CB8AC3E}">
        <p14:creationId xmlns:p14="http://schemas.microsoft.com/office/powerpoint/2010/main" val="42296131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8B975D-318D-DBA0-FA37-9116C8C1E7A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0444EA5-9A8C-2223-7162-EB6701D6FE1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4A59C25-D269-7C84-D58C-10640697CC01}"/>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6852E951-1406-51A8-DB54-7FFD6118BF6C}"/>
              </a:ext>
            </a:extLst>
          </p:cNvPr>
          <p:cNvSpPr>
            <a:spLocks noGrp="1"/>
          </p:cNvSpPr>
          <p:nvPr>
            <p:ph type="sldNum" sz="quarter" idx="10"/>
          </p:nvPr>
        </p:nvSpPr>
        <p:spPr/>
        <p:txBody>
          <a:bodyPr/>
          <a:lstStyle/>
          <a:p>
            <a:fld id="{FCDE97FF-EDB7-4A78-BB35-D88D634F738A}" type="slidenum">
              <a:rPr lang="de-DE" smtClean="0"/>
              <a:t>16</a:t>
            </a:fld>
            <a:endParaRPr lang="de-DE"/>
          </a:p>
        </p:txBody>
      </p:sp>
    </p:spTree>
    <p:extLst>
      <p:ext uri="{BB962C8B-B14F-4D97-AF65-F5344CB8AC3E}">
        <p14:creationId xmlns:p14="http://schemas.microsoft.com/office/powerpoint/2010/main" val="31290189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08F3A5-54EA-4788-2A48-2DAC2C53511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482580F-BCD8-9209-1041-3E62EFAF961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17E77FA-75DD-E83D-D5A9-81B02D69C2AB}"/>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AE779FCC-84B1-2061-69F2-FD42A786B283}"/>
              </a:ext>
            </a:extLst>
          </p:cNvPr>
          <p:cNvSpPr>
            <a:spLocks noGrp="1"/>
          </p:cNvSpPr>
          <p:nvPr>
            <p:ph type="sldNum" sz="quarter" idx="10"/>
          </p:nvPr>
        </p:nvSpPr>
        <p:spPr/>
        <p:txBody>
          <a:bodyPr/>
          <a:lstStyle/>
          <a:p>
            <a:fld id="{FCDE97FF-EDB7-4A78-BB35-D88D634F738A}" type="slidenum">
              <a:rPr lang="de-DE" smtClean="0"/>
              <a:t>17</a:t>
            </a:fld>
            <a:endParaRPr lang="de-DE"/>
          </a:p>
        </p:txBody>
      </p:sp>
    </p:spTree>
    <p:extLst>
      <p:ext uri="{BB962C8B-B14F-4D97-AF65-F5344CB8AC3E}">
        <p14:creationId xmlns:p14="http://schemas.microsoft.com/office/powerpoint/2010/main" val="8828386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F43C0A-1812-827D-BF0E-F33218EC768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0CBB258-61DD-06A5-CCA6-ED480BF4DC1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B8CF147-39ED-B884-BDA7-74CDA753E9B9}"/>
              </a:ext>
            </a:extLst>
          </p:cNvPr>
          <p:cNvSpPr>
            <a:spLocks noGrp="1"/>
          </p:cNvSpPr>
          <p:nvPr>
            <p:ph type="body" idx="1"/>
          </p:nvPr>
        </p:nvSpPr>
        <p:spPr/>
        <p:txBody>
          <a:bodyPr/>
          <a:lstStyle/>
          <a:p>
            <a:r>
              <a:rPr lang="de-DE" b="0" i="0" dirty="0">
                <a:solidFill>
                  <a:srgbClr val="000000"/>
                </a:solidFill>
                <a:effectLst/>
                <a:latin typeface="GT-America"/>
              </a:rPr>
              <a:t>Beim Share Deal erwirbt der Käufer das Unternehmen („Zielgesellschaft”) durch den Kauf der Gesellschafts­anteile an der Zielgesellschaft.</a:t>
            </a:r>
            <a:br>
              <a:rPr lang="de-DE" dirty="0"/>
            </a:br>
            <a:br>
              <a:rPr lang="de-DE" dirty="0"/>
            </a:br>
            <a:r>
              <a:rPr lang="de-DE" b="0" i="0" dirty="0">
                <a:solidFill>
                  <a:srgbClr val="000000"/>
                </a:solidFill>
                <a:effectLst/>
                <a:latin typeface="GT-America"/>
              </a:rPr>
              <a:t>Beim Asset Deal werden die zum Unternehmen gehörenden Vermögenswerte und Wirtschaftsgüter, also die Aktiva und Passiva, mit den dazu gehörenden Arbeits-, Vertrags- und Rechtsverhältnissen verkauft und im Wege der Einzelrechtsnachfolge auf den Käufer übertragen. Nicht der Gesellschafter verkauft seine Gesell­schaftsanteile oder Vermögenswerte, sondern das Unternehmen verkauft ihr unternehmensbezogenes Vermögen.</a:t>
            </a:r>
            <a:endParaRPr lang="de-DE" dirty="0"/>
          </a:p>
        </p:txBody>
      </p:sp>
      <p:sp>
        <p:nvSpPr>
          <p:cNvPr id="4" name="Foliennummernplatzhalter 3">
            <a:extLst>
              <a:ext uri="{FF2B5EF4-FFF2-40B4-BE49-F238E27FC236}">
                <a16:creationId xmlns:a16="http://schemas.microsoft.com/office/drawing/2014/main" id="{B89B834A-55F4-CFB6-709A-23DDA6D7E523}"/>
              </a:ext>
            </a:extLst>
          </p:cNvPr>
          <p:cNvSpPr>
            <a:spLocks noGrp="1"/>
          </p:cNvSpPr>
          <p:nvPr>
            <p:ph type="sldNum" sz="quarter" idx="10"/>
          </p:nvPr>
        </p:nvSpPr>
        <p:spPr/>
        <p:txBody>
          <a:bodyPr/>
          <a:lstStyle/>
          <a:p>
            <a:fld id="{FCDE97FF-EDB7-4A78-BB35-D88D634F738A}" type="slidenum">
              <a:rPr lang="de-DE" smtClean="0"/>
              <a:t>18</a:t>
            </a:fld>
            <a:endParaRPr lang="de-DE"/>
          </a:p>
        </p:txBody>
      </p:sp>
    </p:spTree>
    <p:extLst>
      <p:ext uri="{BB962C8B-B14F-4D97-AF65-F5344CB8AC3E}">
        <p14:creationId xmlns:p14="http://schemas.microsoft.com/office/powerpoint/2010/main" val="1189646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0625A2-C137-1DD1-D763-79597CC1DA0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6AEDF5A-CD43-AD3E-144F-98802A346E2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C700A0F-DA50-CA2F-F8B5-2EDEE98E0ABF}"/>
              </a:ext>
            </a:extLst>
          </p:cNvPr>
          <p:cNvSpPr>
            <a:spLocks noGrp="1"/>
          </p:cNvSpPr>
          <p:nvPr>
            <p:ph type="body" idx="1"/>
          </p:nvPr>
        </p:nvSpPr>
        <p:spPr/>
        <p:txBody>
          <a:bodyPr/>
          <a:lstStyle/>
          <a:p>
            <a:r>
              <a:rPr lang="de-DE" b="0" i="0" dirty="0">
                <a:solidFill>
                  <a:srgbClr val="000000"/>
                </a:solidFill>
                <a:effectLst/>
                <a:latin typeface="GT-America"/>
              </a:rPr>
              <a:t>Beim Share Deal erwirbt der Käufer das Unternehmen („Zielgesellschaft”) durch den Kauf der Gesellschafts­anteile an der Zielgesellschaft.</a:t>
            </a:r>
            <a:br>
              <a:rPr lang="de-DE" dirty="0"/>
            </a:br>
            <a:br>
              <a:rPr lang="de-DE" dirty="0"/>
            </a:br>
            <a:r>
              <a:rPr lang="de-DE" b="0" i="0" dirty="0">
                <a:solidFill>
                  <a:srgbClr val="000000"/>
                </a:solidFill>
                <a:effectLst/>
                <a:latin typeface="GT-America"/>
              </a:rPr>
              <a:t>Beim Asset Deal werden die zum Unternehmen gehörenden Vermögenswerte und Wirtschaftsgüter, also die Aktiva und Passiva, mit den dazu gehörenden Arbeits-, Vertrags- und Rechtsverhältnissen verkauft und im Wege der Einzelrechtsnachfolge auf den Käufer übertragen. Nicht der Gesellschafter verkauft seine Gesell­schaftsanteile oder Vermögenswerte, sondern das Unternehmen verkauft ihr unternehmensbezogenes Vermögen.</a:t>
            </a:r>
            <a:endParaRPr lang="de-DE" dirty="0"/>
          </a:p>
        </p:txBody>
      </p:sp>
      <p:sp>
        <p:nvSpPr>
          <p:cNvPr id="4" name="Foliennummernplatzhalter 3">
            <a:extLst>
              <a:ext uri="{FF2B5EF4-FFF2-40B4-BE49-F238E27FC236}">
                <a16:creationId xmlns:a16="http://schemas.microsoft.com/office/drawing/2014/main" id="{B90C8C99-09C3-8BC6-7F1D-0FC7810965FF}"/>
              </a:ext>
            </a:extLst>
          </p:cNvPr>
          <p:cNvSpPr>
            <a:spLocks noGrp="1"/>
          </p:cNvSpPr>
          <p:nvPr>
            <p:ph type="sldNum" sz="quarter" idx="10"/>
          </p:nvPr>
        </p:nvSpPr>
        <p:spPr/>
        <p:txBody>
          <a:bodyPr/>
          <a:lstStyle/>
          <a:p>
            <a:fld id="{FCDE97FF-EDB7-4A78-BB35-D88D634F738A}" type="slidenum">
              <a:rPr lang="de-DE" smtClean="0"/>
              <a:t>19</a:t>
            </a:fld>
            <a:endParaRPr lang="de-DE"/>
          </a:p>
        </p:txBody>
      </p:sp>
    </p:spTree>
    <p:extLst>
      <p:ext uri="{BB962C8B-B14F-4D97-AF65-F5344CB8AC3E}">
        <p14:creationId xmlns:p14="http://schemas.microsoft.com/office/powerpoint/2010/main" val="31673964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1208FD-536B-3C55-010F-D3A441E81AE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D20661C-002B-49D3-C913-CD19827677D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C2838ED-B458-D2C4-0769-B74ED546F013}"/>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CCBF9DA6-BB0F-A293-B9CB-C388A9C0B300}"/>
              </a:ext>
            </a:extLst>
          </p:cNvPr>
          <p:cNvSpPr>
            <a:spLocks noGrp="1"/>
          </p:cNvSpPr>
          <p:nvPr>
            <p:ph type="sldNum" sz="quarter" idx="10"/>
          </p:nvPr>
        </p:nvSpPr>
        <p:spPr/>
        <p:txBody>
          <a:bodyPr/>
          <a:lstStyle/>
          <a:p>
            <a:fld id="{FCDE97FF-EDB7-4A78-BB35-D88D634F738A}" type="slidenum">
              <a:rPr lang="de-DE" smtClean="0"/>
              <a:t>20</a:t>
            </a:fld>
            <a:endParaRPr lang="de-DE"/>
          </a:p>
        </p:txBody>
      </p:sp>
    </p:spTree>
    <p:extLst>
      <p:ext uri="{BB962C8B-B14F-4D97-AF65-F5344CB8AC3E}">
        <p14:creationId xmlns:p14="http://schemas.microsoft.com/office/powerpoint/2010/main" val="77005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CDE97FF-EDB7-4A78-BB35-D88D634F738A}" type="slidenum">
              <a:rPr lang="de-DE" smtClean="0"/>
              <a:t>2</a:t>
            </a:fld>
            <a:endParaRPr lang="de-DE"/>
          </a:p>
        </p:txBody>
      </p:sp>
    </p:spTree>
    <p:extLst>
      <p:ext uri="{BB962C8B-B14F-4D97-AF65-F5344CB8AC3E}">
        <p14:creationId xmlns:p14="http://schemas.microsoft.com/office/powerpoint/2010/main" val="3605388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FB140-9B37-E6B9-686C-90654DD81E7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4BC1072-54C5-2039-3C9E-E1E6DC458D9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29A7A89-379D-EC91-6FCF-C622EFFAF6C0}"/>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BFE866E7-3863-0D3A-548C-7B35A199766A}"/>
              </a:ext>
            </a:extLst>
          </p:cNvPr>
          <p:cNvSpPr>
            <a:spLocks noGrp="1"/>
          </p:cNvSpPr>
          <p:nvPr>
            <p:ph type="sldNum" sz="quarter" idx="10"/>
          </p:nvPr>
        </p:nvSpPr>
        <p:spPr/>
        <p:txBody>
          <a:bodyPr/>
          <a:lstStyle/>
          <a:p>
            <a:fld id="{FCDE97FF-EDB7-4A78-BB35-D88D634F738A}" type="slidenum">
              <a:rPr lang="de-DE" smtClean="0"/>
              <a:t>21</a:t>
            </a:fld>
            <a:endParaRPr lang="de-DE"/>
          </a:p>
        </p:txBody>
      </p:sp>
    </p:spTree>
    <p:extLst>
      <p:ext uri="{BB962C8B-B14F-4D97-AF65-F5344CB8AC3E}">
        <p14:creationId xmlns:p14="http://schemas.microsoft.com/office/powerpoint/2010/main" val="27604685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FD4FAF-14C9-FB77-3ABD-64A9F3B7416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29B4AA4-FCB0-6A7C-8B58-EF2E1FD100C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E123A44-D2B8-3910-6D72-B4E5F900FB3D}"/>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B016151A-3694-1484-1B81-F7E680137F69}"/>
              </a:ext>
            </a:extLst>
          </p:cNvPr>
          <p:cNvSpPr>
            <a:spLocks noGrp="1"/>
          </p:cNvSpPr>
          <p:nvPr>
            <p:ph type="sldNum" sz="quarter" idx="10"/>
          </p:nvPr>
        </p:nvSpPr>
        <p:spPr/>
        <p:txBody>
          <a:bodyPr/>
          <a:lstStyle/>
          <a:p>
            <a:fld id="{FCDE97FF-EDB7-4A78-BB35-D88D634F738A}" type="slidenum">
              <a:rPr lang="de-DE" smtClean="0"/>
              <a:t>22</a:t>
            </a:fld>
            <a:endParaRPr lang="de-DE"/>
          </a:p>
        </p:txBody>
      </p:sp>
    </p:spTree>
    <p:extLst>
      <p:ext uri="{BB962C8B-B14F-4D97-AF65-F5344CB8AC3E}">
        <p14:creationId xmlns:p14="http://schemas.microsoft.com/office/powerpoint/2010/main" val="9245198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1551E7-69E9-82A0-2A38-25521BA824E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0981FE9-C7BF-8EBC-118D-81A3789FAD3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AC059EB-FA69-687A-3AD4-F5E5AA262530}"/>
              </a:ext>
            </a:extLst>
          </p:cNvPr>
          <p:cNvSpPr>
            <a:spLocks noGrp="1"/>
          </p:cNvSpPr>
          <p:nvPr>
            <p:ph type="body" idx="1"/>
          </p:nvPr>
        </p:nvSpPr>
        <p:spPr/>
        <p:txBody>
          <a:bodyPr/>
          <a:lstStyle/>
          <a:p>
            <a:r>
              <a:rPr lang="de-DE" dirty="0"/>
              <a:t>Pensionsberechtigte GF-Geschäftsführer verfügt über seine Anwartschaft. Ihm fließt durch die Übertragung Arbeitslohn zu, da sein bisheriger Anspruch auf sein Verlangen oder mit seiner Zustimmung entfällt und er hierfür einen neuen Anspruch gegenüber seinem bisher nicht beteiligten Dritten erhält. </a:t>
            </a:r>
          </a:p>
          <a:p>
            <a:endParaRPr lang="de-DE" dirty="0"/>
          </a:p>
          <a:p>
            <a:r>
              <a:rPr lang="de-DE" dirty="0"/>
              <a:t>BetrAVG Betriebsrentengesetz </a:t>
            </a:r>
          </a:p>
          <a:p>
            <a:endParaRPr lang="de-DE" dirty="0"/>
          </a:p>
          <a:p>
            <a:r>
              <a:rPr lang="de-DE" dirty="0"/>
              <a:t>Potenzieller Käufer kann häufig eine Übertragung ohne befreiende Wirkung für die GmbH nicht genügen. (Einstandspflicht des Arbeitgebers auf den Insolvenzfall eines Pensionsfonds) </a:t>
            </a:r>
          </a:p>
          <a:p>
            <a:endParaRPr lang="de-DE" dirty="0"/>
          </a:p>
          <a:p>
            <a:r>
              <a:rPr lang="de-DE" dirty="0"/>
              <a:t>Chancen und Risiken müssen abgewogen werden, wirtschaftliche Betrachtung </a:t>
            </a:r>
          </a:p>
        </p:txBody>
      </p:sp>
      <p:sp>
        <p:nvSpPr>
          <p:cNvPr id="4" name="Foliennummernplatzhalter 3">
            <a:extLst>
              <a:ext uri="{FF2B5EF4-FFF2-40B4-BE49-F238E27FC236}">
                <a16:creationId xmlns:a16="http://schemas.microsoft.com/office/drawing/2014/main" id="{53B06D41-3F1A-039F-5D06-F3F551C42AC9}"/>
              </a:ext>
            </a:extLst>
          </p:cNvPr>
          <p:cNvSpPr>
            <a:spLocks noGrp="1"/>
          </p:cNvSpPr>
          <p:nvPr>
            <p:ph type="sldNum" sz="quarter" idx="10"/>
          </p:nvPr>
        </p:nvSpPr>
        <p:spPr/>
        <p:txBody>
          <a:bodyPr/>
          <a:lstStyle/>
          <a:p>
            <a:fld id="{FCDE97FF-EDB7-4A78-BB35-D88D634F738A}" type="slidenum">
              <a:rPr lang="de-DE" smtClean="0"/>
              <a:t>23</a:t>
            </a:fld>
            <a:endParaRPr lang="de-DE"/>
          </a:p>
        </p:txBody>
      </p:sp>
    </p:spTree>
    <p:extLst>
      <p:ext uri="{BB962C8B-B14F-4D97-AF65-F5344CB8AC3E}">
        <p14:creationId xmlns:p14="http://schemas.microsoft.com/office/powerpoint/2010/main" val="18564054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73D550-8052-B4F0-DE7C-585AEC343AF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3880B9B-06D3-E834-88CF-5FAC5939702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72B14BE-7E4A-E7D8-CCB4-4C428972E239}"/>
              </a:ext>
            </a:extLst>
          </p:cNvPr>
          <p:cNvSpPr>
            <a:spLocks noGrp="1"/>
          </p:cNvSpPr>
          <p:nvPr>
            <p:ph type="body" idx="1"/>
          </p:nvPr>
        </p:nvSpPr>
        <p:spPr/>
        <p:txBody>
          <a:bodyPr/>
          <a:lstStyle/>
          <a:p>
            <a:r>
              <a:rPr lang="de-DE" dirty="0"/>
              <a:t>Pensionsberechtigte GF-Geschäftsführer verfügt über seine Anwartschaft. Ihm fließt durch die Übertragung Arbeitslohn zu, da sein bisheriger Anspruch auf sein Verlangen oder mit seiner Zustimmung entfällt und er hierfür einen neuen Anspruch gegenüber seinem bisher nicht beteiligten Dritten erhält. </a:t>
            </a:r>
          </a:p>
          <a:p>
            <a:endParaRPr lang="de-DE" dirty="0"/>
          </a:p>
          <a:p>
            <a:r>
              <a:rPr lang="de-DE" dirty="0"/>
              <a:t>BetrAVG Betriebsrentengesetz </a:t>
            </a:r>
          </a:p>
          <a:p>
            <a:endParaRPr lang="de-DE" dirty="0"/>
          </a:p>
          <a:p>
            <a:r>
              <a:rPr lang="de-DE" dirty="0"/>
              <a:t>Potenzieller Käufer kann häufig eine Übertragung ohne befreiende Wirkung für die GmbH nicht genügen. (Einstandspflicht des Arbeitgebers auf den Insolvenzfall eines Pensionsfonds) </a:t>
            </a:r>
          </a:p>
          <a:p>
            <a:endParaRPr lang="de-DE" dirty="0"/>
          </a:p>
          <a:p>
            <a:r>
              <a:rPr lang="de-DE" dirty="0"/>
              <a:t>Chancen und Risiken müssen abgewogen werden, wirtschaftliche Betrachtung </a:t>
            </a:r>
          </a:p>
        </p:txBody>
      </p:sp>
      <p:sp>
        <p:nvSpPr>
          <p:cNvPr id="4" name="Foliennummernplatzhalter 3">
            <a:extLst>
              <a:ext uri="{FF2B5EF4-FFF2-40B4-BE49-F238E27FC236}">
                <a16:creationId xmlns:a16="http://schemas.microsoft.com/office/drawing/2014/main" id="{973260B6-939D-6713-80E6-195DAC3DED2B}"/>
              </a:ext>
            </a:extLst>
          </p:cNvPr>
          <p:cNvSpPr>
            <a:spLocks noGrp="1"/>
          </p:cNvSpPr>
          <p:nvPr>
            <p:ph type="sldNum" sz="quarter" idx="10"/>
          </p:nvPr>
        </p:nvSpPr>
        <p:spPr/>
        <p:txBody>
          <a:bodyPr/>
          <a:lstStyle/>
          <a:p>
            <a:fld id="{FCDE97FF-EDB7-4A78-BB35-D88D634F738A}" type="slidenum">
              <a:rPr lang="de-DE" smtClean="0"/>
              <a:t>24</a:t>
            </a:fld>
            <a:endParaRPr lang="de-DE"/>
          </a:p>
        </p:txBody>
      </p:sp>
    </p:spTree>
    <p:extLst>
      <p:ext uri="{BB962C8B-B14F-4D97-AF65-F5344CB8AC3E}">
        <p14:creationId xmlns:p14="http://schemas.microsoft.com/office/powerpoint/2010/main" val="29631753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01CE03-FAA7-D8BA-881B-D1EEDF3D815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C7046DC-284E-0125-6054-BAF00B402BF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95D32C5-EFB0-50E0-0FFC-47ECE0237D38}"/>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9B2F4BA9-0910-9AED-0D96-A54A921AC6CA}"/>
              </a:ext>
            </a:extLst>
          </p:cNvPr>
          <p:cNvSpPr>
            <a:spLocks noGrp="1"/>
          </p:cNvSpPr>
          <p:nvPr>
            <p:ph type="sldNum" sz="quarter" idx="10"/>
          </p:nvPr>
        </p:nvSpPr>
        <p:spPr/>
        <p:txBody>
          <a:bodyPr/>
          <a:lstStyle/>
          <a:p>
            <a:fld id="{FCDE97FF-EDB7-4A78-BB35-D88D634F738A}" type="slidenum">
              <a:rPr lang="de-DE" smtClean="0"/>
              <a:t>25</a:t>
            </a:fld>
            <a:endParaRPr lang="de-DE"/>
          </a:p>
        </p:txBody>
      </p:sp>
    </p:spTree>
    <p:extLst>
      <p:ext uri="{BB962C8B-B14F-4D97-AF65-F5344CB8AC3E}">
        <p14:creationId xmlns:p14="http://schemas.microsoft.com/office/powerpoint/2010/main" val="40514760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AF8481-FFDD-7305-5D66-9AC2E122601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40EF56A-949D-E22D-F1A5-7B94D76016B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A28058A-413D-0447-0363-5D2D269DF729}"/>
              </a:ext>
            </a:extLst>
          </p:cNvPr>
          <p:cNvSpPr>
            <a:spLocks noGrp="1"/>
          </p:cNvSpPr>
          <p:nvPr>
            <p:ph type="body" idx="1"/>
          </p:nvPr>
        </p:nvSpPr>
        <p:spPr/>
        <p:txBody>
          <a:bodyPr/>
          <a:lstStyle/>
          <a:p>
            <a:r>
              <a:rPr lang="de-DE" dirty="0"/>
              <a:t>Echte Auslagerung häufig teuer </a:t>
            </a:r>
          </a:p>
          <a:p>
            <a:r>
              <a:rPr lang="de-DE" dirty="0"/>
              <a:t>Alternative </a:t>
            </a:r>
          </a:p>
        </p:txBody>
      </p:sp>
      <p:sp>
        <p:nvSpPr>
          <p:cNvPr id="4" name="Foliennummernplatzhalter 3">
            <a:extLst>
              <a:ext uri="{FF2B5EF4-FFF2-40B4-BE49-F238E27FC236}">
                <a16:creationId xmlns:a16="http://schemas.microsoft.com/office/drawing/2014/main" id="{646562FA-4269-8484-05AD-091CB689D7A1}"/>
              </a:ext>
            </a:extLst>
          </p:cNvPr>
          <p:cNvSpPr>
            <a:spLocks noGrp="1"/>
          </p:cNvSpPr>
          <p:nvPr>
            <p:ph type="sldNum" sz="quarter" idx="10"/>
          </p:nvPr>
        </p:nvSpPr>
        <p:spPr/>
        <p:txBody>
          <a:bodyPr/>
          <a:lstStyle/>
          <a:p>
            <a:fld id="{FCDE97FF-EDB7-4A78-BB35-D88D634F738A}" type="slidenum">
              <a:rPr lang="de-DE" smtClean="0"/>
              <a:t>26</a:t>
            </a:fld>
            <a:endParaRPr lang="de-DE"/>
          </a:p>
        </p:txBody>
      </p:sp>
    </p:spTree>
    <p:extLst>
      <p:ext uri="{BB962C8B-B14F-4D97-AF65-F5344CB8AC3E}">
        <p14:creationId xmlns:p14="http://schemas.microsoft.com/office/powerpoint/2010/main" val="1440967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A76101-9B98-75ED-E19C-4813725CD61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887B719-EF83-E5D0-E47A-DE3EB48E530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6A87FC3-C756-94C2-B13A-9E2B921D0D91}"/>
              </a:ext>
            </a:extLst>
          </p:cNvPr>
          <p:cNvSpPr>
            <a:spLocks noGrp="1"/>
          </p:cNvSpPr>
          <p:nvPr>
            <p:ph type="body" idx="1"/>
          </p:nvPr>
        </p:nvSpPr>
        <p:spPr/>
        <p:txBody>
          <a:bodyPr/>
          <a:lstStyle/>
          <a:p>
            <a:r>
              <a:rPr lang="de-DE" dirty="0"/>
              <a:t>Echte Auslagerung häufig teuer </a:t>
            </a:r>
          </a:p>
          <a:p>
            <a:r>
              <a:rPr lang="de-DE" dirty="0"/>
              <a:t>Alternative </a:t>
            </a:r>
          </a:p>
        </p:txBody>
      </p:sp>
      <p:sp>
        <p:nvSpPr>
          <p:cNvPr id="4" name="Foliennummernplatzhalter 3">
            <a:extLst>
              <a:ext uri="{FF2B5EF4-FFF2-40B4-BE49-F238E27FC236}">
                <a16:creationId xmlns:a16="http://schemas.microsoft.com/office/drawing/2014/main" id="{500AC8BD-2266-9ADA-4ED0-5FBFF17C15E1}"/>
              </a:ext>
            </a:extLst>
          </p:cNvPr>
          <p:cNvSpPr>
            <a:spLocks noGrp="1"/>
          </p:cNvSpPr>
          <p:nvPr>
            <p:ph type="sldNum" sz="quarter" idx="10"/>
          </p:nvPr>
        </p:nvSpPr>
        <p:spPr/>
        <p:txBody>
          <a:bodyPr/>
          <a:lstStyle/>
          <a:p>
            <a:fld id="{FCDE97FF-EDB7-4A78-BB35-D88D634F738A}" type="slidenum">
              <a:rPr lang="de-DE" smtClean="0"/>
              <a:t>27</a:t>
            </a:fld>
            <a:endParaRPr lang="de-DE"/>
          </a:p>
        </p:txBody>
      </p:sp>
    </p:spTree>
    <p:extLst>
      <p:ext uri="{BB962C8B-B14F-4D97-AF65-F5344CB8AC3E}">
        <p14:creationId xmlns:p14="http://schemas.microsoft.com/office/powerpoint/2010/main" val="35852737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1F8CF9-CFDA-0813-C02D-36BAE86F951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F9F6228-CA4F-6E8B-5AF0-1E852DA8E5F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D994DF4-42FB-69DA-E72C-29FFC885F2C7}"/>
              </a:ext>
            </a:extLst>
          </p:cNvPr>
          <p:cNvSpPr>
            <a:spLocks noGrp="1"/>
          </p:cNvSpPr>
          <p:nvPr>
            <p:ph type="body" idx="1"/>
          </p:nvPr>
        </p:nvSpPr>
        <p:spPr/>
        <p:txBody>
          <a:bodyPr/>
          <a:lstStyle/>
          <a:p>
            <a:r>
              <a:rPr lang="de-DE" dirty="0"/>
              <a:t>Echte Auslagerung häufig teuer </a:t>
            </a:r>
          </a:p>
          <a:p>
            <a:r>
              <a:rPr lang="de-DE" dirty="0"/>
              <a:t>Alternative </a:t>
            </a:r>
          </a:p>
        </p:txBody>
      </p:sp>
      <p:sp>
        <p:nvSpPr>
          <p:cNvPr id="4" name="Foliennummernplatzhalter 3">
            <a:extLst>
              <a:ext uri="{FF2B5EF4-FFF2-40B4-BE49-F238E27FC236}">
                <a16:creationId xmlns:a16="http://schemas.microsoft.com/office/drawing/2014/main" id="{9A2420D1-6FF9-79A6-3B16-2E106261667D}"/>
              </a:ext>
            </a:extLst>
          </p:cNvPr>
          <p:cNvSpPr>
            <a:spLocks noGrp="1"/>
          </p:cNvSpPr>
          <p:nvPr>
            <p:ph type="sldNum" sz="quarter" idx="10"/>
          </p:nvPr>
        </p:nvSpPr>
        <p:spPr/>
        <p:txBody>
          <a:bodyPr/>
          <a:lstStyle/>
          <a:p>
            <a:fld id="{FCDE97FF-EDB7-4A78-BB35-D88D634F738A}" type="slidenum">
              <a:rPr lang="de-DE" smtClean="0"/>
              <a:t>28</a:t>
            </a:fld>
            <a:endParaRPr lang="de-DE"/>
          </a:p>
        </p:txBody>
      </p:sp>
    </p:spTree>
    <p:extLst>
      <p:ext uri="{BB962C8B-B14F-4D97-AF65-F5344CB8AC3E}">
        <p14:creationId xmlns:p14="http://schemas.microsoft.com/office/powerpoint/2010/main" val="6601206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BF340F-0DF9-1223-A277-8F82BED546D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50A7344-0C66-5B21-701A-CA54500893E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B82283E-4B42-9E9E-6652-89EA61BD9660}"/>
              </a:ext>
            </a:extLst>
          </p:cNvPr>
          <p:cNvSpPr>
            <a:spLocks noGrp="1"/>
          </p:cNvSpPr>
          <p:nvPr>
            <p:ph type="body" idx="1"/>
          </p:nvPr>
        </p:nvSpPr>
        <p:spPr/>
        <p:txBody>
          <a:bodyPr/>
          <a:lstStyle/>
          <a:p>
            <a:r>
              <a:rPr lang="de-DE" dirty="0"/>
              <a:t>Echte Auslagerung häufig teuer </a:t>
            </a:r>
          </a:p>
          <a:p>
            <a:r>
              <a:rPr lang="de-DE" dirty="0"/>
              <a:t>Alternative </a:t>
            </a:r>
          </a:p>
        </p:txBody>
      </p:sp>
      <p:sp>
        <p:nvSpPr>
          <p:cNvPr id="4" name="Foliennummernplatzhalter 3">
            <a:extLst>
              <a:ext uri="{FF2B5EF4-FFF2-40B4-BE49-F238E27FC236}">
                <a16:creationId xmlns:a16="http://schemas.microsoft.com/office/drawing/2014/main" id="{5ACF7220-6D5D-3615-DFC9-4CE37797DF67}"/>
              </a:ext>
            </a:extLst>
          </p:cNvPr>
          <p:cNvSpPr>
            <a:spLocks noGrp="1"/>
          </p:cNvSpPr>
          <p:nvPr>
            <p:ph type="sldNum" sz="quarter" idx="10"/>
          </p:nvPr>
        </p:nvSpPr>
        <p:spPr/>
        <p:txBody>
          <a:bodyPr/>
          <a:lstStyle/>
          <a:p>
            <a:fld id="{FCDE97FF-EDB7-4A78-BB35-D88D634F738A}" type="slidenum">
              <a:rPr lang="de-DE" smtClean="0"/>
              <a:t>29</a:t>
            </a:fld>
            <a:endParaRPr lang="de-DE"/>
          </a:p>
        </p:txBody>
      </p:sp>
    </p:spTree>
    <p:extLst>
      <p:ext uri="{BB962C8B-B14F-4D97-AF65-F5344CB8AC3E}">
        <p14:creationId xmlns:p14="http://schemas.microsoft.com/office/powerpoint/2010/main" val="40848073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F6CFEB-328F-0988-833D-F31D9E10887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0391998-887A-318A-0F43-B64C5FCB35B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2AE1455-813F-A2B0-8342-18D9A558C0DE}"/>
              </a:ext>
            </a:extLst>
          </p:cNvPr>
          <p:cNvSpPr>
            <a:spLocks noGrp="1"/>
          </p:cNvSpPr>
          <p:nvPr>
            <p:ph type="body" idx="1"/>
          </p:nvPr>
        </p:nvSpPr>
        <p:spPr/>
        <p:txBody>
          <a:bodyPr/>
          <a:lstStyle/>
          <a:p>
            <a:r>
              <a:rPr lang="de-DE" dirty="0"/>
              <a:t>Echte Auslagerung häufig teuer </a:t>
            </a:r>
          </a:p>
          <a:p>
            <a:r>
              <a:rPr lang="de-DE" dirty="0"/>
              <a:t>Alternative </a:t>
            </a:r>
          </a:p>
        </p:txBody>
      </p:sp>
      <p:sp>
        <p:nvSpPr>
          <p:cNvPr id="4" name="Foliennummernplatzhalter 3">
            <a:extLst>
              <a:ext uri="{FF2B5EF4-FFF2-40B4-BE49-F238E27FC236}">
                <a16:creationId xmlns:a16="http://schemas.microsoft.com/office/drawing/2014/main" id="{7AAE19CA-DBCE-5D1B-C688-F8F778979083}"/>
              </a:ext>
            </a:extLst>
          </p:cNvPr>
          <p:cNvSpPr>
            <a:spLocks noGrp="1"/>
          </p:cNvSpPr>
          <p:nvPr>
            <p:ph type="sldNum" sz="quarter" idx="10"/>
          </p:nvPr>
        </p:nvSpPr>
        <p:spPr/>
        <p:txBody>
          <a:bodyPr/>
          <a:lstStyle/>
          <a:p>
            <a:fld id="{FCDE97FF-EDB7-4A78-BB35-D88D634F738A}" type="slidenum">
              <a:rPr lang="de-DE" smtClean="0"/>
              <a:t>30</a:t>
            </a:fld>
            <a:endParaRPr lang="de-DE"/>
          </a:p>
        </p:txBody>
      </p:sp>
    </p:spTree>
    <p:extLst>
      <p:ext uri="{BB962C8B-B14F-4D97-AF65-F5344CB8AC3E}">
        <p14:creationId xmlns:p14="http://schemas.microsoft.com/office/powerpoint/2010/main" val="3612156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FCDE97FF-EDB7-4A78-BB35-D88D634F738A}" type="slidenum">
              <a:rPr lang="de-DE" smtClean="0"/>
              <a:t>4</a:t>
            </a:fld>
            <a:endParaRPr lang="de-DE"/>
          </a:p>
        </p:txBody>
      </p:sp>
    </p:spTree>
    <p:extLst>
      <p:ext uri="{BB962C8B-B14F-4D97-AF65-F5344CB8AC3E}">
        <p14:creationId xmlns:p14="http://schemas.microsoft.com/office/powerpoint/2010/main" val="7854587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26522-5E7B-1454-567B-2F6E79E8598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F6FE73F-C1DA-D8AE-4663-884409E148E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829F5C5-D530-A1F7-5663-3485E49E168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CF970AF0-F50D-E935-DABB-D1B58CD59E20}"/>
              </a:ext>
            </a:extLst>
          </p:cNvPr>
          <p:cNvSpPr>
            <a:spLocks noGrp="1"/>
          </p:cNvSpPr>
          <p:nvPr>
            <p:ph type="sldNum" sz="quarter" idx="10"/>
          </p:nvPr>
        </p:nvSpPr>
        <p:spPr/>
        <p:txBody>
          <a:bodyPr/>
          <a:lstStyle/>
          <a:p>
            <a:fld id="{FCDE97FF-EDB7-4A78-BB35-D88D634F738A}" type="slidenum">
              <a:rPr lang="de-DE" smtClean="0"/>
              <a:t>31</a:t>
            </a:fld>
            <a:endParaRPr lang="de-DE"/>
          </a:p>
        </p:txBody>
      </p:sp>
    </p:spTree>
    <p:extLst>
      <p:ext uri="{BB962C8B-B14F-4D97-AF65-F5344CB8AC3E}">
        <p14:creationId xmlns:p14="http://schemas.microsoft.com/office/powerpoint/2010/main" val="41770860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255698-B466-2461-5832-E979F1C1E76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2FF49F9-5549-EEA1-0377-83FA4E4125E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25DEDD6-4042-F7ED-2C81-86C744550130}"/>
              </a:ext>
            </a:extLst>
          </p:cNvPr>
          <p:cNvSpPr>
            <a:spLocks noGrp="1"/>
          </p:cNvSpPr>
          <p:nvPr>
            <p:ph type="body" idx="1"/>
          </p:nvPr>
        </p:nvSpPr>
        <p:spPr/>
        <p:txBody>
          <a:bodyPr/>
          <a:lstStyle/>
          <a:p>
            <a:r>
              <a:rPr lang="de-DE" dirty="0"/>
              <a:t>Für die Verteilung des Aufwands wird in der Praxis ein aktiver Rechnungsabgrenzungsposten gebildet </a:t>
            </a:r>
          </a:p>
        </p:txBody>
      </p:sp>
      <p:sp>
        <p:nvSpPr>
          <p:cNvPr id="4" name="Foliennummernplatzhalter 3">
            <a:extLst>
              <a:ext uri="{FF2B5EF4-FFF2-40B4-BE49-F238E27FC236}">
                <a16:creationId xmlns:a16="http://schemas.microsoft.com/office/drawing/2014/main" id="{38F61828-0EB3-6417-7745-CEA56CE449B8}"/>
              </a:ext>
            </a:extLst>
          </p:cNvPr>
          <p:cNvSpPr>
            <a:spLocks noGrp="1"/>
          </p:cNvSpPr>
          <p:nvPr>
            <p:ph type="sldNum" sz="quarter" idx="10"/>
          </p:nvPr>
        </p:nvSpPr>
        <p:spPr/>
        <p:txBody>
          <a:bodyPr/>
          <a:lstStyle/>
          <a:p>
            <a:fld id="{FCDE97FF-EDB7-4A78-BB35-D88D634F738A}" type="slidenum">
              <a:rPr lang="de-DE" smtClean="0"/>
              <a:t>32</a:t>
            </a:fld>
            <a:endParaRPr lang="de-DE"/>
          </a:p>
        </p:txBody>
      </p:sp>
    </p:spTree>
    <p:extLst>
      <p:ext uri="{BB962C8B-B14F-4D97-AF65-F5344CB8AC3E}">
        <p14:creationId xmlns:p14="http://schemas.microsoft.com/office/powerpoint/2010/main" val="18690090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A20470-8189-54C3-137F-72666ADE414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7D2AB98-D2BB-05E6-1C66-8F87B1B047F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8CCA1EE-1AE8-0CF1-B1AD-384A2FC207C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849F9F95-DCBB-B922-4D52-7F2BFB01B54D}"/>
              </a:ext>
            </a:extLst>
          </p:cNvPr>
          <p:cNvSpPr>
            <a:spLocks noGrp="1"/>
          </p:cNvSpPr>
          <p:nvPr>
            <p:ph type="sldNum" sz="quarter" idx="10"/>
          </p:nvPr>
        </p:nvSpPr>
        <p:spPr/>
        <p:txBody>
          <a:bodyPr/>
          <a:lstStyle/>
          <a:p>
            <a:fld id="{FCDE97FF-EDB7-4A78-BB35-D88D634F738A}" type="slidenum">
              <a:rPr lang="de-DE" smtClean="0"/>
              <a:t>33</a:t>
            </a:fld>
            <a:endParaRPr lang="de-DE"/>
          </a:p>
        </p:txBody>
      </p:sp>
    </p:spTree>
    <p:extLst>
      <p:ext uri="{BB962C8B-B14F-4D97-AF65-F5344CB8AC3E}">
        <p14:creationId xmlns:p14="http://schemas.microsoft.com/office/powerpoint/2010/main" val="3701110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A2556A-8EC4-C337-D926-27CD45934EE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D990A1F-85C5-B4EB-B2DE-8620952C23F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47A22BC-5ECF-5AD5-59D1-9E0CC24C38A0}"/>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5762D1ED-F2DE-0BAE-E3CB-34AF19831EBD}"/>
              </a:ext>
            </a:extLst>
          </p:cNvPr>
          <p:cNvSpPr>
            <a:spLocks noGrp="1"/>
          </p:cNvSpPr>
          <p:nvPr>
            <p:ph type="sldNum" sz="quarter" idx="10"/>
          </p:nvPr>
        </p:nvSpPr>
        <p:spPr/>
        <p:txBody>
          <a:bodyPr/>
          <a:lstStyle/>
          <a:p>
            <a:fld id="{FCDE97FF-EDB7-4A78-BB35-D88D634F738A}" type="slidenum">
              <a:rPr lang="de-DE" smtClean="0"/>
              <a:t>34</a:t>
            </a:fld>
            <a:endParaRPr lang="de-DE"/>
          </a:p>
        </p:txBody>
      </p:sp>
    </p:spTree>
    <p:extLst>
      <p:ext uri="{BB962C8B-B14F-4D97-AF65-F5344CB8AC3E}">
        <p14:creationId xmlns:p14="http://schemas.microsoft.com/office/powerpoint/2010/main" val="4820102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69ED22-D4DA-194C-26E6-179D54F6417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37A3EE8-FCDF-DF6B-464C-0ACF8824569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4D94F57-8831-710A-856C-211AAC198E1D}"/>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65C9CEB3-1EC8-2743-9E04-423A6D6A534B}"/>
              </a:ext>
            </a:extLst>
          </p:cNvPr>
          <p:cNvSpPr>
            <a:spLocks noGrp="1"/>
          </p:cNvSpPr>
          <p:nvPr>
            <p:ph type="sldNum" sz="quarter" idx="10"/>
          </p:nvPr>
        </p:nvSpPr>
        <p:spPr/>
        <p:txBody>
          <a:bodyPr/>
          <a:lstStyle/>
          <a:p>
            <a:fld id="{FCDE97FF-EDB7-4A78-BB35-D88D634F738A}" type="slidenum">
              <a:rPr lang="de-DE" smtClean="0"/>
              <a:t>35</a:t>
            </a:fld>
            <a:endParaRPr lang="de-DE"/>
          </a:p>
        </p:txBody>
      </p:sp>
    </p:spTree>
    <p:extLst>
      <p:ext uri="{BB962C8B-B14F-4D97-AF65-F5344CB8AC3E}">
        <p14:creationId xmlns:p14="http://schemas.microsoft.com/office/powerpoint/2010/main" val="592911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CFB44-FFB7-9428-4516-348B8DF1966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2475FFC-73B2-9D71-5AD8-B41AB312CC8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A4C6A38-4E6D-AD73-0CF9-AE7F40071026}"/>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AD73D9FD-A50F-7F81-00ED-8501A6C3BAB3}"/>
              </a:ext>
            </a:extLst>
          </p:cNvPr>
          <p:cNvSpPr>
            <a:spLocks noGrp="1"/>
          </p:cNvSpPr>
          <p:nvPr>
            <p:ph type="sldNum" sz="quarter" idx="10"/>
          </p:nvPr>
        </p:nvSpPr>
        <p:spPr/>
        <p:txBody>
          <a:bodyPr/>
          <a:lstStyle/>
          <a:p>
            <a:fld id="{FCDE97FF-EDB7-4A78-BB35-D88D634F738A}" type="slidenum">
              <a:rPr lang="de-DE" smtClean="0"/>
              <a:t>36</a:t>
            </a:fld>
            <a:endParaRPr lang="de-DE"/>
          </a:p>
        </p:txBody>
      </p:sp>
    </p:spTree>
    <p:extLst>
      <p:ext uri="{BB962C8B-B14F-4D97-AF65-F5344CB8AC3E}">
        <p14:creationId xmlns:p14="http://schemas.microsoft.com/office/powerpoint/2010/main" val="39373011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AE791B-BDCA-5B75-6E8C-B792432D787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63D6549-F093-C3DE-B253-7AA968A23E2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CCA9155-B4ED-68EF-36FD-6F2DFBC0D139}"/>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89C3E4F7-0083-BE6D-C88B-0CB93E60A2A5}"/>
              </a:ext>
            </a:extLst>
          </p:cNvPr>
          <p:cNvSpPr>
            <a:spLocks noGrp="1"/>
          </p:cNvSpPr>
          <p:nvPr>
            <p:ph type="sldNum" sz="quarter" idx="10"/>
          </p:nvPr>
        </p:nvSpPr>
        <p:spPr/>
        <p:txBody>
          <a:bodyPr/>
          <a:lstStyle/>
          <a:p>
            <a:fld id="{FCDE97FF-EDB7-4A78-BB35-D88D634F738A}" type="slidenum">
              <a:rPr lang="de-DE" smtClean="0"/>
              <a:t>37</a:t>
            </a:fld>
            <a:endParaRPr lang="de-DE"/>
          </a:p>
        </p:txBody>
      </p:sp>
    </p:spTree>
    <p:extLst>
      <p:ext uri="{BB962C8B-B14F-4D97-AF65-F5344CB8AC3E}">
        <p14:creationId xmlns:p14="http://schemas.microsoft.com/office/powerpoint/2010/main" val="17554095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0A5E5-C707-29C4-BEE0-0DB1542D04D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80A420A-C993-1E31-EE77-0FBA7DE3B2C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95E1E49-9286-A7D0-B622-04F71D93AB0E}"/>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670630F8-B8A1-7BD6-046B-04B9EDC7A7C6}"/>
              </a:ext>
            </a:extLst>
          </p:cNvPr>
          <p:cNvSpPr>
            <a:spLocks noGrp="1"/>
          </p:cNvSpPr>
          <p:nvPr>
            <p:ph type="sldNum" sz="quarter" idx="10"/>
          </p:nvPr>
        </p:nvSpPr>
        <p:spPr/>
        <p:txBody>
          <a:bodyPr/>
          <a:lstStyle/>
          <a:p>
            <a:fld id="{FCDE97FF-EDB7-4A78-BB35-D88D634F738A}" type="slidenum">
              <a:rPr lang="de-DE" smtClean="0"/>
              <a:t>38</a:t>
            </a:fld>
            <a:endParaRPr lang="de-DE"/>
          </a:p>
        </p:txBody>
      </p:sp>
    </p:spTree>
    <p:extLst>
      <p:ext uri="{BB962C8B-B14F-4D97-AF65-F5344CB8AC3E}">
        <p14:creationId xmlns:p14="http://schemas.microsoft.com/office/powerpoint/2010/main" val="211152730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75081-7883-0385-8499-A5785102542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5F93B93-194E-48F3-2AB8-C79302EE1F4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D6D35F9-C0EC-420C-EB15-3C348B891EFB}"/>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72E3F2B4-11F3-AD04-E0FE-B490C7C64785}"/>
              </a:ext>
            </a:extLst>
          </p:cNvPr>
          <p:cNvSpPr>
            <a:spLocks noGrp="1"/>
          </p:cNvSpPr>
          <p:nvPr>
            <p:ph type="sldNum" sz="quarter" idx="10"/>
          </p:nvPr>
        </p:nvSpPr>
        <p:spPr/>
        <p:txBody>
          <a:bodyPr/>
          <a:lstStyle/>
          <a:p>
            <a:fld id="{FCDE97FF-EDB7-4A78-BB35-D88D634F738A}" type="slidenum">
              <a:rPr lang="de-DE" smtClean="0"/>
              <a:t>39</a:t>
            </a:fld>
            <a:endParaRPr lang="de-DE"/>
          </a:p>
        </p:txBody>
      </p:sp>
    </p:spTree>
    <p:extLst>
      <p:ext uri="{BB962C8B-B14F-4D97-AF65-F5344CB8AC3E}">
        <p14:creationId xmlns:p14="http://schemas.microsoft.com/office/powerpoint/2010/main" val="27707332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5C8D17-02AF-8074-6866-C865277E69F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6EA71B5-1B76-5847-E659-C76000888BD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0A50DC3-2A94-55CC-E590-12E0EB8B9F1B}"/>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BAF944D9-AEDD-D4D1-17CE-BD0DA9C25BBB}"/>
              </a:ext>
            </a:extLst>
          </p:cNvPr>
          <p:cNvSpPr>
            <a:spLocks noGrp="1"/>
          </p:cNvSpPr>
          <p:nvPr>
            <p:ph type="sldNum" sz="quarter" idx="10"/>
          </p:nvPr>
        </p:nvSpPr>
        <p:spPr/>
        <p:txBody>
          <a:bodyPr/>
          <a:lstStyle/>
          <a:p>
            <a:fld id="{FCDE97FF-EDB7-4A78-BB35-D88D634F738A}" type="slidenum">
              <a:rPr lang="de-DE" smtClean="0"/>
              <a:t>40</a:t>
            </a:fld>
            <a:endParaRPr lang="de-DE"/>
          </a:p>
        </p:txBody>
      </p:sp>
    </p:spTree>
    <p:extLst>
      <p:ext uri="{BB962C8B-B14F-4D97-AF65-F5344CB8AC3E}">
        <p14:creationId xmlns:p14="http://schemas.microsoft.com/office/powerpoint/2010/main" val="17487104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FCDE97FF-EDB7-4A78-BB35-D88D634F738A}" type="slidenum">
              <a:rPr lang="de-DE" smtClean="0"/>
              <a:t>5</a:t>
            </a:fld>
            <a:endParaRPr lang="de-DE"/>
          </a:p>
        </p:txBody>
      </p:sp>
    </p:spTree>
    <p:extLst>
      <p:ext uri="{BB962C8B-B14F-4D97-AF65-F5344CB8AC3E}">
        <p14:creationId xmlns:p14="http://schemas.microsoft.com/office/powerpoint/2010/main" val="36999458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699C69-AE3E-89B6-85B2-8596C80DE5C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3C2584D-65E3-B088-6E4A-6C2958E36F6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D0D47B3-B424-FC7A-9EC6-FBBE7CF5012E}"/>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0F748F9C-6294-713D-EB8A-609505E7FD1E}"/>
              </a:ext>
            </a:extLst>
          </p:cNvPr>
          <p:cNvSpPr>
            <a:spLocks noGrp="1"/>
          </p:cNvSpPr>
          <p:nvPr>
            <p:ph type="sldNum" sz="quarter" idx="10"/>
          </p:nvPr>
        </p:nvSpPr>
        <p:spPr/>
        <p:txBody>
          <a:bodyPr/>
          <a:lstStyle/>
          <a:p>
            <a:fld id="{FCDE97FF-EDB7-4A78-BB35-D88D634F738A}" type="slidenum">
              <a:rPr lang="de-DE" smtClean="0"/>
              <a:t>41</a:t>
            </a:fld>
            <a:endParaRPr lang="de-DE"/>
          </a:p>
        </p:txBody>
      </p:sp>
    </p:spTree>
    <p:extLst>
      <p:ext uri="{BB962C8B-B14F-4D97-AF65-F5344CB8AC3E}">
        <p14:creationId xmlns:p14="http://schemas.microsoft.com/office/powerpoint/2010/main" val="36832636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08BA9D-32E0-3319-5217-5007BCB3A90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AFEE16B-CFF1-1B87-0387-B790AAF6013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56BA804-322F-FD0E-5690-ED69DD5E7F19}"/>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AEBC8961-BD94-CCB3-C92D-F5198DD843EE}"/>
              </a:ext>
            </a:extLst>
          </p:cNvPr>
          <p:cNvSpPr>
            <a:spLocks noGrp="1"/>
          </p:cNvSpPr>
          <p:nvPr>
            <p:ph type="sldNum" sz="quarter" idx="10"/>
          </p:nvPr>
        </p:nvSpPr>
        <p:spPr/>
        <p:txBody>
          <a:bodyPr/>
          <a:lstStyle/>
          <a:p>
            <a:fld id="{FCDE97FF-EDB7-4A78-BB35-D88D634F738A}" type="slidenum">
              <a:rPr lang="de-DE" smtClean="0"/>
              <a:t>42</a:t>
            </a:fld>
            <a:endParaRPr lang="de-DE"/>
          </a:p>
        </p:txBody>
      </p:sp>
    </p:spTree>
    <p:extLst>
      <p:ext uri="{BB962C8B-B14F-4D97-AF65-F5344CB8AC3E}">
        <p14:creationId xmlns:p14="http://schemas.microsoft.com/office/powerpoint/2010/main" val="336949162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72E5FE-43D8-244F-7688-4C0EC007385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009AFA-C451-D2F6-067A-D40E2FA35A7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60B6751-A236-5BED-1A53-62401BB14F20}"/>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B4183D4-2C99-6D5A-BF92-C98D8427508C}"/>
              </a:ext>
            </a:extLst>
          </p:cNvPr>
          <p:cNvSpPr>
            <a:spLocks noGrp="1"/>
          </p:cNvSpPr>
          <p:nvPr>
            <p:ph type="sldNum" sz="quarter" idx="10"/>
          </p:nvPr>
        </p:nvSpPr>
        <p:spPr/>
        <p:txBody>
          <a:bodyPr/>
          <a:lstStyle/>
          <a:p>
            <a:fld id="{FCDE97FF-EDB7-4A78-BB35-D88D634F738A}" type="slidenum">
              <a:rPr lang="de-DE" smtClean="0"/>
              <a:t>43</a:t>
            </a:fld>
            <a:endParaRPr lang="de-DE"/>
          </a:p>
        </p:txBody>
      </p:sp>
    </p:spTree>
    <p:extLst>
      <p:ext uri="{BB962C8B-B14F-4D97-AF65-F5344CB8AC3E}">
        <p14:creationId xmlns:p14="http://schemas.microsoft.com/office/powerpoint/2010/main" val="160867002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B01159-4F21-357B-4D74-9154164F6E0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334F66C-A114-D732-5342-F7731CD5B78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AB5E10F-7D43-D46C-B35A-C37DAB1A23D8}"/>
              </a:ext>
            </a:extLst>
          </p:cNvPr>
          <p:cNvSpPr>
            <a:spLocks noGrp="1"/>
          </p:cNvSpPr>
          <p:nvPr>
            <p:ph type="body" idx="1"/>
          </p:nvPr>
        </p:nvSpPr>
        <p:spPr/>
        <p:txBody>
          <a:bodyPr/>
          <a:lstStyle/>
          <a:p>
            <a:r>
              <a:rPr lang="de-DE" dirty="0"/>
              <a:t>ratierliche Anwartschaft </a:t>
            </a:r>
          </a:p>
        </p:txBody>
      </p:sp>
      <p:sp>
        <p:nvSpPr>
          <p:cNvPr id="4" name="Foliennummernplatzhalter 3">
            <a:extLst>
              <a:ext uri="{FF2B5EF4-FFF2-40B4-BE49-F238E27FC236}">
                <a16:creationId xmlns:a16="http://schemas.microsoft.com/office/drawing/2014/main" id="{860A9F2E-4E09-2C81-9767-2BA5C18969EE}"/>
              </a:ext>
            </a:extLst>
          </p:cNvPr>
          <p:cNvSpPr>
            <a:spLocks noGrp="1"/>
          </p:cNvSpPr>
          <p:nvPr>
            <p:ph type="sldNum" sz="quarter" idx="10"/>
          </p:nvPr>
        </p:nvSpPr>
        <p:spPr/>
        <p:txBody>
          <a:bodyPr/>
          <a:lstStyle/>
          <a:p>
            <a:fld id="{FCDE97FF-EDB7-4A78-BB35-D88D634F738A}" type="slidenum">
              <a:rPr lang="de-DE" smtClean="0"/>
              <a:t>44</a:t>
            </a:fld>
            <a:endParaRPr lang="de-DE"/>
          </a:p>
        </p:txBody>
      </p:sp>
    </p:spTree>
    <p:extLst>
      <p:ext uri="{BB962C8B-B14F-4D97-AF65-F5344CB8AC3E}">
        <p14:creationId xmlns:p14="http://schemas.microsoft.com/office/powerpoint/2010/main" val="215236008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F166FB-A357-1280-237B-CE24D913305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8A89070-8AF3-9EC3-915E-A029DEB0C09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ED2BAFE-0CA2-FC75-E056-529F8D8BBDF8}"/>
              </a:ext>
            </a:extLst>
          </p:cNvPr>
          <p:cNvSpPr>
            <a:spLocks noGrp="1"/>
          </p:cNvSpPr>
          <p:nvPr>
            <p:ph type="body" idx="1"/>
          </p:nvPr>
        </p:nvSpPr>
        <p:spPr/>
        <p:txBody>
          <a:bodyPr/>
          <a:lstStyle/>
          <a:p>
            <a:r>
              <a:rPr lang="de-DE" dirty="0"/>
              <a:t>ratierliche Anwartschaft </a:t>
            </a:r>
          </a:p>
        </p:txBody>
      </p:sp>
      <p:sp>
        <p:nvSpPr>
          <p:cNvPr id="4" name="Foliennummernplatzhalter 3">
            <a:extLst>
              <a:ext uri="{FF2B5EF4-FFF2-40B4-BE49-F238E27FC236}">
                <a16:creationId xmlns:a16="http://schemas.microsoft.com/office/drawing/2014/main" id="{6B6F08C6-94A6-7F5F-8A81-17F15DE44B5E}"/>
              </a:ext>
            </a:extLst>
          </p:cNvPr>
          <p:cNvSpPr>
            <a:spLocks noGrp="1"/>
          </p:cNvSpPr>
          <p:nvPr>
            <p:ph type="sldNum" sz="quarter" idx="10"/>
          </p:nvPr>
        </p:nvSpPr>
        <p:spPr/>
        <p:txBody>
          <a:bodyPr/>
          <a:lstStyle/>
          <a:p>
            <a:fld id="{FCDE97FF-EDB7-4A78-BB35-D88D634F738A}" type="slidenum">
              <a:rPr lang="de-DE" smtClean="0"/>
              <a:t>45</a:t>
            </a:fld>
            <a:endParaRPr lang="de-DE"/>
          </a:p>
        </p:txBody>
      </p:sp>
    </p:spTree>
    <p:extLst>
      <p:ext uri="{BB962C8B-B14F-4D97-AF65-F5344CB8AC3E}">
        <p14:creationId xmlns:p14="http://schemas.microsoft.com/office/powerpoint/2010/main" val="6884373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6672CC-8BF6-F98D-D51A-57F79A74C40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5381C93-749F-B554-B5DE-775DBD7B49D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40FFFD1-95B3-8C04-3178-46F7BD6F1D44}"/>
              </a:ext>
            </a:extLst>
          </p:cNvPr>
          <p:cNvSpPr>
            <a:spLocks noGrp="1"/>
          </p:cNvSpPr>
          <p:nvPr>
            <p:ph type="body" idx="1"/>
          </p:nvPr>
        </p:nvSpPr>
        <p:spPr/>
        <p:txBody>
          <a:bodyPr/>
          <a:lstStyle/>
          <a:p>
            <a:r>
              <a:rPr lang="de-DE" dirty="0"/>
              <a:t>ratierliche Anwartschaft </a:t>
            </a:r>
          </a:p>
        </p:txBody>
      </p:sp>
      <p:sp>
        <p:nvSpPr>
          <p:cNvPr id="4" name="Foliennummernplatzhalter 3">
            <a:extLst>
              <a:ext uri="{FF2B5EF4-FFF2-40B4-BE49-F238E27FC236}">
                <a16:creationId xmlns:a16="http://schemas.microsoft.com/office/drawing/2014/main" id="{BFFA5F39-C338-6476-FFAB-437BA05B4591}"/>
              </a:ext>
            </a:extLst>
          </p:cNvPr>
          <p:cNvSpPr>
            <a:spLocks noGrp="1"/>
          </p:cNvSpPr>
          <p:nvPr>
            <p:ph type="sldNum" sz="quarter" idx="10"/>
          </p:nvPr>
        </p:nvSpPr>
        <p:spPr/>
        <p:txBody>
          <a:bodyPr/>
          <a:lstStyle/>
          <a:p>
            <a:fld id="{FCDE97FF-EDB7-4A78-BB35-D88D634F738A}" type="slidenum">
              <a:rPr lang="de-DE" smtClean="0"/>
              <a:t>46</a:t>
            </a:fld>
            <a:endParaRPr lang="de-DE"/>
          </a:p>
        </p:txBody>
      </p:sp>
    </p:spTree>
    <p:extLst>
      <p:ext uri="{BB962C8B-B14F-4D97-AF65-F5344CB8AC3E}">
        <p14:creationId xmlns:p14="http://schemas.microsoft.com/office/powerpoint/2010/main" val="14271344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D8F74-EBF9-71E5-CB56-832650CAB71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2A21990-14A7-88CC-DE9F-264BFB56740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43486B9-FA6A-F425-5EE6-6BB88470EFB3}"/>
              </a:ext>
            </a:extLst>
          </p:cNvPr>
          <p:cNvSpPr>
            <a:spLocks noGrp="1"/>
          </p:cNvSpPr>
          <p:nvPr>
            <p:ph type="body" idx="1"/>
          </p:nvPr>
        </p:nvSpPr>
        <p:spPr/>
        <p:txBody>
          <a:bodyPr/>
          <a:lstStyle/>
          <a:p>
            <a:r>
              <a:rPr lang="de-DE" dirty="0"/>
              <a:t>ratierliche Anwartschaft </a:t>
            </a:r>
          </a:p>
        </p:txBody>
      </p:sp>
      <p:sp>
        <p:nvSpPr>
          <p:cNvPr id="4" name="Foliennummernplatzhalter 3">
            <a:extLst>
              <a:ext uri="{FF2B5EF4-FFF2-40B4-BE49-F238E27FC236}">
                <a16:creationId xmlns:a16="http://schemas.microsoft.com/office/drawing/2014/main" id="{3941A525-73CA-71CC-C93B-419D91185DA7}"/>
              </a:ext>
            </a:extLst>
          </p:cNvPr>
          <p:cNvSpPr>
            <a:spLocks noGrp="1"/>
          </p:cNvSpPr>
          <p:nvPr>
            <p:ph type="sldNum" sz="quarter" idx="10"/>
          </p:nvPr>
        </p:nvSpPr>
        <p:spPr/>
        <p:txBody>
          <a:bodyPr/>
          <a:lstStyle/>
          <a:p>
            <a:fld id="{FCDE97FF-EDB7-4A78-BB35-D88D634F738A}" type="slidenum">
              <a:rPr lang="de-DE" smtClean="0"/>
              <a:t>47</a:t>
            </a:fld>
            <a:endParaRPr lang="de-DE"/>
          </a:p>
        </p:txBody>
      </p:sp>
    </p:spTree>
    <p:extLst>
      <p:ext uri="{BB962C8B-B14F-4D97-AF65-F5344CB8AC3E}">
        <p14:creationId xmlns:p14="http://schemas.microsoft.com/office/powerpoint/2010/main" val="202441803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CC7B2F-9CF5-0EB9-A772-18AEABAEED6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A25E76C-7DF0-24E3-B995-49A3D0EEAC7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D407EBA-6E48-DCCB-4CDB-90AC238CD2A1}"/>
              </a:ext>
            </a:extLst>
          </p:cNvPr>
          <p:cNvSpPr>
            <a:spLocks noGrp="1"/>
          </p:cNvSpPr>
          <p:nvPr>
            <p:ph type="body" idx="1"/>
          </p:nvPr>
        </p:nvSpPr>
        <p:spPr/>
        <p:txBody>
          <a:bodyPr/>
          <a:lstStyle/>
          <a:p>
            <a:r>
              <a:rPr lang="de-DE" dirty="0"/>
              <a:t>ratierliche Anwartschaft </a:t>
            </a:r>
          </a:p>
        </p:txBody>
      </p:sp>
      <p:sp>
        <p:nvSpPr>
          <p:cNvPr id="4" name="Foliennummernplatzhalter 3">
            <a:extLst>
              <a:ext uri="{FF2B5EF4-FFF2-40B4-BE49-F238E27FC236}">
                <a16:creationId xmlns:a16="http://schemas.microsoft.com/office/drawing/2014/main" id="{07B13361-024C-A7B0-A024-BC0A17039E0E}"/>
              </a:ext>
            </a:extLst>
          </p:cNvPr>
          <p:cNvSpPr>
            <a:spLocks noGrp="1"/>
          </p:cNvSpPr>
          <p:nvPr>
            <p:ph type="sldNum" sz="quarter" idx="10"/>
          </p:nvPr>
        </p:nvSpPr>
        <p:spPr/>
        <p:txBody>
          <a:bodyPr/>
          <a:lstStyle/>
          <a:p>
            <a:fld id="{FCDE97FF-EDB7-4A78-BB35-D88D634F738A}" type="slidenum">
              <a:rPr lang="de-DE" smtClean="0"/>
              <a:t>48</a:t>
            </a:fld>
            <a:endParaRPr lang="de-DE"/>
          </a:p>
        </p:txBody>
      </p:sp>
    </p:spTree>
    <p:extLst>
      <p:ext uri="{BB962C8B-B14F-4D97-AF65-F5344CB8AC3E}">
        <p14:creationId xmlns:p14="http://schemas.microsoft.com/office/powerpoint/2010/main" val="250903650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917B5E-2217-6A49-A730-EF887858D91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695BD0F-7044-DC93-62EB-BE269D5EC9F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2091E05-E210-685A-6042-99DA990BF57E}"/>
              </a:ext>
            </a:extLst>
          </p:cNvPr>
          <p:cNvSpPr>
            <a:spLocks noGrp="1"/>
          </p:cNvSpPr>
          <p:nvPr>
            <p:ph type="body" idx="1"/>
          </p:nvPr>
        </p:nvSpPr>
        <p:spPr/>
        <p:txBody>
          <a:bodyPr/>
          <a:lstStyle/>
          <a:p>
            <a:r>
              <a:rPr lang="de-DE" dirty="0"/>
              <a:t>ratierliche Anwartschaft </a:t>
            </a:r>
          </a:p>
        </p:txBody>
      </p:sp>
      <p:sp>
        <p:nvSpPr>
          <p:cNvPr id="4" name="Foliennummernplatzhalter 3">
            <a:extLst>
              <a:ext uri="{FF2B5EF4-FFF2-40B4-BE49-F238E27FC236}">
                <a16:creationId xmlns:a16="http://schemas.microsoft.com/office/drawing/2014/main" id="{CB84D6D3-6359-9A75-7DBE-B5A13D61B92C}"/>
              </a:ext>
            </a:extLst>
          </p:cNvPr>
          <p:cNvSpPr>
            <a:spLocks noGrp="1"/>
          </p:cNvSpPr>
          <p:nvPr>
            <p:ph type="sldNum" sz="quarter" idx="10"/>
          </p:nvPr>
        </p:nvSpPr>
        <p:spPr/>
        <p:txBody>
          <a:bodyPr/>
          <a:lstStyle/>
          <a:p>
            <a:fld id="{FCDE97FF-EDB7-4A78-BB35-D88D634F738A}" type="slidenum">
              <a:rPr lang="de-DE" smtClean="0"/>
              <a:t>49</a:t>
            </a:fld>
            <a:endParaRPr lang="de-DE"/>
          </a:p>
        </p:txBody>
      </p:sp>
    </p:spTree>
    <p:extLst>
      <p:ext uri="{BB962C8B-B14F-4D97-AF65-F5344CB8AC3E}">
        <p14:creationId xmlns:p14="http://schemas.microsoft.com/office/powerpoint/2010/main" val="84349975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35E3B9-ED97-31B3-4176-2BB42068EC9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50A3DD4-FDF1-BED6-08C0-D083AF011E3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9FDB9D4-BE45-FE0B-99BB-CF0B4DD7735C}"/>
              </a:ext>
            </a:extLst>
          </p:cNvPr>
          <p:cNvSpPr>
            <a:spLocks noGrp="1"/>
          </p:cNvSpPr>
          <p:nvPr>
            <p:ph type="body" idx="1"/>
          </p:nvPr>
        </p:nvSpPr>
        <p:spPr/>
        <p:txBody>
          <a:bodyPr/>
          <a:lstStyle/>
          <a:p>
            <a:r>
              <a:rPr lang="de-DE" dirty="0"/>
              <a:t>ratierliche Anwartschaft </a:t>
            </a:r>
          </a:p>
        </p:txBody>
      </p:sp>
      <p:sp>
        <p:nvSpPr>
          <p:cNvPr id="4" name="Foliennummernplatzhalter 3">
            <a:extLst>
              <a:ext uri="{FF2B5EF4-FFF2-40B4-BE49-F238E27FC236}">
                <a16:creationId xmlns:a16="http://schemas.microsoft.com/office/drawing/2014/main" id="{4293A842-A20F-AFEA-5D45-1A850743FE09}"/>
              </a:ext>
            </a:extLst>
          </p:cNvPr>
          <p:cNvSpPr>
            <a:spLocks noGrp="1"/>
          </p:cNvSpPr>
          <p:nvPr>
            <p:ph type="sldNum" sz="quarter" idx="10"/>
          </p:nvPr>
        </p:nvSpPr>
        <p:spPr/>
        <p:txBody>
          <a:bodyPr/>
          <a:lstStyle/>
          <a:p>
            <a:fld id="{FCDE97FF-EDB7-4A78-BB35-D88D634F738A}" type="slidenum">
              <a:rPr lang="de-DE" smtClean="0"/>
              <a:t>50</a:t>
            </a:fld>
            <a:endParaRPr lang="de-DE"/>
          </a:p>
        </p:txBody>
      </p:sp>
    </p:spTree>
    <p:extLst>
      <p:ext uri="{BB962C8B-B14F-4D97-AF65-F5344CB8AC3E}">
        <p14:creationId xmlns:p14="http://schemas.microsoft.com/office/powerpoint/2010/main" val="25113737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404513-4B54-7DFC-DAD2-A73269EC7AD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8475A5C-70A8-6C73-301B-44C43A6B960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42585B6-82EF-8C9C-8625-0FECF8D3EA51}"/>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ADD3B84C-5E5A-9691-433A-A73BDE264BAD}"/>
              </a:ext>
            </a:extLst>
          </p:cNvPr>
          <p:cNvSpPr>
            <a:spLocks noGrp="1"/>
          </p:cNvSpPr>
          <p:nvPr>
            <p:ph type="sldNum" sz="quarter" idx="10"/>
          </p:nvPr>
        </p:nvSpPr>
        <p:spPr/>
        <p:txBody>
          <a:bodyPr/>
          <a:lstStyle/>
          <a:p>
            <a:fld id="{FCDE97FF-EDB7-4A78-BB35-D88D634F738A}" type="slidenum">
              <a:rPr lang="de-DE" smtClean="0"/>
              <a:t>6</a:t>
            </a:fld>
            <a:endParaRPr lang="de-DE"/>
          </a:p>
        </p:txBody>
      </p:sp>
    </p:spTree>
    <p:extLst>
      <p:ext uri="{BB962C8B-B14F-4D97-AF65-F5344CB8AC3E}">
        <p14:creationId xmlns:p14="http://schemas.microsoft.com/office/powerpoint/2010/main" val="22276826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93F426-F638-9D35-E8C8-630EFC8980E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390C8E5-54C2-9EFF-AA3C-EC7E9C2DA58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A337C22-0D86-BE3B-532A-B52E4B265CBE}"/>
              </a:ext>
            </a:extLst>
          </p:cNvPr>
          <p:cNvSpPr>
            <a:spLocks noGrp="1"/>
          </p:cNvSpPr>
          <p:nvPr>
            <p:ph type="body" idx="1"/>
          </p:nvPr>
        </p:nvSpPr>
        <p:spPr/>
        <p:txBody>
          <a:bodyPr/>
          <a:lstStyle/>
          <a:p>
            <a:r>
              <a:rPr lang="de-DE" dirty="0"/>
              <a:t>Verzicht ohne Zufluss</a:t>
            </a:r>
          </a:p>
          <a:p>
            <a:r>
              <a:rPr lang="de-DE" dirty="0"/>
              <a:t>Aber Achtung, Ertrag auf Ebene der GmbH durch Anpassung der § 6a EStG-Rückstellung </a:t>
            </a:r>
            <a:r>
              <a:rPr lang="de-DE" dirty="0">
                <a:sym typeface="Wingdings" panose="05000000000000000000" pitchFamily="2" charset="2"/>
              </a:rPr>
              <a:t> insoweit kein einlagefähiger Vermögensgegenstand </a:t>
            </a:r>
          </a:p>
          <a:p>
            <a:endParaRPr lang="de-DE" dirty="0">
              <a:sym typeface="Wingdings" panose="05000000000000000000" pitchFamily="2" charset="2"/>
            </a:endParaRPr>
          </a:p>
          <a:p>
            <a:r>
              <a:rPr lang="de-DE" dirty="0">
                <a:sym typeface="Wingdings" panose="05000000000000000000" pitchFamily="2" charset="2"/>
              </a:rPr>
              <a:t>Verzicht ggf. auch auf Witwenversorgung </a:t>
            </a:r>
            <a:endParaRPr lang="de-DE" dirty="0"/>
          </a:p>
        </p:txBody>
      </p:sp>
      <p:sp>
        <p:nvSpPr>
          <p:cNvPr id="4" name="Foliennummernplatzhalter 3">
            <a:extLst>
              <a:ext uri="{FF2B5EF4-FFF2-40B4-BE49-F238E27FC236}">
                <a16:creationId xmlns:a16="http://schemas.microsoft.com/office/drawing/2014/main" id="{4E55730E-8D09-BDB3-0175-FEC697D00E3E}"/>
              </a:ext>
            </a:extLst>
          </p:cNvPr>
          <p:cNvSpPr>
            <a:spLocks noGrp="1"/>
          </p:cNvSpPr>
          <p:nvPr>
            <p:ph type="sldNum" sz="quarter" idx="10"/>
          </p:nvPr>
        </p:nvSpPr>
        <p:spPr/>
        <p:txBody>
          <a:bodyPr/>
          <a:lstStyle/>
          <a:p>
            <a:fld id="{FCDE97FF-EDB7-4A78-BB35-D88D634F738A}" type="slidenum">
              <a:rPr lang="de-DE" smtClean="0"/>
              <a:t>51</a:t>
            </a:fld>
            <a:endParaRPr lang="de-DE"/>
          </a:p>
        </p:txBody>
      </p:sp>
    </p:spTree>
    <p:extLst>
      <p:ext uri="{BB962C8B-B14F-4D97-AF65-F5344CB8AC3E}">
        <p14:creationId xmlns:p14="http://schemas.microsoft.com/office/powerpoint/2010/main" val="198160057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6FAF0F-4129-149F-9F03-998B1B23056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3C0EBB0-B1DB-D0E9-7922-670493C0C49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AD61E45-895E-BAC6-058C-D450BF411315}"/>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7DBB44C9-E240-D4BF-9DAE-FB6C72DD3FA0}"/>
              </a:ext>
            </a:extLst>
          </p:cNvPr>
          <p:cNvSpPr>
            <a:spLocks noGrp="1"/>
          </p:cNvSpPr>
          <p:nvPr>
            <p:ph type="sldNum" sz="quarter" idx="10"/>
          </p:nvPr>
        </p:nvSpPr>
        <p:spPr/>
        <p:txBody>
          <a:bodyPr/>
          <a:lstStyle/>
          <a:p>
            <a:fld id="{FCDE97FF-EDB7-4A78-BB35-D88D634F738A}" type="slidenum">
              <a:rPr lang="de-DE" smtClean="0"/>
              <a:t>52</a:t>
            </a:fld>
            <a:endParaRPr lang="de-DE"/>
          </a:p>
        </p:txBody>
      </p:sp>
    </p:spTree>
    <p:extLst>
      <p:ext uri="{BB962C8B-B14F-4D97-AF65-F5344CB8AC3E}">
        <p14:creationId xmlns:p14="http://schemas.microsoft.com/office/powerpoint/2010/main" val="42342650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87E4CB-5B3B-232C-4972-D35D759BB9B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01B6EA8-4C7B-90DF-9A89-7D72E123BB4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D186E92-8B8E-25E9-29AD-ED6739928340}"/>
              </a:ext>
            </a:extLst>
          </p:cNvPr>
          <p:cNvSpPr>
            <a:spLocks noGrp="1"/>
          </p:cNvSpPr>
          <p:nvPr>
            <p:ph type="body" idx="1"/>
          </p:nvPr>
        </p:nvSpPr>
        <p:spPr/>
        <p:txBody>
          <a:bodyPr/>
          <a:lstStyle/>
          <a:p>
            <a:r>
              <a:rPr lang="de-DE" dirty="0"/>
              <a:t>ratierliche Anwartschaft </a:t>
            </a:r>
          </a:p>
        </p:txBody>
      </p:sp>
      <p:sp>
        <p:nvSpPr>
          <p:cNvPr id="4" name="Foliennummernplatzhalter 3">
            <a:extLst>
              <a:ext uri="{FF2B5EF4-FFF2-40B4-BE49-F238E27FC236}">
                <a16:creationId xmlns:a16="http://schemas.microsoft.com/office/drawing/2014/main" id="{39F56A86-0123-F5D8-CBDC-368BACEABFA1}"/>
              </a:ext>
            </a:extLst>
          </p:cNvPr>
          <p:cNvSpPr>
            <a:spLocks noGrp="1"/>
          </p:cNvSpPr>
          <p:nvPr>
            <p:ph type="sldNum" sz="quarter" idx="10"/>
          </p:nvPr>
        </p:nvSpPr>
        <p:spPr/>
        <p:txBody>
          <a:bodyPr/>
          <a:lstStyle/>
          <a:p>
            <a:fld id="{FCDE97FF-EDB7-4A78-BB35-D88D634F738A}" type="slidenum">
              <a:rPr lang="de-DE" smtClean="0"/>
              <a:t>53</a:t>
            </a:fld>
            <a:endParaRPr lang="de-DE"/>
          </a:p>
        </p:txBody>
      </p:sp>
    </p:spTree>
    <p:extLst>
      <p:ext uri="{BB962C8B-B14F-4D97-AF65-F5344CB8AC3E}">
        <p14:creationId xmlns:p14="http://schemas.microsoft.com/office/powerpoint/2010/main" val="18983974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69820-CE92-BDBD-F003-B9B0E0CFFEA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0733D3A-7D15-0D15-3F91-E74BA3EDAF65}"/>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B51A01E-7AB1-11D4-6455-D7CB8C7A9A0A}"/>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2E5D9C68-A2CC-17A7-8739-4D7000E1635C}"/>
              </a:ext>
            </a:extLst>
          </p:cNvPr>
          <p:cNvSpPr>
            <a:spLocks noGrp="1"/>
          </p:cNvSpPr>
          <p:nvPr>
            <p:ph type="sldNum" sz="quarter" idx="10"/>
          </p:nvPr>
        </p:nvSpPr>
        <p:spPr/>
        <p:txBody>
          <a:bodyPr/>
          <a:lstStyle/>
          <a:p>
            <a:fld id="{FCDE97FF-EDB7-4A78-BB35-D88D634F738A}" type="slidenum">
              <a:rPr lang="de-DE" smtClean="0"/>
              <a:t>54</a:t>
            </a:fld>
            <a:endParaRPr lang="de-DE"/>
          </a:p>
        </p:txBody>
      </p:sp>
    </p:spTree>
    <p:extLst>
      <p:ext uri="{BB962C8B-B14F-4D97-AF65-F5344CB8AC3E}">
        <p14:creationId xmlns:p14="http://schemas.microsoft.com/office/powerpoint/2010/main" val="195681590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131424-AE5D-F1D9-DB0F-059001A0FB62}"/>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01A0E78-216A-D1F4-64BC-70B9C0AD38A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8257B0A-26D6-E3B2-33D1-CDDD9C946C59}"/>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DAEB7CD3-8A5B-45A3-5EBB-7EA54808B078}"/>
              </a:ext>
            </a:extLst>
          </p:cNvPr>
          <p:cNvSpPr>
            <a:spLocks noGrp="1"/>
          </p:cNvSpPr>
          <p:nvPr>
            <p:ph type="sldNum" sz="quarter" idx="10"/>
          </p:nvPr>
        </p:nvSpPr>
        <p:spPr/>
        <p:txBody>
          <a:bodyPr/>
          <a:lstStyle/>
          <a:p>
            <a:fld id="{FCDE97FF-EDB7-4A78-BB35-D88D634F738A}" type="slidenum">
              <a:rPr lang="de-DE" smtClean="0"/>
              <a:t>55</a:t>
            </a:fld>
            <a:endParaRPr lang="de-DE"/>
          </a:p>
        </p:txBody>
      </p:sp>
    </p:spTree>
    <p:extLst>
      <p:ext uri="{BB962C8B-B14F-4D97-AF65-F5344CB8AC3E}">
        <p14:creationId xmlns:p14="http://schemas.microsoft.com/office/powerpoint/2010/main" val="52068518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7B4A54-8DD0-811A-1B03-4FE84DF6EBC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FF597B7-2C31-59D2-3A3C-28DCBB23B27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873A92E-D1A5-D15F-7B57-296E84FDE826}"/>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42581632-F712-2E70-7675-68F5F8821CD3}"/>
              </a:ext>
            </a:extLst>
          </p:cNvPr>
          <p:cNvSpPr>
            <a:spLocks noGrp="1"/>
          </p:cNvSpPr>
          <p:nvPr>
            <p:ph type="sldNum" sz="quarter" idx="10"/>
          </p:nvPr>
        </p:nvSpPr>
        <p:spPr/>
        <p:txBody>
          <a:bodyPr/>
          <a:lstStyle/>
          <a:p>
            <a:fld id="{FCDE97FF-EDB7-4A78-BB35-D88D634F738A}" type="slidenum">
              <a:rPr lang="de-DE" smtClean="0"/>
              <a:t>56</a:t>
            </a:fld>
            <a:endParaRPr lang="de-DE"/>
          </a:p>
        </p:txBody>
      </p:sp>
    </p:spTree>
    <p:extLst>
      <p:ext uri="{BB962C8B-B14F-4D97-AF65-F5344CB8AC3E}">
        <p14:creationId xmlns:p14="http://schemas.microsoft.com/office/powerpoint/2010/main" val="359644081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D8BAE1-1AF4-AFDA-F397-E95C183D561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A5617F8-3D69-9D68-9798-9CBC44CA488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4703457-8A8D-0DA9-9CE0-1B69539C227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latin typeface="Segoe UI" panose="020B0502040204020203" pitchFamily="34" charset="0"/>
                <a:cs typeface="Segoe UI" panose="020B0502040204020203" pitchFamily="34" charset="0"/>
                <a:sym typeface="Wingdings" panose="05000000000000000000" pitchFamily="2" charset="2"/>
              </a:rPr>
              <a:t>Der Gesellschafter hat durch den Verzicht auf die Pension seine Beteiligung gestärkt, um so für seine Verkauf der Beteiligung einen höheren Erlös zu erziel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latin typeface="Segoe UI" panose="020B0502040204020203" pitchFamily="34" charset="0"/>
              <a:cs typeface="Segoe UI" panose="020B0502040204020203" pitchFamily="34" charset="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latin typeface="Segoe UI" panose="020B0502040204020203" pitchFamily="34" charset="0"/>
                <a:cs typeface="Segoe UI" panose="020B0502040204020203" pitchFamily="34" charset="0"/>
                <a:sym typeface="Wingdings" panose="05000000000000000000" pitchFamily="2" charset="2"/>
              </a:rPr>
              <a:t>BFH Rechtsprechung: Auszahlung des Einmalbetrages und der Wegfall der Pensionsverpflichtung sind zwei getrennte Vorgänge. Eine wirtschaftliche Neutralisierung beider Vorgänge (Auszahlung und Verzicht) scheidet aus (aufgrund „wechselseitiger gesellschaftlichen Veranlassu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latin typeface="Segoe UI" panose="020B0502040204020203" pitchFamily="34" charset="0"/>
              <a:cs typeface="Segoe UI" panose="020B0502040204020203" pitchFamily="34" charset="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latin typeface="Segoe UI" panose="020B0502040204020203" pitchFamily="34" charset="0"/>
                <a:cs typeface="Segoe UI" panose="020B0502040204020203" pitchFamily="34" charset="0"/>
                <a:sym typeface="Wingdings" panose="05000000000000000000" pitchFamily="2" charset="2"/>
              </a:rPr>
              <a:t>Zwei praktische Empfehlungen dazu im Nachgang </a:t>
            </a:r>
          </a:p>
          <a:p>
            <a:endParaRPr lang="de-DE" dirty="0"/>
          </a:p>
        </p:txBody>
      </p:sp>
      <p:sp>
        <p:nvSpPr>
          <p:cNvPr id="4" name="Foliennummernplatzhalter 3">
            <a:extLst>
              <a:ext uri="{FF2B5EF4-FFF2-40B4-BE49-F238E27FC236}">
                <a16:creationId xmlns:a16="http://schemas.microsoft.com/office/drawing/2014/main" id="{AFD65B07-39D6-0D00-9936-C446657D75F4}"/>
              </a:ext>
            </a:extLst>
          </p:cNvPr>
          <p:cNvSpPr>
            <a:spLocks noGrp="1"/>
          </p:cNvSpPr>
          <p:nvPr>
            <p:ph type="sldNum" sz="quarter" idx="10"/>
          </p:nvPr>
        </p:nvSpPr>
        <p:spPr/>
        <p:txBody>
          <a:bodyPr/>
          <a:lstStyle/>
          <a:p>
            <a:fld id="{FCDE97FF-EDB7-4A78-BB35-D88D634F738A}" type="slidenum">
              <a:rPr lang="de-DE" smtClean="0"/>
              <a:t>57</a:t>
            </a:fld>
            <a:endParaRPr lang="de-DE"/>
          </a:p>
        </p:txBody>
      </p:sp>
    </p:spTree>
    <p:extLst>
      <p:ext uri="{BB962C8B-B14F-4D97-AF65-F5344CB8AC3E}">
        <p14:creationId xmlns:p14="http://schemas.microsoft.com/office/powerpoint/2010/main" val="293523986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B09F8B-2CB0-DFA7-F423-ACA9758BFA9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CA3F122-3DCC-0BCE-23ED-90EF509A842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88D495B-EECE-FC49-1189-ADBE6D15DEEB}"/>
              </a:ext>
            </a:extLst>
          </p:cNvPr>
          <p:cNvSpPr>
            <a:spLocks noGrp="1"/>
          </p:cNvSpPr>
          <p:nvPr>
            <p:ph type="body" idx="1"/>
          </p:nvPr>
        </p:nvSpPr>
        <p:spPr/>
        <p:txBody>
          <a:bodyPr/>
          <a:lstStyle/>
          <a:p>
            <a:r>
              <a:rPr lang="de-DE" dirty="0"/>
              <a:t>Wie lange vorher ist nicht klar definiert. Praxiserfahrung: ein Jahr schwierig, ab zwei / drei Jahren kein Problem </a:t>
            </a:r>
          </a:p>
        </p:txBody>
      </p:sp>
      <p:sp>
        <p:nvSpPr>
          <p:cNvPr id="4" name="Foliennummernplatzhalter 3">
            <a:extLst>
              <a:ext uri="{FF2B5EF4-FFF2-40B4-BE49-F238E27FC236}">
                <a16:creationId xmlns:a16="http://schemas.microsoft.com/office/drawing/2014/main" id="{549A59FD-B192-8140-F7E6-7C2C41A9C32D}"/>
              </a:ext>
            </a:extLst>
          </p:cNvPr>
          <p:cNvSpPr>
            <a:spLocks noGrp="1"/>
          </p:cNvSpPr>
          <p:nvPr>
            <p:ph type="sldNum" sz="quarter" idx="10"/>
          </p:nvPr>
        </p:nvSpPr>
        <p:spPr/>
        <p:txBody>
          <a:bodyPr/>
          <a:lstStyle/>
          <a:p>
            <a:fld id="{FCDE97FF-EDB7-4A78-BB35-D88D634F738A}" type="slidenum">
              <a:rPr lang="de-DE" smtClean="0"/>
              <a:t>58</a:t>
            </a:fld>
            <a:endParaRPr lang="de-DE"/>
          </a:p>
        </p:txBody>
      </p:sp>
    </p:spTree>
    <p:extLst>
      <p:ext uri="{BB962C8B-B14F-4D97-AF65-F5344CB8AC3E}">
        <p14:creationId xmlns:p14="http://schemas.microsoft.com/office/powerpoint/2010/main" val="182162697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F87509-5F3B-FA59-E70E-1E6A7091973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05B8078-20BB-1B06-2BC6-0CBCD795C9E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4ACFE45-D0E0-2785-B879-5539E7E6DA0C}"/>
              </a:ext>
            </a:extLst>
          </p:cNvPr>
          <p:cNvSpPr>
            <a:spLocks noGrp="1"/>
          </p:cNvSpPr>
          <p:nvPr>
            <p:ph type="body" idx="1"/>
          </p:nvPr>
        </p:nvSpPr>
        <p:spPr/>
        <p:txBody>
          <a:bodyPr/>
          <a:lstStyle/>
          <a:p>
            <a:r>
              <a:rPr lang="de-DE" dirty="0"/>
              <a:t>Wesentlicher Nachteil in der </a:t>
            </a:r>
            <a:r>
              <a:rPr lang="de-DE" dirty="0" err="1"/>
              <a:t>vGA</a:t>
            </a:r>
            <a:r>
              <a:rPr lang="de-DE" dirty="0"/>
              <a:t> ist dann, wenn die GmbH-Anteile nicht übertragen werden. </a:t>
            </a:r>
          </a:p>
        </p:txBody>
      </p:sp>
      <p:sp>
        <p:nvSpPr>
          <p:cNvPr id="4" name="Foliennummernplatzhalter 3">
            <a:extLst>
              <a:ext uri="{FF2B5EF4-FFF2-40B4-BE49-F238E27FC236}">
                <a16:creationId xmlns:a16="http://schemas.microsoft.com/office/drawing/2014/main" id="{18777858-CE88-CF43-7332-170AB09CBB9B}"/>
              </a:ext>
            </a:extLst>
          </p:cNvPr>
          <p:cNvSpPr>
            <a:spLocks noGrp="1"/>
          </p:cNvSpPr>
          <p:nvPr>
            <p:ph type="sldNum" sz="quarter" idx="10"/>
          </p:nvPr>
        </p:nvSpPr>
        <p:spPr/>
        <p:txBody>
          <a:bodyPr/>
          <a:lstStyle/>
          <a:p>
            <a:fld id="{FCDE97FF-EDB7-4A78-BB35-D88D634F738A}" type="slidenum">
              <a:rPr lang="de-DE" smtClean="0"/>
              <a:t>59</a:t>
            </a:fld>
            <a:endParaRPr lang="de-DE"/>
          </a:p>
        </p:txBody>
      </p:sp>
    </p:spTree>
    <p:extLst>
      <p:ext uri="{BB962C8B-B14F-4D97-AF65-F5344CB8AC3E}">
        <p14:creationId xmlns:p14="http://schemas.microsoft.com/office/powerpoint/2010/main" val="216608997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FCDE97FF-EDB7-4A78-BB35-D88D634F738A}" type="slidenum">
              <a:rPr lang="de-DE" smtClean="0"/>
              <a:t>60</a:t>
            </a:fld>
            <a:endParaRPr lang="de-DE" dirty="0"/>
          </a:p>
        </p:txBody>
      </p:sp>
    </p:spTree>
    <p:extLst>
      <p:ext uri="{BB962C8B-B14F-4D97-AF65-F5344CB8AC3E}">
        <p14:creationId xmlns:p14="http://schemas.microsoft.com/office/powerpoint/2010/main" val="402465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54C2E-6714-E560-F972-9C3EC6ECC34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03D0155-192F-7991-BC65-E14E1B76404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E8B03AB-4BAB-1E99-4C55-1D3612787D21}"/>
              </a:ext>
            </a:extLst>
          </p:cNvPr>
          <p:cNvSpPr>
            <a:spLocks noGrp="1"/>
          </p:cNvSpPr>
          <p:nvPr>
            <p:ph type="body" idx="1"/>
          </p:nvPr>
        </p:nvSpPr>
        <p:spPr/>
        <p:txBody>
          <a:bodyPr/>
          <a:lstStyle/>
          <a:p>
            <a:r>
              <a:rPr lang="de-DE" dirty="0"/>
              <a:t>Divergierende Interessen </a:t>
            </a:r>
          </a:p>
          <a:p>
            <a:endParaRPr lang="de-DE" dirty="0"/>
          </a:p>
          <a:p>
            <a:r>
              <a:rPr lang="de-DE" dirty="0"/>
              <a:t>Pensionszusage: „damals ein Segen – heute ein Fluch“ </a:t>
            </a:r>
          </a:p>
        </p:txBody>
      </p:sp>
      <p:sp>
        <p:nvSpPr>
          <p:cNvPr id="4" name="Foliennummernplatzhalter 3">
            <a:extLst>
              <a:ext uri="{FF2B5EF4-FFF2-40B4-BE49-F238E27FC236}">
                <a16:creationId xmlns:a16="http://schemas.microsoft.com/office/drawing/2014/main" id="{9192315E-F151-25A8-0E34-CF3F88EE058B}"/>
              </a:ext>
            </a:extLst>
          </p:cNvPr>
          <p:cNvSpPr>
            <a:spLocks noGrp="1"/>
          </p:cNvSpPr>
          <p:nvPr>
            <p:ph type="sldNum" sz="quarter" idx="10"/>
          </p:nvPr>
        </p:nvSpPr>
        <p:spPr/>
        <p:txBody>
          <a:bodyPr/>
          <a:lstStyle/>
          <a:p>
            <a:fld id="{FCDE97FF-EDB7-4A78-BB35-D88D634F738A}" type="slidenum">
              <a:rPr lang="de-DE" smtClean="0"/>
              <a:t>7</a:t>
            </a:fld>
            <a:endParaRPr lang="de-DE"/>
          </a:p>
        </p:txBody>
      </p:sp>
    </p:spTree>
    <p:extLst>
      <p:ext uri="{BB962C8B-B14F-4D97-AF65-F5344CB8AC3E}">
        <p14:creationId xmlns:p14="http://schemas.microsoft.com/office/powerpoint/2010/main" val="1986468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D4776E-E950-1CBE-B646-AE9482A8DE3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1835819-9DC9-160F-31F2-B357E279E10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3647CC30-39A5-E253-2692-69E7682664A1}"/>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96A50B8A-E96B-3FAE-6EC9-F61E06AD64FE}"/>
              </a:ext>
            </a:extLst>
          </p:cNvPr>
          <p:cNvSpPr>
            <a:spLocks noGrp="1"/>
          </p:cNvSpPr>
          <p:nvPr>
            <p:ph type="sldNum" sz="quarter" idx="10"/>
          </p:nvPr>
        </p:nvSpPr>
        <p:spPr/>
        <p:txBody>
          <a:bodyPr/>
          <a:lstStyle/>
          <a:p>
            <a:fld id="{FCDE97FF-EDB7-4A78-BB35-D88D634F738A}" type="slidenum">
              <a:rPr lang="de-DE" smtClean="0"/>
              <a:t>8</a:t>
            </a:fld>
            <a:endParaRPr lang="de-DE"/>
          </a:p>
        </p:txBody>
      </p:sp>
    </p:spTree>
    <p:extLst>
      <p:ext uri="{BB962C8B-B14F-4D97-AF65-F5344CB8AC3E}">
        <p14:creationId xmlns:p14="http://schemas.microsoft.com/office/powerpoint/2010/main" val="13559131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0" i="0" dirty="0">
                <a:solidFill>
                  <a:srgbClr val="000000"/>
                </a:solidFill>
                <a:effectLst/>
                <a:latin typeface="Roboto" panose="02000000000000000000" pitchFamily="2" charset="0"/>
              </a:rPr>
              <a:t>Der langfristige Trend der steigenden Lebenserwartung in Deutschland kann rückblickend seit der Veröffentlichung der ersten allgemeinen Sterbetafel von 1871/1881 für das damalige Reichsgebiet beobachtet werden. Damals betrug die durchschnittliche Lebenserwartung bei Geburt für Männer 35,6 Jahre und für Frauen 38,5 Jahre.</a:t>
            </a:r>
          </a:p>
          <a:p>
            <a:endParaRPr lang="de-DE" b="0" i="0" dirty="0">
              <a:solidFill>
                <a:srgbClr val="000000"/>
              </a:solidFill>
              <a:effectLst/>
              <a:latin typeface="Roboto" panose="02000000000000000000" pitchFamily="2" charset="0"/>
            </a:endParaRPr>
          </a:p>
          <a:p>
            <a:r>
              <a:rPr lang="de-DE" b="0" i="0" dirty="0">
                <a:solidFill>
                  <a:srgbClr val="000000"/>
                </a:solidFill>
                <a:effectLst/>
                <a:latin typeface="Roboto" panose="02000000000000000000" pitchFamily="2" charset="0"/>
              </a:rPr>
              <a:t>In 150 Jahren hat sich die Lebenserwartung mehr als verdoppelt. </a:t>
            </a:r>
            <a:endParaRPr lang="de-DE" dirty="0"/>
          </a:p>
        </p:txBody>
      </p:sp>
      <p:sp>
        <p:nvSpPr>
          <p:cNvPr id="4" name="Foliennummernplatzhalter 3"/>
          <p:cNvSpPr>
            <a:spLocks noGrp="1"/>
          </p:cNvSpPr>
          <p:nvPr>
            <p:ph type="sldNum" sz="quarter" idx="10"/>
          </p:nvPr>
        </p:nvSpPr>
        <p:spPr/>
        <p:txBody>
          <a:bodyPr/>
          <a:lstStyle/>
          <a:p>
            <a:fld id="{FCDE97FF-EDB7-4A78-BB35-D88D634F738A}" type="slidenum">
              <a:rPr lang="de-DE" smtClean="0"/>
              <a:t>9</a:t>
            </a:fld>
            <a:endParaRPr lang="de-DE"/>
          </a:p>
        </p:txBody>
      </p:sp>
    </p:spTree>
    <p:extLst>
      <p:ext uri="{BB962C8B-B14F-4D97-AF65-F5344CB8AC3E}">
        <p14:creationId xmlns:p14="http://schemas.microsoft.com/office/powerpoint/2010/main" val="16199227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B17509-E0F9-9D1F-1A17-BF6B28309DD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E9ACD08-E68F-E2FF-EB5C-F7F09D84D4C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38226EF-8176-3B8F-0843-351BAE2893B8}"/>
              </a:ext>
            </a:extLst>
          </p:cNvPr>
          <p:cNvSpPr>
            <a:spLocks noGrp="1"/>
          </p:cNvSpPr>
          <p:nvPr>
            <p:ph type="body" idx="1"/>
          </p:nvPr>
        </p:nvSpPr>
        <p:spPr/>
        <p:txBody>
          <a:bodyPr/>
          <a:lstStyle/>
          <a:p>
            <a:r>
              <a:rPr lang="de-DE" dirty="0"/>
              <a:t>Divergierende Interessen </a:t>
            </a:r>
          </a:p>
          <a:p>
            <a:endParaRPr lang="de-DE" dirty="0"/>
          </a:p>
          <a:p>
            <a:r>
              <a:rPr lang="de-DE" dirty="0"/>
              <a:t>Pensionszusage: „damals ein Segen – heute ein Fluch“ </a:t>
            </a:r>
          </a:p>
        </p:txBody>
      </p:sp>
      <p:sp>
        <p:nvSpPr>
          <p:cNvPr id="4" name="Foliennummernplatzhalter 3">
            <a:extLst>
              <a:ext uri="{FF2B5EF4-FFF2-40B4-BE49-F238E27FC236}">
                <a16:creationId xmlns:a16="http://schemas.microsoft.com/office/drawing/2014/main" id="{BFB1D78F-E6C5-43B5-322E-E71CE0984496}"/>
              </a:ext>
            </a:extLst>
          </p:cNvPr>
          <p:cNvSpPr>
            <a:spLocks noGrp="1"/>
          </p:cNvSpPr>
          <p:nvPr>
            <p:ph type="sldNum" sz="quarter" idx="10"/>
          </p:nvPr>
        </p:nvSpPr>
        <p:spPr/>
        <p:txBody>
          <a:bodyPr/>
          <a:lstStyle/>
          <a:p>
            <a:fld id="{FCDE97FF-EDB7-4A78-BB35-D88D634F738A}" type="slidenum">
              <a:rPr lang="de-DE" smtClean="0"/>
              <a:t>10</a:t>
            </a:fld>
            <a:endParaRPr lang="de-DE"/>
          </a:p>
        </p:txBody>
      </p:sp>
    </p:spTree>
    <p:extLst>
      <p:ext uri="{BB962C8B-B14F-4D97-AF65-F5344CB8AC3E}">
        <p14:creationId xmlns:p14="http://schemas.microsoft.com/office/powerpoint/2010/main" val="12231600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7">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2318028" y="2263691"/>
            <a:ext cx="7354609" cy="1961961"/>
          </a:xfrm>
          <a:prstGeom prst="rect">
            <a:avLst/>
          </a:prstGeom>
        </p:spPr>
        <p:txBody>
          <a:bodyPr/>
          <a:lstStyle/>
          <a:p>
            <a:endParaRPr lang="en-US"/>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02436" y="346363"/>
            <a:ext cx="1764877" cy="548987"/>
          </a:xfrm>
          <a:prstGeom prst="rect">
            <a:avLst/>
          </a:prstGeom>
        </p:spPr>
      </p:pic>
    </p:spTree>
    <p:extLst>
      <p:ext uri="{BB962C8B-B14F-4D97-AF65-F5344CB8AC3E}">
        <p14:creationId xmlns:p14="http://schemas.microsoft.com/office/powerpoint/2010/main" val="8119019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2" name="Grafik 1" descr="Ein Bild, das Rechteck, Screenshot, Reihe, Design enthält.&#10;&#10;KI-generierte Inhalte können fehlerhaft sein.">
            <a:extLst>
              <a:ext uri="{FF2B5EF4-FFF2-40B4-BE49-F238E27FC236}">
                <a16:creationId xmlns:a16="http://schemas.microsoft.com/office/drawing/2014/main" id="{6505D799-CE2D-67CD-F4B9-2EBDE300E9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12"/>
            <a:ext cx="12192000" cy="6830677"/>
          </a:xfrm>
          <a:prstGeom prst="rect">
            <a:avLst/>
          </a:prstGeom>
        </p:spPr>
      </p:pic>
      <p:sp>
        <p:nvSpPr>
          <p:cNvPr id="10" name="Picture Placeholder 7"/>
          <p:cNvSpPr>
            <a:spLocks noGrp="1"/>
          </p:cNvSpPr>
          <p:nvPr>
            <p:ph type="pic" sz="quarter" idx="13"/>
          </p:nvPr>
        </p:nvSpPr>
        <p:spPr>
          <a:xfrm>
            <a:off x="0" y="3672114"/>
            <a:ext cx="2438400" cy="2438400"/>
          </a:xfrm>
          <a:prstGeom prst="rect">
            <a:avLst/>
          </a:prstGeom>
        </p:spPr>
      </p:sp>
      <p:sp>
        <p:nvSpPr>
          <p:cNvPr id="11" name="Picture Placeholder 7"/>
          <p:cNvSpPr>
            <a:spLocks noGrp="1"/>
          </p:cNvSpPr>
          <p:nvPr>
            <p:ph type="pic" sz="quarter" idx="14"/>
          </p:nvPr>
        </p:nvSpPr>
        <p:spPr>
          <a:xfrm>
            <a:off x="2438400" y="3672114"/>
            <a:ext cx="2438400" cy="2438400"/>
          </a:xfrm>
          <a:prstGeom prst="rect">
            <a:avLst/>
          </a:prstGeom>
        </p:spPr>
      </p:sp>
      <p:sp>
        <p:nvSpPr>
          <p:cNvPr id="12" name="Picture Placeholder 7"/>
          <p:cNvSpPr>
            <a:spLocks noGrp="1"/>
          </p:cNvSpPr>
          <p:nvPr>
            <p:ph type="pic" sz="quarter" idx="15"/>
          </p:nvPr>
        </p:nvSpPr>
        <p:spPr>
          <a:xfrm>
            <a:off x="4876800" y="3672114"/>
            <a:ext cx="2438400" cy="2438400"/>
          </a:xfrm>
          <a:prstGeom prst="rect">
            <a:avLst/>
          </a:prstGeom>
        </p:spPr>
      </p:sp>
      <p:sp>
        <p:nvSpPr>
          <p:cNvPr id="13" name="Picture Placeholder 7"/>
          <p:cNvSpPr>
            <a:spLocks noGrp="1"/>
          </p:cNvSpPr>
          <p:nvPr>
            <p:ph type="pic" sz="quarter" idx="16"/>
          </p:nvPr>
        </p:nvSpPr>
        <p:spPr>
          <a:xfrm>
            <a:off x="7315200" y="3672114"/>
            <a:ext cx="2438400" cy="2438400"/>
          </a:xfrm>
          <a:prstGeom prst="rect">
            <a:avLst/>
          </a:prstGeom>
        </p:spPr>
      </p:sp>
      <p:sp>
        <p:nvSpPr>
          <p:cNvPr id="14" name="Picture Placeholder 7"/>
          <p:cNvSpPr>
            <a:spLocks noGrp="1"/>
          </p:cNvSpPr>
          <p:nvPr>
            <p:ph type="pic" sz="quarter" idx="17"/>
          </p:nvPr>
        </p:nvSpPr>
        <p:spPr>
          <a:xfrm>
            <a:off x="9753600" y="3672114"/>
            <a:ext cx="2438400" cy="2438400"/>
          </a:xfrm>
          <a:prstGeom prst="rect">
            <a:avLst/>
          </a:prstGeom>
        </p:spPr>
      </p:sp>
      <p:pic>
        <p:nvPicPr>
          <p:cNvPr id="9" name="Grafik 8"/>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14335046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2" name="Grafik 1" descr="Ein Bild, das Rechteck, Screenshot, Reihe, Design enthält.&#10;&#10;KI-generierte Inhalte können fehlerhaft sein.">
            <a:extLst>
              <a:ext uri="{FF2B5EF4-FFF2-40B4-BE49-F238E27FC236}">
                <a16:creationId xmlns:a16="http://schemas.microsoft.com/office/drawing/2014/main" id="{44466230-8AFA-0EDA-4290-EB948F9BBC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12"/>
            <a:ext cx="12192000" cy="6830677"/>
          </a:xfrm>
          <a:prstGeom prst="rect">
            <a:avLst/>
          </a:prstGeom>
        </p:spPr>
      </p:pic>
      <p:sp>
        <p:nvSpPr>
          <p:cNvPr id="6" name="Picture Placeholder 7"/>
          <p:cNvSpPr>
            <a:spLocks noGrp="1"/>
          </p:cNvSpPr>
          <p:nvPr>
            <p:ph type="pic" sz="quarter" idx="13"/>
          </p:nvPr>
        </p:nvSpPr>
        <p:spPr>
          <a:xfrm>
            <a:off x="1291769" y="2298744"/>
            <a:ext cx="3004457" cy="2882855"/>
          </a:xfrm>
          <a:prstGeom prst="rect">
            <a:avLst/>
          </a:prstGeom>
        </p:spPr>
      </p:sp>
      <p:sp>
        <p:nvSpPr>
          <p:cNvPr id="7" name="Picture Placeholder 7"/>
          <p:cNvSpPr>
            <a:spLocks noGrp="1"/>
          </p:cNvSpPr>
          <p:nvPr>
            <p:ph type="pic" sz="quarter" idx="14"/>
          </p:nvPr>
        </p:nvSpPr>
        <p:spPr>
          <a:xfrm>
            <a:off x="4625067" y="2298744"/>
            <a:ext cx="3004457" cy="2882855"/>
          </a:xfrm>
          <a:prstGeom prst="rect">
            <a:avLst/>
          </a:prstGeom>
        </p:spPr>
      </p:sp>
      <p:sp>
        <p:nvSpPr>
          <p:cNvPr id="8" name="Picture Placeholder 7"/>
          <p:cNvSpPr>
            <a:spLocks noGrp="1"/>
          </p:cNvSpPr>
          <p:nvPr>
            <p:ph type="pic" sz="quarter" idx="15"/>
          </p:nvPr>
        </p:nvSpPr>
        <p:spPr>
          <a:xfrm>
            <a:off x="7958363" y="2298744"/>
            <a:ext cx="3004457" cy="2882855"/>
          </a:xfrm>
          <a:prstGeom prst="rect">
            <a:avLst/>
          </a:prstGeom>
        </p:spPr>
      </p:sp>
      <p:pic>
        <p:nvPicPr>
          <p:cNvPr id="10" name="Grafik 9"/>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20923623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2" name="Grafik 1" descr="Ein Bild, das Rechteck, Screenshot, Reihe, Design enthält.&#10;&#10;KI-generierte Inhalte können fehlerhaft sein.">
            <a:extLst>
              <a:ext uri="{FF2B5EF4-FFF2-40B4-BE49-F238E27FC236}">
                <a16:creationId xmlns:a16="http://schemas.microsoft.com/office/drawing/2014/main" id="{63CF132E-4677-8594-584E-E876FF37629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12"/>
            <a:ext cx="12192000" cy="6830677"/>
          </a:xfrm>
          <a:prstGeom prst="rect">
            <a:avLst/>
          </a:prstGeom>
        </p:spPr>
      </p:pic>
      <p:sp>
        <p:nvSpPr>
          <p:cNvPr id="3" name="Picture Placeholder 1"/>
          <p:cNvSpPr>
            <a:spLocks noGrp="1"/>
          </p:cNvSpPr>
          <p:nvPr>
            <p:ph type="pic" sz="quarter" idx="10"/>
          </p:nvPr>
        </p:nvSpPr>
        <p:spPr bwMode="auto">
          <a:xfrm>
            <a:off x="1323837" y="2335667"/>
            <a:ext cx="2425122" cy="3589234"/>
          </a:xfrm>
          <a:prstGeom prst="rect">
            <a:avLst/>
          </a:prstGeom>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sp>
        <p:nvSpPr>
          <p:cNvPr id="6" name="Picture Placeholder 2"/>
          <p:cNvSpPr>
            <a:spLocks noGrp="1"/>
          </p:cNvSpPr>
          <p:nvPr>
            <p:ph type="pic" sz="quarter" idx="12"/>
          </p:nvPr>
        </p:nvSpPr>
        <p:spPr bwMode="auto">
          <a:xfrm>
            <a:off x="3947974" y="4225636"/>
            <a:ext cx="2425122" cy="1699265"/>
          </a:xfrm>
          <a:prstGeom prst="rect">
            <a:avLst/>
          </a:prstGeom>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sp>
        <p:nvSpPr>
          <p:cNvPr id="7" name="Picture Placeholder 2"/>
          <p:cNvSpPr>
            <a:spLocks noGrp="1"/>
          </p:cNvSpPr>
          <p:nvPr>
            <p:ph type="pic" sz="quarter" idx="13"/>
          </p:nvPr>
        </p:nvSpPr>
        <p:spPr bwMode="auto">
          <a:xfrm>
            <a:off x="3947974" y="2335667"/>
            <a:ext cx="2425122" cy="1699265"/>
          </a:xfrm>
          <a:prstGeom prst="rect">
            <a:avLst/>
          </a:prstGeom>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pic>
        <p:nvPicPr>
          <p:cNvPr id="9" name="Grafik 8"/>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7147550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2" name="Grafik 1" descr="Ein Bild, das Rechteck, Screenshot, Reihe, Design enthält.&#10;&#10;KI-generierte Inhalte können fehlerhaft sein.">
            <a:extLst>
              <a:ext uri="{FF2B5EF4-FFF2-40B4-BE49-F238E27FC236}">
                <a16:creationId xmlns:a16="http://schemas.microsoft.com/office/drawing/2014/main" id="{6190E5F5-064E-B434-1C90-8817A1BDA76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12"/>
            <a:ext cx="12192000" cy="6830677"/>
          </a:xfrm>
          <a:prstGeom prst="rect">
            <a:avLst/>
          </a:prstGeom>
        </p:spPr>
      </p:pic>
      <p:sp>
        <p:nvSpPr>
          <p:cNvPr id="6" name="Picture Placeholder 1"/>
          <p:cNvSpPr>
            <a:spLocks noGrp="1"/>
          </p:cNvSpPr>
          <p:nvPr>
            <p:ph type="pic" sz="quarter" idx="10"/>
          </p:nvPr>
        </p:nvSpPr>
        <p:spPr bwMode="auto">
          <a:xfrm>
            <a:off x="8569184" y="2335667"/>
            <a:ext cx="2425122" cy="3589234"/>
          </a:xfrm>
          <a:prstGeom prst="rect">
            <a:avLst/>
          </a:prstGeom>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sp>
        <p:nvSpPr>
          <p:cNvPr id="7" name="Picture Placeholder 2"/>
          <p:cNvSpPr>
            <a:spLocks noGrp="1"/>
          </p:cNvSpPr>
          <p:nvPr>
            <p:ph type="pic" sz="quarter" idx="12"/>
          </p:nvPr>
        </p:nvSpPr>
        <p:spPr bwMode="auto">
          <a:xfrm>
            <a:off x="5941733" y="4225636"/>
            <a:ext cx="2425122" cy="1699265"/>
          </a:xfrm>
          <a:prstGeom prst="rect">
            <a:avLst/>
          </a:prstGeom>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sp>
        <p:nvSpPr>
          <p:cNvPr id="8" name="Picture Placeholder 2"/>
          <p:cNvSpPr>
            <a:spLocks noGrp="1"/>
          </p:cNvSpPr>
          <p:nvPr>
            <p:ph type="pic" sz="quarter" idx="13"/>
          </p:nvPr>
        </p:nvSpPr>
        <p:spPr bwMode="auto">
          <a:xfrm>
            <a:off x="5941733" y="2335667"/>
            <a:ext cx="2425122" cy="1699265"/>
          </a:xfrm>
          <a:prstGeom prst="rect">
            <a:avLst/>
          </a:prstGeom>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pic>
        <p:nvPicPr>
          <p:cNvPr id="10" name="Grafik 9"/>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7900861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2" name="Grafik 1" descr="Ein Bild, das Rechteck, Screenshot, Reihe, Design enthält.&#10;&#10;KI-generierte Inhalte können fehlerhaft sein.">
            <a:extLst>
              <a:ext uri="{FF2B5EF4-FFF2-40B4-BE49-F238E27FC236}">
                <a16:creationId xmlns:a16="http://schemas.microsoft.com/office/drawing/2014/main" id="{54A21521-4FF4-9928-806C-3B7CD7B49F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12"/>
            <a:ext cx="12192000" cy="6830677"/>
          </a:xfrm>
          <a:prstGeom prst="rect">
            <a:avLst/>
          </a:prstGeom>
        </p:spPr>
      </p:pic>
      <p:sp>
        <p:nvSpPr>
          <p:cNvPr id="9" name="Picture Placeholder 1"/>
          <p:cNvSpPr>
            <a:spLocks noGrp="1"/>
          </p:cNvSpPr>
          <p:nvPr>
            <p:ph type="pic" sz="quarter" idx="12"/>
          </p:nvPr>
        </p:nvSpPr>
        <p:spPr bwMode="auto">
          <a:xfrm>
            <a:off x="6095999" y="2243327"/>
            <a:ext cx="2425122" cy="3589234"/>
          </a:xfrm>
          <a:prstGeom prst="rect">
            <a:avLst/>
          </a:prstGeom>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sp>
        <p:nvSpPr>
          <p:cNvPr id="7" name="Picture Placeholder 1"/>
          <p:cNvSpPr>
            <a:spLocks noGrp="1"/>
          </p:cNvSpPr>
          <p:nvPr>
            <p:ph type="pic" sz="quarter" idx="10"/>
          </p:nvPr>
        </p:nvSpPr>
        <p:spPr bwMode="auto">
          <a:xfrm>
            <a:off x="972347" y="2243327"/>
            <a:ext cx="2425122" cy="3589234"/>
          </a:xfrm>
          <a:prstGeom prst="rect">
            <a:avLst/>
          </a:prstGeom>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sp>
        <p:nvSpPr>
          <p:cNvPr id="8" name="Picture Placeholder 1"/>
          <p:cNvSpPr>
            <a:spLocks noGrp="1"/>
          </p:cNvSpPr>
          <p:nvPr>
            <p:ph type="pic" sz="quarter" idx="11"/>
          </p:nvPr>
        </p:nvSpPr>
        <p:spPr bwMode="auto">
          <a:xfrm>
            <a:off x="3534173" y="2243327"/>
            <a:ext cx="2425122" cy="3589234"/>
          </a:xfrm>
          <a:prstGeom prst="rect">
            <a:avLst/>
          </a:prstGeom>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sp>
        <p:nvSpPr>
          <p:cNvPr id="10" name="Picture Placeholder 1"/>
          <p:cNvSpPr>
            <a:spLocks noGrp="1"/>
          </p:cNvSpPr>
          <p:nvPr>
            <p:ph type="pic" sz="quarter" idx="13"/>
          </p:nvPr>
        </p:nvSpPr>
        <p:spPr bwMode="auto">
          <a:xfrm>
            <a:off x="8657825" y="2243327"/>
            <a:ext cx="2425122" cy="3589234"/>
          </a:xfrm>
          <a:prstGeom prst="rect">
            <a:avLst/>
          </a:prstGeom>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pic>
        <p:nvPicPr>
          <p:cNvPr id="12" name="Grafik 11"/>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1260276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pic>
        <p:nvPicPr>
          <p:cNvPr id="2" name="Grafik 1" descr="Ein Bild, das Rechteck, Screenshot, Reihe, Design enthält.&#10;&#10;KI-generierte Inhalte können fehlerhaft sein.">
            <a:extLst>
              <a:ext uri="{FF2B5EF4-FFF2-40B4-BE49-F238E27FC236}">
                <a16:creationId xmlns:a16="http://schemas.microsoft.com/office/drawing/2014/main" id="{C38293BC-BE13-157D-D2C4-62388ECF6F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12"/>
            <a:ext cx="12192000" cy="6830677"/>
          </a:xfrm>
          <a:prstGeom prst="rect">
            <a:avLst/>
          </a:prstGeom>
        </p:spPr>
      </p:pic>
    </p:spTree>
    <p:extLst>
      <p:ext uri="{BB962C8B-B14F-4D97-AF65-F5344CB8AC3E}">
        <p14:creationId xmlns:p14="http://schemas.microsoft.com/office/powerpoint/2010/main" val="14915167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Picture Placeholder 1"/>
          <p:cNvSpPr>
            <a:spLocks noGrp="1"/>
          </p:cNvSpPr>
          <p:nvPr>
            <p:ph type="pic" sz="quarter" idx="10"/>
          </p:nvPr>
        </p:nvSpPr>
        <p:spPr bwMode="auto">
          <a:xfrm>
            <a:off x="554182" y="595116"/>
            <a:ext cx="11083636" cy="5667768"/>
          </a:xfrm>
          <a:prstGeom prst="rect">
            <a:avLst/>
          </a:prstGeom>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pic>
        <p:nvPicPr>
          <p:cNvPr id="2" name="Grafik 1" descr="Ein Bild, das Rechteck, Screenshot, Reihe, Design enthält.&#10;&#10;KI-generierte Inhalte können fehlerhaft sein.">
            <a:extLst>
              <a:ext uri="{FF2B5EF4-FFF2-40B4-BE49-F238E27FC236}">
                <a16:creationId xmlns:a16="http://schemas.microsoft.com/office/drawing/2014/main" id="{D36AE420-8348-3EFA-8D16-C8F82D2B844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12"/>
            <a:ext cx="12192000" cy="6830677"/>
          </a:xfrm>
          <a:prstGeom prst="rect">
            <a:avLst/>
          </a:prstGeom>
        </p:spPr>
      </p:pic>
    </p:spTree>
    <p:extLst>
      <p:ext uri="{BB962C8B-B14F-4D97-AF65-F5344CB8AC3E}">
        <p14:creationId xmlns:p14="http://schemas.microsoft.com/office/powerpoint/2010/main" val="911049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pic>
        <p:nvPicPr>
          <p:cNvPr id="2" name="Grafik 1" descr="Ein Bild, das Rechteck, Screenshot, Reihe, Design enthält.&#10;&#10;KI-generierte Inhalte können fehlerhaft sein.">
            <a:extLst>
              <a:ext uri="{FF2B5EF4-FFF2-40B4-BE49-F238E27FC236}">
                <a16:creationId xmlns:a16="http://schemas.microsoft.com/office/drawing/2014/main" id="{1D61FCD0-A126-8D2B-D2CB-5185426F12C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12"/>
            <a:ext cx="12192000" cy="6830677"/>
          </a:xfrm>
          <a:prstGeom prst="rect">
            <a:avLst/>
          </a:prstGeom>
        </p:spPr>
      </p:pic>
      <p:sp>
        <p:nvSpPr>
          <p:cNvPr id="3" name="Picture Placeholder 2"/>
          <p:cNvSpPr>
            <a:spLocks noGrp="1"/>
          </p:cNvSpPr>
          <p:nvPr>
            <p:ph type="pic" sz="quarter" idx="52"/>
          </p:nvPr>
        </p:nvSpPr>
        <p:spPr>
          <a:xfrm>
            <a:off x="3305694" y="2355619"/>
            <a:ext cx="2133600" cy="2133600"/>
          </a:xfrm>
          <a:prstGeom prst="ellipse">
            <a:avLst/>
          </a:prstGeom>
        </p:spPr>
      </p:sp>
      <p:sp>
        <p:nvSpPr>
          <p:cNvPr id="4" name="Picture Placeholder 3"/>
          <p:cNvSpPr>
            <a:spLocks noGrp="1"/>
          </p:cNvSpPr>
          <p:nvPr>
            <p:ph type="pic" sz="quarter" idx="51"/>
          </p:nvPr>
        </p:nvSpPr>
        <p:spPr>
          <a:xfrm>
            <a:off x="6963294" y="2355619"/>
            <a:ext cx="2133600" cy="2133600"/>
          </a:xfrm>
          <a:prstGeom prst="ellipse">
            <a:avLst/>
          </a:prstGeom>
        </p:spPr>
      </p:sp>
      <p:pic>
        <p:nvPicPr>
          <p:cNvPr id="7" name="Grafik 6"/>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17906949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3" name="Picture Placeholder 2"/>
          <p:cNvSpPr>
            <a:spLocks noGrp="1"/>
          </p:cNvSpPr>
          <p:nvPr>
            <p:ph type="pic" sz="quarter" idx="52"/>
          </p:nvPr>
        </p:nvSpPr>
        <p:spPr>
          <a:xfrm>
            <a:off x="1424247" y="2053590"/>
            <a:ext cx="1939636" cy="1939636"/>
          </a:xfrm>
          <a:prstGeom prst="ellipse">
            <a:avLst/>
          </a:prstGeom>
        </p:spPr>
      </p:sp>
      <p:pic>
        <p:nvPicPr>
          <p:cNvPr id="6" name="Grafik 5"/>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4187503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3" name="Picture Placeholder 1"/>
          <p:cNvSpPr>
            <a:spLocks noGrp="1"/>
          </p:cNvSpPr>
          <p:nvPr>
            <p:ph type="pic" sz="quarter" idx="10"/>
          </p:nvPr>
        </p:nvSpPr>
        <p:spPr bwMode="auto">
          <a:xfrm>
            <a:off x="0" y="0"/>
            <a:ext cx="6082145" cy="6858000"/>
          </a:xfrm>
          <a:prstGeom prst="rect">
            <a:avLst/>
          </a:prstGeom>
          <a:noFill/>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sp>
    </p:spTree>
    <p:extLst>
      <p:ext uri="{BB962C8B-B14F-4D97-AF65-F5344CB8AC3E}">
        <p14:creationId xmlns:p14="http://schemas.microsoft.com/office/powerpoint/2010/main" val="1469269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Slide 9">
    <p:spTree>
      <p:nvGrpSpPr>
        <p:cNvPr id="1" name=""/>
        <p:cNvGrpSpPr/>
        <p:nvPr/>
      </p:nvGrpSpPr>
      <p:grpSpPr>
        <a:xfrm>
          <a:off x="0" y="0"/>
          <a:ext cx="0" cy="0"/>
          <a:chOff x="0" y="0"/>
          <a:chExt cx="0" cy="0"/>
        </a:xfrm>
      </p:grpSpPr>
      <p:pic>
        <p:nvPicPr>
          <p:cNvPr id="2" name="Grafik 1" descr="Ein Bild, das Rechteck, Screenshot, Reihe, Design enthält.&#10;&#10;KI-generierte Inhalte können fehlerhaft sein.">
            <a:extLst>
              <a:ext uri="{FF2B5EF4-FFF2-40B4-BE49-F238E27FC236}">
                <a16:creationId xmlns:a16="http://schemas.microsoft.com/office/drawing/2014/main" id="{719B997D-6B4E-E532-12B6-A59535F70AA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12"/>
            <a:ext cx="12192000" cy="6830677"/>
          </a:xfrm>
          <a:prstGeom prst="rect">
            <a:avLst/>
          </a:prstGeom>
        </p:spPr>
      </p:pic>
      <p:pic>
        <p:nvPicPr>
          <p:cNvPr id="5" name="Grafik 4"/>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2572095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3" name="Picture Placeholder 1"/>
          <p:cNvSpPr>
            <a:spLocks noGrp="1"/>
          </p:cNvSpPr>
          <p:nvPr>
            <p:ph type="pic" sz="quarter" idx="10"/>
          </p:nvPr>
        </p:nvSpPr>
        <p:spPr bwMode="auto">
          <a:xfrm>
            <a:off x="0" y="0"/>
            <a:ext cx="12192000" cy="6858000"/>
          </a:xfrm>
          <a:prstGeom prst="rect">
            <a:avLst/>
          </a:prstGeom>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pic>
        <p:nvPicPr>
          <p:cNvPr id="6" name="Grafik 5"/>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10885502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6" name="Picture Placeholder 1"/>
          <p:cNvSpPr>
            <a:spLocks noGrp="1"/>
          </p:cNvSpPr>
          <p:nvPr>
            <p:ph type="pic" sz="quarter" idx="10"/>
          </p:nvPr>
        </p:nvSpPr>
        <p:spPr bwMode="auto">
          <a:xfrm>
            <a:off x="5890989" y="2292914"/>
            <a:ext cx="4697188" cy="1567933"/>
          </a:xfrm>
          <a:prstGeom prst="rect">
            <a:avLst/>
          </a:prstGeom>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sp>
        <p:nvSpPr>
          <p:cNvPr id="7" name="Picture Placeholder 1"/>
          <p:cNvSpPr>
            <a:spLocks noGrp="1"/>
          </p:cNvSpPr>
          <p:nvPr>
            <p:ph type="pic" sz="quarter" idx="11"/>
          </p:nvPr>
        </p:nvSpPr>
        <p:spPr bwMode="auto">
          <a:xfrm>
            <a:off x="5890989" y="3989709"/>
            <a:ext cx="2282167" cy="1567933"/>
          </a:xfrm>
          <a:prstGeom prst="rect">
            <a:avLst/>
          </a:prstGeom>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sp>
        <p:nvSpPr>
          <p:cNvPr id="10" name="Picture Placeholder 1"/>
          <p:cNvSpPr>
            <a:spLocks noGrp="1"/>
          </p:cNvSpPr>
          <p:nvPr>
            <p:ph type="pic" sz="quarter" idx="12"/>
          </p:nvPr>
        </p:nvSpPr>
        <p:spPr bwMode="auto">
          <a:xfrm>
            <a:off x="8306010" y="3989709"/>
            <a:ext cx="2282167" cy="1567933"/>
          </a:xfrm>
          <a:prstGeom prst="rect">
            <a:avLst/>
          </a:prstGeom>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pic>
        <p:nvPicPr>
          <p:cNvPr id="9" name="Grafik 8"/>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1158208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2AE08C52-A738-7A41-8C3B-D3E0D8860CCE}"/>
              </a:ext>
            </a:extLst>
          </p:cNvPr>
          <p:cNvSpPr>
            <a:spLocks noGrp="1"/>
          </p:cNvSpPr>
          <p:nvPr>
            <p:ph type="pic" sz="quarter" idx="10"/>
          </p:nvPr>
        </p:nvSpPr>
        <p:spPr>
          <a:xfrm>
            <a:off x="1817919" y="2354428"/>
            <a:ext cx="2095200" cy="1508400"/>
          </a:xfrm>
          <a:prstGeom prst="rect">
            <a:avLst/>
          </a:prstGeom>
        </p:spPr>
        <p:txBody>
          <a:bodyPr/>
          <a:lstStyle/>
          <a:p>
            <a:endParaRPr lang="en-US"/>
          </a:p>
        </p:txBody>
      </p:sp>
      <p:sp>
        <p:nvSpPr>
          <p:cNvPr id="7" name="Picture Placeholder 10">
            <a:extLst>
              <a:ext uri="{FF2B5EF4-FFF2-40B4-BE49-F238E27FC236}">
                <a16:creationId xmlns:a16="http://schemas.microsoft.com/office/drawing/2014/main" id="{CB1DC710-AEB4-B642-9FCE-A36E29C9F7CF}"/>
              </a:ext>
            </a:extLst>
          </p:cNvPr>
          <p:cNvSpPr>
            <a:spLocks noGrp="1"/>
          </p:cNvSpPr>
          <p:nvPr>
            <p:ph type="pic" sz="quarter" idx="11"/>
          </p:nvPr>
        </p:nvSpPr>
        <p:spPr>
          <a:xfrm>
            <a:off x="4019691" y="2354428"/>
            <a:ext cx="2095200" cy="1508400"/>
          </a:xfrm>
          <a:prstGeom prst="rect">
            <a:avLst/>
          </a:prstGeom>
        </p:spPr>
        <p:txBody>
          <a:bodyPr/>
          <a:lstStyle/>
          <a:p>
            <a:endParaRPr lang="en-US"/>
          </a:p>
        </p:txBody>
      </p:sp>
      <p:sp>
        <p:nvSpPr>
          <p:cNvPr id="13" name="Picture Placeholder 10">
            <a:extLst>
              <a:ext uri="{FF2B5EF4-FFF2-40B4-BE49-F238E27FC236}">
                <a16:creationId xmlns:a16="http://schemas.microsoft.com/office/drawing/2014/main" id="{22606536-5D04-944F-8D97-52004ACD16A1}"/>
              </a:ext>
            </a:extLst>
          </p:cNvPr>
          <p:cNvSpPr>
            <a:spLocks noGrp="1"/>
          </p:cNvSpPr>
          <p:nvPr>
            <p:ph type="pic" sz="quarter" idx="12"/>
          </p:nvPr>
        </p:nvSpPr>
        <p:spPr>
          <a:xfrm>
            <a:off x="6221163" y="2354428"/>
            <a:ext cx="2095200" cy="1508400"/>
          </a:xfrm>
          <a:prstGeom prst="rect">
            <a:avLst/>
          </a:prstGeom>
        </p:spPr>
        <p:txBody>
          <a:bodyPr/>
          <a:lstStyle/>
          <a:p>
            <a:endParaRPr lang="en-US"/>
          </a:p>
        </p:txBody>
      </p:sp>
      <p:sp>
        <p:nvSpPr>
          <p:cNvPr id="14" name="Picture Placeholder 10">
            <a:extLst>
              <a:ext uri="{FF2B5EF4-FFF2-40B4-BE49-F238E27FC236}">
                <a16:creationId xmlns:a16="http://schemas.microsoft.com/office/drawing/2014/main" id="{8758F185-5B15-514D-B707-D3189A6EB229}"/>
              </a:ext>
            </a:extLst>
          </p:cNvPr>
          <p:cNvSpPr>
            <a:spLocks noGrp="1"/>
          </p:cNvSpPr>
          <p:nvPr>
            <p:ph type="pic" sz="quarter" idx="13"/>
          </p:nvPr>
        </p:nvSpPr>
        <p:spPr>
          <a:xfrm>
            <a:off x="8422635" y="2354428"/>
            <a:ext cx="2095200" cy="1508400"/>
          </a:xfrm>
          <a:prstGeom prst="rect">
            <a:avLst/>
          </a:prstGeom>
        </p:spPr>
        <p:txBody>
          <a:bodyPr/>
          <a:lstStyle/>
          <a:p>
            <a:endParaRPr lang="en-US"/>
          </a:p>
        </p:txBody>
      </p:sp>
      <p:pic>
        <p:nvPicPr>
          <p:cNvPr id="9" name="Grafik 8"/>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33086635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3" name="Picture Placeholder 1"/>
          <p:cNvSpPr>
            <a:spLocks noGrp="1"/>
          </p:cNvSpPr>
          <p:nvPr>
            <p:ph type="pic" sz="quarter" idx="10"/>
          </p:nvPr>
        </p:nvSpPr>
        <p:spPr bwMode="auto">
          <a:xfrm>
            <a:off x="0" y="0"/>
            <a:ext cx="12192000" cy="6858000"/>
          </a:xfrm>
          <a:prstGeom prst="rect">
            <a:avLst/>
          </a:prstGeom>
          <a:noFill/>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sp>
    </p:spTree>
    <p:extLst>
      <p:ext uri="{BB962C8B-B14F-4D97-AF65-F5344CB8AC3E}">
        <p14:creationId xmlns:p14="http://schemas.microsoft.com/office/powerpoint/2010/main" val="10121350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67560D5-5915-E646-8186-EFC88ABD09A8}"/>
              </a:ext>
            </a:extLst>
          </p:cNvPr>
          <p:cNvSpPr>
            <a:spLocks noGrp="1"/>
          </p:cNvSpPr>
          <p:nvPr>
            <p:ph type="pic" sz="quarter" idx="10"/>
          </p:nvPr>
        </p:nvSpPr>
        <p:spPr>
          <a:xfrm>
            <a:off x="1257502" y="2397072"/>
            <a:ext cx="2437200" cy="3463199"/>
          </a:xfrm>
          <a:prstGeom prst="rect">
            <a:avLst/>
          </a:prstGeom>
        </p:spPr>
        <p:txBody>
          <a:bodyPr/>
          <a:lstStyle/>
          <a:p>
            <a:endParaRPr lang="en-US"/>
          </a:p>
        </p:txBody>
      </p:sp>
      <p:pic>
        <p:nvPicPr>
          <p:cNvPr id="6" name="Grafik 5"/>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14953480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3" name="Picture Placeholder 1"/>
          <p:cNvSpPr>
            <a:spLocks noGrp="1"/>
          </p:cNvSpPr>
          <p:nvPr>
            <p:ph type="pic" sz="quarter" idx="10"/>
          </p:nvPr>
        </p:nvSpPr>
        <p:spPr bwMode="auto">
          <a:xfrm>
            <a:off x="0" y="3311236"/>
            <a:ext cx="12192000" cy="3546763"/>
          </a:xfrm>
          <a:prstGeom prst="rect">
            <a:avLst/>
          </a:prstGeom>
          <a:noFill/>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sp>
    </p:spTree>
    <p:extLst>
      <p:ext uri="{BB962C8B-B14F-4D97-AF65-F5344CB8AC3E}">
        <p14:creationId xmlns:p14="http://schemas.microsoft.com/office/powerpoint/2010/main" val="6242219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3" name="Picture Placeholder 1"/>
          <p:cNvSpPr>
            <a:spLocks noGrp="1"/>
          </p:cNvSpPr>
          <p:nvPr>
            <p:ph type="pic" sz="quarter" idx="10"/>
          </p:nvPr>
        </p:nvSpPr>
        <p:spPr bwMode="auto">
          <a:xfrm>
            <a:off x="0" y="0"/>
            <a:ext cx="12192000" cy="6858000"/>
          </a:xfrm>
          <a:prstGeom prst="rect">
            <a:avLst/>
          </a:prstGeom>
          <a:noFill/>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sp>
    </p:spTree>
    <p:extLst>
      <p:ext uri="{BB962C8B-B14F-4D97-AF65-F5344CB8AC3E}">
        <p14:creationId xmlns:p14="http://schemas.microsoft.com/office/powerpoint/2010/main" val="13150796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1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27A23C-1F1A-C143-AB23-886104D8ED36}"/>
              </a:ext>
            </a:extLst>
          </p:cNvPr>
          <p:cNvSpPr>
            <a:spLocks noGrp="1"/>
          </p:cNvSpPr>
          <p:nvPr>
            <p:ph type="pic" sz="quarter" idx="10"/>
          </p:nvPr>
        </p:nvSpPr>
        <p:spPr>
          <a:xfrm>
            <a:off x="4988858" y="3105953"/>
            <a:ext cx="2264400" cy="3967200"/>
          </a:xfrm>
          <a:prstGeom prst="rect">
            <a:avLst/>
          </a:prstGeom>
        </p:spPr>
        <p:txBody>
          <a:bodyPr/>
          <a:lstStyle/>
          <a:p>
            <a:endParaRPr lang="en-US"/>
          </a:p>
        </p:txBody>
      </p:sp>
      <p:pic>
        <p:nvPicPr>
          <p:cNvPr id="5" name="Grafik 4"/>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283850" y="374072"/>
            <a:ext cx="946631" cy="548987"/>
          </a:xfrm>
          <a:prstGeom prst="rect">
            <a:avLst/>
          </a:prstGeom>
        </p:spPr>
      </p:pic>
    </p:spTree>
    <p:extLst>
      <p:ext uri="{BB962C8B-B14F-4D97-AF65-F5344CB8AC3E}">
        <p14:creationId xmlns:p14="http://schemas.microsoft.com/office/powerpoint/2010/main" val="35327076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2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76CD6A9-984D-BC46-8425-6A3E351A362A}"/>
              </a:ext>
            </a:extLst>
          </p:cNvPr>
          <p:cNvSpPr>
            <a:spLocks noGrp="1"/>
          </p:cNvSpPr>
          <p:nvPr>
            <p:ph type="pic" sz="quarter" idx="10"/>
          </p:nvPr>
        </p:nvSpPr>
        <p:spPr>
          <a:xfrm>
            <a:off x="7922872" y="1769840"/>
            <a:ext cx="1897199" cy="3225600"/>
          </a:xfrm>
          <a:prstGeom prst="rect">
            <a:avLst/>
          </a:prstGeom>
        </p:spPr>
        <p:txBody>
          <a:bodyPr/>
          <a:lstStyle/>
          <a:p>
            <a:endParaRPr lang="en-US"/>
          </a:p>
        </p:txBody>
      </p:sp>
      <p:pic>
        <p:nvPicPr>
          <p:cNvPr id="6" name="Grafik 5"/>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27330215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BD945A1-EB40-EC45-A526-218B27763CCD}"/>
              </a:ext>
            </a:extLst>
          </p:cNvPr>
          <p:cNvSpPr>
            <a:spLocks noGrp="1"/>
          </p:cNvSpPr>
          <p:nvPr>
            <p:ph type="pic" sz="quarter" idx="10"/>
          </p:nvPr>
        </p:nvSpPr>
        <p:spPr>
          <a:xfrm>
            <a:off x="2328863" y="4201801"/>
            <a:ext cx="2253600" cy="3967200"/>
          </a:xfrm>
          <a:prstGeom prst="rect">
            <a:avLst/>
          </a:prstGeom>
        </p:spPr>
        <p:txBody>
          <a:bodyPr/>
          <a:lstStyle/>
          <a:p>
            <a:endParaRPr lang="en-US"/>
          </a:p>
        </p:txBody>
      </p:sp>
      <p:sp>
        <p:nvSpPr>
          <p:cNvPr id="11" name="Picture Placeholder 3">
            <a:extLst>
              <a:ext uri="{FF2B5EF4-FFF2-40B4-BE49-F238E27FC236}">
                <a16:creationId xmlns:a16="http://schemas.microsoft.com/office/drawing/2014/main" id="{1573B3D7-CF3E-B646-A105-310CD0C8F9B3}"/>
              </a:ext>
            </a:extLst>
          </p:cNvPr>
          <p:cNvSpPr>
            <a:spLocks noGrp="1"/>
          </p:cNvSpPr>
          <p:nvPr>
            <p:ph type="pic" sz="quarter" idx="11"/>
          </p:nvPr>
        </p:nvSpPr>
        <p:spPr>
          <a:xfrm>
            <a:off x="4926590" y="2999827"/>
            <a:ext cx="2253600" cy="3967200"/>
          </a:xfrm>
          <a:prstGeom prst="rect">
            <a:avLst/>
          </a:prstGeom>
        </p:spPr>
        <p:txBody>
          <a:bodyPr/>
          <a:lstStyle/>
          <a:p>
            <a:endParaRPr lang="en-US"/>
          </a:p>
        </p:txBody>
      </p:sp>
      <p:sp>
        <p:nvSpPr>
          <p:cNvPr id="12" name="Picture Placeholder 3">
            <a:extLst>
              <a:ext uri="{FF2B5EF4-FFF2-40B4-BE49-F238E27FC236}">
                <a16:creationId xmlns:a16="http://schemas.microsoft.com/office/drawing/2014/main" id="{E0755A6F-1807-C44C-A5AB-F712208D049A}"/>
              </a:ext>
            </a:extLst>
          </p:cNvPr>
          <p:cNvSpPr>
            <a:spLocks noGrp="1"/>
          </p:cNvSpPr>
          <p:nvPr>
            <p:ph type="pic" sz="quarter" idx="12"/>
          </p:nvPr>
        </p:nvSpPr>
        <p:spPr>
          <a:xfrm>
            <a:off x="7527575" y="4220214"/>
            <a:ext cx="2253600" cy="3967200"/>
          </a:xfrm>
          <a:prstGeom prst="rect">
            <a:avLst/>
          </a:prstGeom>
        </p:spPr>
        <p:txBody>
          <a:bodyPr/>
          <a:lstStyle/>
          <a:p>
            <a:endParaRPr lang="en-US"/>
          </a:p>
        </p:txBody>
      </p:sp>
      <p:pic>
        <p:nvPicPr>
          <p:cNvPr id="7" name="Grafik 6"/>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1530155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2" name="Grafik 1" descr="Ein Bild, das Rechteck, Screenshot, Reihe, Design enthält.&#10;&#10;KI-generierte Inhalte können fehlerhaft sein.">
            <a:extLst>
              <a:ext uri="{FF2B5EF4-FFF2-40B4-BE49-F238E27FC236}">
                <a16:creationId xmlns:a16="http://schemas.microsoft.com/office/drawing/2014/main" id="{1CF51BAB-0B91-F2FA-D320-2A0145E6601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12"/>
            <a:ext cx="12192000" cy="6830677"/>
          </a:xfrm>
          <a:prstGeom prst="rect">
            <a:avLst/>
          </a:prstGeom>
        </p:spPr>
      </p:pic>
      <p:sp>
        <p:nvSpPr>
          <p:cNvPr id="5" name="Picture Placeholder 4">
            <a:extLst>
              <a:ext uri="{FF2B5EF4-FFF2-40B4-BE49-F238E27FC236}">
                <a16:creationId xmlns:a16="http://schemas.microsoft.com/office/drawing/2014/main" id="{CCF73148-D626-D840-A02C-ACAC6A4A832F}"/>
              </a:ext>
            </a:extLst>
          </p:cNvPr>
          <p:cNvSpPr>
            <a:spLocks noGrp="1"/>
          </p:cNvSpPr>
          <p:nvPr>
            <p:ph type="pic" sz="quarter" idx="10"/>
          </p:nvPr>
        </p:nvSpPr>
        <p:spPr>
          <a:xfrm>
            <a:off x="2614611" y="2395725"/>
            <a:ext cx="2844000" cy="2844000"/>
          </a:xfrm>
          <a:prstGeom prst="rect">
            <a:avLst/>
          </a:prstGeom>
        </p:spPr>
        <p:txBody>
          <a:bodyPr/>
          <a:lstStyle/>
          <a:p>
            <a:endParaRPr lang="en-US"/>
          </a:p>
        </p:txBody>
      </p:sp>
      <p:pic>
        <p:nvPicPr>
          <p:cNvPr id="6" name="Grafik 5"/>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23051484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2E5BB94-5F11-D948-83EA-DBF8144A346A}"/>
              </a:ext>
            </a:extLst>
          </p:cNvPr>
          <p:cNvSpPr>
            <a:spLocks noGrp="1"/>
          </p:cNvSpPr>
          <p:nvPr>
            <p:ph type="pic" sz="quarter" idx="10"/>
          </p:nvPr>
        </p:nvSpPr>
        <p:spPr>
          <a:xfrm>
            <a:off x="8739679" y="1505368"/>
            <a:ext cx="1890000" cy="3344399"/>
          </a:xfrm>
          <a:prstGeom prst="rect">
            <a:avLst/>
          </a:prstGeom>
        </p:spPr>
        <p:txBody>
          <a:bodyPr/>
          <a:lstStyle/>
          <a:p>
            <a:endParaRPr lang="en-US"/>
          </a:p>
        </p:txBody>
      </p:sp>
    </p:spTree>
    <p:extLst>
      <p:ext uri="{BB962C8B-B14F-4D97-AF65-F5344CB8AC3E}">
        <p14:creationId xmlns:p14="http://schemas.microsoft.com/office/powerpoint/2010/main" val="21331365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755F31E-8AE4-EC4B-89A0-277F45D8AF68}"/>
              </a:ext>
            </a:extLst>
          </p:cNvPr>
          <p:cNvSpPr>
            <a:spLocks noGrp="1"/>
          </p:cNvSpPr>
          <p:nvPr>
            <p:ph type="pic" sz="quarter" idx="10"/>
          </p:nvPr>
        </p:nvSpPr>
        <p:spPr>
          <a:xfrm>
            <a:off x="1156447" y="2124000"/>
            <a:ext cx="2750400" cy="4734000"/>
          </a:xfrm>
          <a:prstGeom prst="rect">
            <a:avLst/>
          </a:prstGeom>
        </p:spPr>
        <p:txBody>
          <a:bodyPr/>
          <a:lstStyle/>
          <a:p>
            <a:endParaRPr lang="en-US"/>
          </a:p>
        </p:txBody>
      </p:sp>
      <p:pic>
        <p:nvPicPr>
          <p:cNvPr id="6" name="Grafik 5"/>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37487542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6B5086D-7F05-E343-A183-BAF7F8990D72}"/>
              </a:ext>
            </a:extLst>
          </p:cNvPr>
          <p:cNvSpPr>
            <a:spLocks noGrp="1"/>
          </p:cNvSpPr>
          <p:nvPr>
            <p:ph type="pic" sz="quarter" idx="10"/>
          </p:nvPr>
        </p:nvSpPr>
        <p:spPr>
          <a:xfrm>
            <a:off x="1419923" y="2057729"/>
            <a:ext cx="3384000" cy="2163600"/>
          </a:xfrm>
          <a:prstGeom prst="rect">
            <a:avLst/>
          </a:prstGeom>
        </p:spPr>
        <p:txBody>
          <a:bodyPr/>
          <a:lstStyle/>
          <a:p>
            <a:endParaRPr lang="en-US"/>
          </a:p>
        </p:txBody>
      </p:sp>
      <p:pic>
        <p:nvPicPr>
          <p:cNvPr id="6" name="Grafik 5"/>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9004255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4EAB6E0-3F33-334F-ADE1-08C010C7D35A}"/>
              </a:ext>
            </a:extLst>
          </p:cNvPr>
          <p:cNvSpPr>
            <a:spLocks noGrp="1"/>
          </p:cNvSpPr>
          <p:nvPr>
            <p:ph type="pic" sz="quarter" idx="10"/>
          </p:nvPr>
        </p:nvSpPr>
        <p:spPr>
          <a:xfrm>
            <a:off x="7715833" y="2072319"/>
            <a:ext cx="3384000" cy="2163600"/>
          </a:xfrm>
          <a:prstGeom prst="rect">
            <a:avLst/>
          </a:prstGeom>
        </p:spPr>
        <p:txBody>
          <a:bodyPr/>
          <a:lstStyle/>
          <a:p>
            <a:endParaRPr lang="en-US"/>
          </a:p>
        </p:txBody>
      </p:sp>
    </p:spTree>
    <p:extLst>
      <p:ext uri="{BB962C8B-B14F-4D97-AF65-F5344CB8AC3E}">
        <p14:creationId xmlns:p14="http://schemas.microsoft.com/office/powerpoint/2010/main" val="15923033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4F9FB28-4578-2740-B0F7-D478F92F0990}"/>
              </a:ext>
            </a:extLst>
          </p:cNvPr>
          <p:cNvSpPr>
            <a:spLocks noGrp="1"/>
          </p:cNvSpPr>
          <p:nvPr>
            <p:ph type="pic" sz="quarter" idx="10"/>
          </p:nvPr>
        </p:nvSpPr>
        <p:spPr>
          <a:xfrm>
            <a:off x="1068646" y="1865313"/>
            <a:ext cx="3384000" cy="2163600"/>
          </a:xfrm>
          <a:prstGeom prst="rect">
            <a:avLst/>
          </a:prstGeom>
        </p:spPr>
        <p:txBody>
          <a:bodyPr/>
          <a:lstStyle/>
          <a:p>
            <a:endParaRPr lang="en-US"/>
          </a:p>
        </p:txBody>
      </p:sp>
      <p:pic>
        <p:nvPicPr>
          <p:cNvPr id="6" name="Grafik 5"/>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1180620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4F5B008-13FD-FC46-A49C-C66855C7A238}"/>
              </a:ext>
            </a:extLst>
          </p:cNvPr>
          <p:cNvSpPr>
            <a:spLocks noGrp="1"/>
          </p:cNvSpPr>
          <p:nvPr>
            <p:ph type="pic" sz="quarter" idx="10"/>
          </p:nvPr>
        </p:nvSpPr>
        <p:spPr>
          <a:xfrm>
            <a:off x="7006361" y="2118584"/>
            <a:ext cx="3384000" cy="2163600"/>
          </a:xfrm>
          <a:prstGeom prst="rect">
            <a:avLst/>
          </a:prstGeom>
        </p:spPr>
        <p:txBody>
          <a:bodyPr/>
          <a:lstStyle/>
          <a:p>
            <a:endParaRPr lang="en-US"/>
          </a:p>
        </p:txBody>
      </p:sp>
      <p:pic>
        <p:nvPicPr>
          <p:cNvPr id="4" name="Grafik 3"/>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3642361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10">
    <p:spTree>
      <p:nvGrpSpPr>
        <p:cNvPr id="1" name=""/>
        <p:cNvGrpSpPr/>
        <p:nvPr/>
      </p:nvGrpSpPr>
      <p:grpSpPr>
        <a:xfrm>
          <a:off x="0" y="0"/>
          <a:ext cx="0" cy="0"/>
          <a:chOff x="0" y="0"/>
          <a:chExt cx="0" cy="0"/>
        </a:xfrm>
      </p:grpSpPr>
      <p:pic>
        <p:nvPicPr>
          <p:cNvPr id="2" name="Grafik 1" descr="Ein Bild, das Rechteck, Screenshot, Reihe, Design enthält.&#10;&#10;KI-generierte Inhalte können fehlerhaft sein.">
            <a:extLst>
              <a:ext uri="{FF2B5EF4-FFF2-40B4-BE49-F238E27FC236}">
                <a16:creationId xmlns:a16="http://schemas.microsoft.com/office/drawing/2014/main" id="{E5CF9095-1802-5978-ED3F-F9C802C5A9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12"/>
            <a:ext cx="12192000" cy="6830677"/>
          </a:xfrm>
          <a:prstGeom prst="rect">
            <a:avLst/>
          </a:prstGeom>
        </p:spPr>
      </p:pic>
      <p:sp>
        <p:nvSpPr>
          <p:cNvPr id="3" name="Picture Placeholder 3"/>
          <p:cNvSpPr>
            <a:spLocks noGrp="1"/>
          </p:cNvSpPr>
          <p:nvPr>
            <p:ph type="pic" sz="quarter" idx="10"/>
          </p:nvPr>
        </p:nvSpPr>
        <p:spPr>
          <a:xfrm>
            <a:off x="0" y="2663597"/>
            <a:ext cx="12192000" cy="2437041"/>
          </a:xfrm>
          <a:prstGeom prst="rect">
            <a:avLst/>
          </a:prstGeom>
        </p:spPr>
        <p:txBody>
          <a:bodyPr/>
          <a:lstStyle/>
          <a:p>
            <a:endParaRPr lang="en-US"/>
          </a:p>
        </p:txBody>
      </p:sp>
      <p:pic>
        <p:nvPicPr>
          <p:cNvPr id="6" name="Grafik 5"/>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39259709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21">
    <p:spTree>
      <p:nvGrpSpPr>
        <p:cNvPr id="1" name=""/>
        <p:cNvGrpSpPr/>
        <p:nvPr/>
      </p:nvGrpSpPr>
      <p:grpSpPr>
        <a:xfrm>
          <a:off x="0" y="0"/>
          <a:ext cx="0" cy="0"/>
          <a:chOff x="0" y="0"/>
          <a:chExt cx="0" cy="0"/>
        </a:xfrm>
      </p:grpSpPr>
      <p:pic>
        <p:nvPicPr>
          <p:cNvPr id="2" name="Grafik 1" descr="Ein Bild, das Rechteck, Screenshot, Reihe, Design enthält.&#10;&#10;KI-generierte Inhalte können fehlerhaft sein.">
            <a:extLst>
              <a:ext uri="{FF2B5EF4-FFF2-40B4-BE49-F238E27FC236}">
                <a16:creationId xmlns:a16="http://schemas.microsoft.com/office/drawing/2014/main" id="{DC5D97FE-C56C-C492-8834-C7D8F7B55F5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12"/>
            <a:ext cx="12192000" cy="6830677"/>
          </a:xfrm>
          <a:prstGeom prst="rect">
            <a:avLst/>
          </a:prstGeom>
        </p:spPr>
      </p:pic>
      <p:sp>
        <p:nvSpPr>
          <p:cNvPr id="5" name="Picture Placeholder 3"/>
          <p:cNvSpPr>
            <a:spLocks noGrp="1"/>
          </p:cNvSpPr>
          <p:nvPr>
            <p:ph type="pic" sz="quarter" idx="10"/>
          </p:nvPr>
        </p:nvSpPr>
        <p:spPr>
          <a:xfrm>
            <a:off x="1485900" y="2395726"/>
            <a:ext cx="2843213" cy="2843213"/>
          </a:xfrm>
          <a:prstGeom prst="rect">
            <a:avLst/>
          </a:prstGeom>
        </p:spPr>
        <p:txBody>
          <a:bodyPr/>
          <a:lstStyle/>
          <a:p>
            <a:endParaRPr lang="en-US"/>
          </a:p>
        </p:txBody>
      </p:sp>
      <p:sp>
        <p:nvSpPr>
          <p:cNvPr id="6" name="Picture Placeholder 3"/>
          <p:cNvSpPr>
            <a:spLocks noGrp="1"/>
          </p:cNvSpPr>
          <p:nvPr>
            <p:ph type="pic" sz="quarter" idx="11"/>
          </p:nvPr>
        </p:nvSpPr>
        <p:spPr>
          <a:xfrm>
            <a:off x="4614861" y="2395725"/>
            <a:ext cx="2843213" cy="2843213"/>
          </a:xfrm>
          <a:prstGeom prst="rect">
            <a:avLst/>
          </a:prstGeom>
        </p:spPr>
        <p:txBody>
          <a:bodyPr/>
          <a:lstStyle/>
          <a:p>
            <a:endParaRPr lang="en-US"/>
          </a:p>
        </p:txBody>
      </p:sp>
      <p:sp>
        <p:nvSpPr>
          <p:cNvPr id="7" name="Picture Placeholder 3"/>
          <p:cNvSpPr>
            <a:spLocks noGrp="1"/>
          </p:cNvSpPr>
          <p:nvPr>
            <p:ph type="pic" sz="quarter" idx="12"/>
          </p:nvPr>
        </p:nvSpPr>
        <p:spPr>
          <a:xfrm>
            <a:off x="7743822" y="2395724"/>
            <a:ext cx="2843213" cy="2843213"/>
          </a:xfrm>
          <a:prstGeom prst="rect">
            <a:avLst/>
          </a:prstGeom>
        </p:spPr>
        <p:txBody>
          <a:bodyPr/>
          <a:lstStyle/>
          <a:p>
            <a:endParaRPr lang="en-US"/>
          </a:p>
        </p:txBody>
      </p:sp>
      <p:pic>
        <p:nvPicPr>
          <p:cNvPr id="10" name="Grafik 9"/>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10702931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54">
    <p:spTree>
      <p:nvGrpSpPr>
        <p:cNvPr id="1" name=""/>
        <p:cNvGrpSpPr/>
        <p:nvPr/>
      </p:nvGrpSpPr>
      <p:grpSpPr>
        <a:xfrm>
          <a:off x="0" y="0"/>
          <a:ext cx="0" cy="0"/>
          <a:chOff x="0" y="0"/>
          <a:chExt cx="0" cy="0"/>
        </a:xfrm>
      </p:grpSpPr>
      <p:pic>
        <p:nvPicPr>
          <p:cNvPr id="2" name="Grafik 1" descr="Ein Bild, das Rechteck, Screenshot, Reihe, Design enthält.&#10;&#10;KI-generierte Inhalte können fehlerhaft sein.">
            <a:extLst>
              <a:ext uri="{FF2B5EF4-FFF2-40B4-BE49-F238E27FC236}">
                <a16:creationId xmlns:a16="http://schemas.microsoft.com/office/drawing/2014/main" id="{986A4962-0605-9032-1589-432332D66D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12"/>
            <a:ext cx="12192000" cy="6830677"/>
          </a:xfrm>
          <a:prstGeom prst="rect">
            <a:avLst/>
          </a:prstGeom>
        </p:spPr>
      </p:pic>
      <p:sp>
        <p:nvSpPr>
          <p:cNvPr id="10" name="Picture Placeholder 3"/>
          <p:cNvSpPr>
            <a:spLocks noGrp="1"/>
          </p:cNvSpPr>
          <p:nvPr>
            <p:ph type="pic" sz="quarter" idx="10"/>
          </p:nvPr>
        </p:nvSpPr>
        <p:spPr>
          <a:xfrm>
            <a:off x="2114549" y="2249578"/>
            <a:ext cx="1514475" cy="1363182"/>
          </a:xfrm>
          <a:prstGeom prst="rect">
            <a:avLst/>
          </a:prstGeom>
        </p:spPr>
        <p:txBody>
          <a:bodyPr/>
          <a:lstStyle/>
          <a:p>
            <a:endParaRPr lang="en-US"/>
          </a:p>
        </p:txBody>
      </p:sp>
      <p:sp>
        <p:nvSpPr>
          <p:cNvPr id="11" name="Picture Placeholder 3"/>
          <p:cNvSpPr>
            <a:spLocks noGrp="1"/>
          </p:cNvSpPr>
          <p:nvPr>
            <p:ph type="pic" sz="quarter" idx="11"/>
          </p:nvPr>
        </p:nvSpPr>
        <p:spPr>
          <a:xfrm>
            <a:off x="4257674" y="2249578"/>
            <a:ext cx="1514475" cy="1363182"/>
          </a:xfrm>
          <a:prstGeom prst="rect">
            <a:avLst/>
          </a:prstGeom>
        </p:spPr>
        <p:txBody>
          <a:bodyPr/>
          <a:lstStyle/>
          <a:p>
            <a:endParaRPr lang="en-US"/>
          </a:p>
        </p:txBody>
      </p:sp>
      <p:sp>
        <p:nvSpPr>
          <p:cNvPr id="12" name="Picture Placeholder 3"/>
          <p:cNvSpPr>
            <a:spLocks noGrp="1"/>
          </p:cNvSpPr>
          <p:nvPr>
            <p:ph type="pic" sz="quarter" idx="12"/>
          </p:nvPr>
        </p:nvSpPr>
        <p:spPr>
          <a:xfrm>
            <a:off x="6400799" y="2249578"/>
            <a:ext cx="1514475" cy="1363182"/>
          </a:xfrm>
          <a:prstGeom prst="rect">
            <a:avLst/>
          </a:prstGeom>
        </p:spPr>
        <p:txBody>
          <a:bodyPr/>
          <a:lstStyle/>
          <a:p>
            <a:endParaRPr lang="en-US"/>
          </a:p>
        </p:txBody>
      </p:sp>
      <p:sp>
        <p:nvSpPr>
          <p:cNvPr id="13" name="Picture Placeholder 3"/>
          <p:cNvSpPr>
            <a:spLocks noGrp="1"/>
          </p:cNvSpPr>
          <p:nvPr>
            <p:ph type="pic" sz="quarter" idx="13"/>
          </p:nvPr>
        </p:nvSpPr>
        <p:spPr>
          <a:xfrm>
            <a:off x="8543924" y="2249578"/>
            <a:ext cx="1514475" cy="1363182"/>
          </a:xfrm>
          <a:prstGeom prst="rect">
            <a:avLst/>
          </a:prstGeom>
        </p:spPr>
        <p:txBody>
          <a:bodyPr/>
          <a:lstStyle/>
          <a:p>
            <a:endParaRPr lang="en-US"/>
          </a:p>
        </p:txBody>
      </p:sp>
      <p:sp>
        <p:nvSpPr>
          <p:cNvPr id="14" name="Picture Placeholder 3"/>
          <p:cNvSpPr>
            <a:spLocks noGrp="1"/>
          </p:cNvSpPr>
          <p:nvPr>
            <p:ph type="pic" sz="quarter" idx="14"/>
          </p:nvPr>
        </p:nvSpPr>
        <p:spPr>
          <a:xfrm>
            <a:off x="2114549" y="4404392"/>
            <a:ext cx="1514475" cy="1363182"/>
          </a:xfrm>
          <a:prstGeom prst="rect">
            <a:avLst/>
          </a:prstGeom>
        </p:spPr>
        <p:txBody>
          <a:bodyPr/>
          <a:lstStyle/>
          <a:p>
            <a:endParaRPr lang="en-US"/>
          </a:p>
        </p:txBody>
      </p:sp>
      <p:sp>
        <p:nvSpPr>
          <p:cNvPr id="15" name="Picture Placeholder 3"/>
          <p:cNvSpPr>
            <a:spLocks noGrp="1"/>
          </p:cNvSpPr>
          <p:nvPr>
            <p:ph type="pic" sz="quarter" idx="15"/>
          </p:nvPr>
        </p:nvSpPr>
        <p:spPr>
          <a:xfrm>
            <a:off x="4257674" y="4404392"/>
            <a:ext cx="1514475" cy="1363182"/>
          </a:xfrm>
          <a:prstGeom prst="rect">
            <a:avLst/>
          </a:prstGeom>
        </p:spPr>
        <p:txBody>
          <a:bodyPr/>
          <a:lstStyle/>
          <a:p>
            <a:endParaRPr lang="en-US"/>
          </a:p>
        </p:txBody>
      </p:sp>
      <p:sp>
        <p:nvSpPr>
          <p:cNvPr id="16" name="Picture Placeholder 3"/>
          <p:cNvSpPr>
            <a:spLocks noGrp="1"/>
          </p:cNvSpPr>
          <p:nvPr>
            <p:ph type="pic" sz="quarter" idx="16"/>
          </p:nvPr>
        </p:nvSpPr>
        <p:spPr>
          <a:xfrm>
            <a:off x="6400799" y="4404392"/>
            <a:ext cx="1514475" cy="1363182"/>
          </a:xfrm>
          <a:prstGeom prst="rect">
            <a:avLst/>
          </a:prstGeom>
        </p:spPr>
        <p:txBody>
          <a:bodyPr/>
          <a:lstStyle/>
          <a:p>
            <a:endParaRPr lang="en-US"/>
          </a:p>
        </p:txBody>
      </p:sp>
      <p:sp>
        <p:nvSpPr>
          <p:cNvPr id="17" name="Picture Placeholder 3"/>
          <p:cNvSpPr>
            <a:spLocks noGrp="1"/>
          </p:cNvSpPr>
          <p:nvPr>
            <p:ph type="pic" sz="quarter" idx="17"/>
          </p:nvPr>
        </p:nvSpPr>
        <p:spPr>
          <a:xfrm>
            <a:off x="8543924" y="4404392"/>
            <a:ext cx="1514475" cy="1363182"/>
          </a:xfrm>
          <a:prstGeom prst="rect">
            <a:avLst/>
          </a:prstGeom>
        </p:spPr>
        <p:txBody>
          <a:bodyPr/>
          <a:lstStyle/>
          <a:p>
            <a:endParaRPr lang="en-US"/>
          </a:p>
        </p:txBody>
      </p:sp>
      <p:pic>
        <p:nvPicPr>
          <p:cNvPr id="20" name="Grafik 19"/>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21810490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55">
    <p:spTree>
      <p:nvGrpSpPr>
        <p:cNvPr id="1" name=""/>
        <p:cNvGrpSpPr/>
        <p:nvPr/>
      </p:nvGrpSpPr>
      <p:grpSpPr>
        <a:xfrm>
          <a:off x="0" y="0"/>
          <a:ext cx="0" cy="0"/>
          <a:chOff x="0" y="0"/>
          <a:chExt cx="0" cy="0"/>
        </a:xfrm>
      </p:grpSpPr>
      <p:pic>
        <p:nvPicPr>
          <p:cNvPr id="2" name="Grafik 1" descr="Ein Bild, das Rechteck, Screenshot, Reihe, Design enthält.&#10;&#10;KI-generierte Inhalte können fehlerhaft sein.">
            <a:extLst>
              <a:ext uri="{FF2B5EF4-FFF2-40B4-BE49-F238E27FC236}">
                <a16:creationId xmlns:a16="http://schemas.microsoft.com/office/drawing/2014/main" id="{8C3265E0-2935-F75C-755F-8F225B48CC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12"/>
            <a:ext cx="12192000" cy="6830677"/>
          </a:xfrm>
          <a:prstGeom prst="rect">
            <a:avLst/>
          </a:prstGeom>
        </p:spPr>
      </p:pic>
      <p:sp>
        <p:nvSpPr>
          <p:cNvPr id="3" name="Picture Placeholder 7"/>
          <p:cNvSpPr>
            <a:spLocks noGrp="1"/>
          </p:cNvSpPr>
          <p:nvPr>
            <p:ph type="pic" sz="quarter" idx="10"/>
          </p:nvPr>
        </p:nvSpPr>
        <p:spPr>
          <a:xfrm>
            <a:off x="1671639" y="2537371"/>
            <a:ext cx="4163214" cy="3146903"/>
          </a:xfrm>
          <a:prstGeom prst="rect">
            <a:avLst/>
          </a:prstGeom>
        </p:spPr>
      </p:sp>
      <p:pic>
        <p:nvPicPr>
          <p:cNvPr id="6" name="Grafik 5"/>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39222562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 name="Grafik 1" descr="Ein Bild, das Rechteck, Screenshot, Reihe, Design enthält.&#10;&#10;KI-generierte Inhalte können fehlerhaft sein.">
            <a:extLst>
              <a:ext uri="{FF2B5EF4-FFF2-40B4-BE49-F238E27FC236}">
                <a16:creationId xmlns:a16="http://schemas.microsoft.com/office/drawing/2014/main" id="{C67A0E33-2723-C026-BD17-649B347A1FD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12"/>
            <a:ext cx="12192000" cy="6830677"/>
          </a:xfrm>
          <a:prstGeom prst="rect">
            <a:avLst/>
          </a:prstGeom>
        </p:spPr>
      </p:pic>
      <p:sp>
        <p:nvSpPr>
          <p:cNvPr id="5" name="Picture Placeholder 4"/>
          <p:cNvSpPr>
            <a:spLocks noGrp="1"/>
          </p:cNvSpPr>
          <p:nvPr>
            <p:ph type="pic" sz="quarter" idx="10"/>
          </p:nvPr>
        </p:nvSpPr>
        <p:spPr>
          <a:xfrm>
            <a:off x="1122614" y="3318038"/>
            <a:ext cx="614365" cy="614365"/>
          </a:xfrm>
          <a:prstGeom prst="rect">
            <a:avLst/>
          </a:prstGeom>
        </p:spPr>
        <p:txBody>
          <a:bodyPr/>
          <a:lstStyle/>
          <a:p>
            <a:endParaRPr lang="en-US" dirty="0"/>
          </a:p>
        </p:txBody>
      </p:sp>
      <p:sp>
        <p:nvSpPr>
          <p:cNvPr id="10" name="Picture Placeholder 4"/>
          <p:cNvSpPr>
            <a:spLocks noGrp="1"/>
          </p:cNvSpPr>
          <p:nvPr>
            <p:ph type="pic" sz="quarter" idx="11"/>
          </p:nvPr>
        </p:nvSpPr>
        <p:spPr>
          <a:xfrm>
            <a:off x="3819075" y="2703673"/>
            <a:ext cx="614365" cy="614365"/>
          </a:xfrm>
          <a:prstGeom prst="rect">
            <a:avLst/>
          </a:prstGeom>
        </p:spPr>
        <p:txBody>
          <a:bodyPr/>
          <a:lstStyle/>
          <a:p>
            <a:endParaRPr lang="en-US" dirty="0"/>
          </a:p>
        </p:txBody>
      </p:sp>
      <p:sp>
        <p:nvSpPr>
          <p:cNvPr id="11" name="Picture Placeholder 4"/>
          <p:cNvSpPr>
            <a:spLocks noGrp="1"/>
          </p:cNvSpPr>
          <p:nvPr>
            <p:ph type="pic" sz="quarter" idx="12"/>
          </p:nvPr>
        </p:nvSpPr>
        <p:spPr>
          <a:xfrm>
            <a:off x="6535134" y="3298172"/>
            <a:ext cx="614365" cy="614365"/>
          </a:xfrm>
          <a:prstGeom prst="rect">
            <a:avLst/>
          </a:prstGeom>
        </p:spPr>
        <p:txBody>
          <a:bodyPr/>
          <a:lstStyle/>
          <a:p>
            <a:endParaRPr lang="en-US" dirty="0"/>
          </a:p>
        </p:txBody>
      </p:sp>
      <p:sp>
        <p:nvSpPr>
          <p:cNvPr id="12" name="Picture Placeholder 4"/>
          <p:cNvSpPr>
            <a:spLocks noGrp="1"/>
          </p:cNvSpPr>
          <p:nvPr>
            <p:ph type="pic" sz="quarter" idx="13"/>
          </p:nvPr>
        </p:nvSpPr>
        <p:spPr>
          <a:xfrm>
            <a:off x="9118190" y="2683806"/>
            <a:ext cx="614365" cy="614365"/>
          </a:xfrm>
          <a:prstGeom prst="rect">
            <a:avLst/>
          </a:prstGeom>
        </p:spPr>
        <p:txBody>
          <a:bodyPr/>
          <a:lstStyle/>
          <a:p>
            <a:endParaRPr lang="en-US" dirty="0"/>
          </a:p>
        </p:txBody>
      </p:sp>
      <p:pic>
        <p:nvPicPr>
          <p:cNvPr id="8" name="Grafik 7"/>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19653109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2" name="Grafik 1" descr="Ein Bild, das Rechteck, Screenshot, Reihe, Design enthält.&#10;&#10;KI-generierte Inhalte können fehlerhaft sein.">
            <a:extLst>
              <a:ext uri="{FF2B5EF4-FFF2-40B4-BE49-F238E27FC236}">
                <a16:creationId xmlns:a16="http://schemas.microsoft.com/office/drawing/2014/main" id="{A6C41577-3587-441F-55FA-5C82C5D4E16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12"/>
            <a:ext cx="12192000" cy="6830677"/>
          </a:xfrm>
          <a:prstGeom prst="rect">
            <a:avLst/>
          </a:prstGeom>
        </p:spPr>
      </p:pic>
      <p:sp>
        <p:nvSpPr>
          <p:cNvPr id="9" name="Picture Placeholder 7"/>
          <p:cNvSpPr>
            <a:spLocks noGrp="1"/>
          </p:cNvSpPr>
          <p:nvPr>
            <p:ph type="pic" sz="quarter" idx="10"/>
          </p:nvPr>
        </p:nvSpPr>
        <p:spPr>
          <a:xfrm>
            <a:off x="1549793" y="2190595"/>
            <a:ext cx="2891240" cy="1837416"/>
          </a:xfrm>
          <a:prstGeom prst="rect">
            <a:avLst/>
          </a:prstGeom>
        </p:spPr>
      </p:sp>
      <p:sp>
        <p:nvSpPr>
          <p:cNvPr id="10" name="Picture Placeholder 7"/>
          <p:cNvSpPr>
            <a:spLocks noGrp="1"/>
          </p:cNvSpPr>
          <p:nvPr>
            <p:ph type="pic" sz="quarter" idx="11"/>
          </p:nvPr>
        </p:nvSpPr>
        <p:spPr>
          <a:xfrm>
            <a:off x="4504033" y="2190595"/>
            <a:ext cx="3779246" cy="1837416"/>
          </a:xfrm>
          <a:prstGeom prst="rect">
            <a:avLst/>
          </a:prstGeom>
        </p:spPr>
      </p:sp>
      <p:sp>
        <p:nvSpPr>
          <p:cNvPr id="11" name="Picture Placeholder 7"/>
          <p:cNvSpPr>
            <a:spLocks noGrp="1"/>
          </p:cNvSpPr>
          <p:nvPr>
            <p:ph type="pic" sz="quarter" idx="12"/>
          </p:nvPr>
        </p:nvSpPr>
        <p:spPr>
          <a:xfrm>
            <a:off x="6193629" y="4091896"/>
            <a:ext cx="4386664" cy="1837416"/>
          </a:xfrm>
          <a:prstGeom prst="rect">
            <a:avLst/>
          </a:prstGeom>
        </p:spPr>
      </p:sp>
      <p:sp>
        <p:nvSpPr>
          <p:cNvPr id="12" name="Picture Placeholder 7"/>
          <p:cNvSpPr>
            <a:spLocks noGrp="1"/>
          </p:cNvSpPr>
          <p:nvPr>
            <p:ph type="pic" sz="quarter" idx="13"/>
          </p:nvPr>
        </p:nvSpPr>
        <p:spPr>
          <a:xfrm>
            <a:off x="1549793" y="4091896"/>
            <a:ext cx="2262590" cy="1837416"/>
          </a:xfrm>
          <a:prstGeom prst="rect">
            <a:avLst/>
          </a:prstGeom>
        </p:spPr>
      </p:sp>
      <p:sp>
        <p:nvSpPr>
          <p:cNvPr id="13" name="Picture Placeholder 7"/>
          <p:cNvSpPr>
            <a:spLocks noGrp="1"/>
          </p:cNvSpPr>
          <p:nvPr>
            <p:ph type="pic" sz="quarter" idx="14"/>
          </p:nvPr>
        </p:nvSpPr>
        <p:spPr>
          <a:xfrm>
            <a:off x="3869532" y="4091894"/>
            <a:ext cx="2266948" cy="1837416"/>
          </a:xfrm>
          <a:prstGeom prst="rect">
            <a:avLst/>
          </a:prstGeom>
        </p:spPr>
      </p:sp>
      <p:sp>
        <p:nvSpPr>
          <p:cNvPr id="14" name="Picture Placeholder 7"/>
          <p:cNvSpPr>
            <a:spLocks noGrp="1"/>
          </p:cNvSpPr>
          <p:nvPr>
            <p:ph type="pic" sz="quarter" idx="15"/>
          </p:nvPr>
        </p:nvSpPr>
        <p:spPr>
          <a:xfrm>
            <a:off x="8329812" y="2190595"/>
            <a:ext cx="2250481" cy="1837416"/>
          </a:xfrm>
          <a:prstGeom prst="rect">
            <a:avLst/>
          </a:prstGeom>
        </p:spPr>
      </p:sp>
      <p:pic>
        <p:nvPicPr>
          <p:cNvPr id="16" name="Grafik 15"/>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11559" y="346363"/>
            <a:ext cx="946631" cy="548987"/>
          </a:xfrm>
          <a:prstGeom prst="rect">
            <a:avLst/>
          </a:prstGeom>
        </p:spPr>
      </p:pic>
    </p:spTree>
    <p:extLst>
      <p:ext uri="{BB962C8B-B14F-4D97-AF65-F5344CB8AC3E}">
        <p14:creationId xmlns:p14="http://schemas.microsoft.com/office/powerpoint/2010/main" val="2764388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634321"/>
      </p:ext>
    </p:extLst>
  </p:cSld>
  <p:clrMap bg1="lt1" tx1="dk1" bg2="lt2" tx2="dk2" accent1="accent1" accent2="accent2" accent3="accent3" accent4="accent4" accent5="accent5" accent6="accent6" hlink="hlink" folHlink="folHlink"/>
  <p:sldLayoutIdLst>
    <p:sldLayoutId id="2147483667" r:id="rId1"/>
    <p:sldLayoutId id="2147483735" r:id="rId2"/>
    <p:sldLayoutId id="2147483766" r:id="rId3"/>
    <p:sldLayoutId id="2147483670" r:id="rId4"/>
    <p:sldLayoutId id="2147483681" r:id="rId5"/>
    <p:sldLayoutId id="2147483714" r:id="rId6"/>
    <p:sldLayoutId id="2147483715" r:id="rId7"/>
    <p:sldLayoutId id="2147483736" r:id="rId8"/>
    <p:sldLayoutId id="2147483737" r:id="rId9"/>
    <p:sldLayoutId id="2147483738" r:id="rId10"/>
    <p:sldLayoutId id="2147483739" r:id="rId11"/>
    <p:sldLayoutId id="2147483740" r:id="rId12"/>
    <p:sldLayoutId id="2147483741" r:id="rId13"/>
    <p:sldLayoutId id="2147483742" r:id="rId14"/>
    <p:sldLayoutId id="2147483744" r:id="rId15"/>
    <p:sldLayoutId id="2147483745" r:id="rId16"/>
    <p:sldLayoutId id="2147483746" r:id="rId17"/>
    <p:sldLayoutId id="2147483747" r:id="rId18"/>
    <p:sldLayoutId id="2147483748" r:id="rId19"/>
    <p:sldLayoutId id="2147483749" r:id="rId20"/>
    <p:sldLayoutId id="2147483750" r:id="rId21"/>
    <p:sldLayoutId id="2147483769" r:id="rId22"/>
    <p:sldLayoutId id="2147483752" r:id="rId23"/>
    <p:sldLayoutId id="2147483770" r:id="rId24"/>
    <p:sldLayoutId id="2147483754" r:id="rId25"/>
    <p:sldLayoutId id="2147483755" r:id="rId26"/>
    <p:sldLayoutId id="2147483767" r:id="rId27"/>
    <p:sldLayoutId id="2147483768" r:id="rId28"/>
    <p:sldLayoutId id="2147483771" r:id="rId29"/>
    <p:sldLayoutId id="2147483772" r:id="rId30"/>
    <p:sldLayoutId id="2147483773" r:id="rId31"/>
    <p:sldLayoutId id="2147483774" r:id="rId32"/>
    <p:sldLayoutId id="2147483762" r:id="rId33"/>
    <p:sldLayoutId id="2147483775" r:id="rId34"/>
    <p:sldLayoutId id="2147483776" r:id="rId3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6.png"/><Relationship Id="rId5" Type="http://schemas.openxmlformats.org/officeDocument/2006/relationships/image" Target="../media/image5.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12.sv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14.svg"/></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14.sv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image" Target="../media/image14.svg"/></Relationships>
</file>

<file path=ppt/slides/_rels/slide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5.xml"/><Relationship Id="rId1" Type="http://schemas.openxmlformats.org/officeDocument/2006/relationships/slideLayout" Target="../slideLayouts/slideLayout7.xml"/><Relationship Id="rId4" Type="http://schemas.openxmlformats.org/officeDocument/2006/relationships/image" Target="../media/image14.svg"/></Relationships>
</file>

<file path=ppt/slides/_rels/slide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image" Target="../media/image14.svg"/></Relationships>
</file>

<file path=ppt/slides/_rels/slide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7.xml"/><Relationship Id="rId1" Type="http://schemas.openxmlformats.org/officeDocument/2006/relationships/slideLayout" Target="../slideLayouts/slideLayout7.xml"/><Relationship Id="rId4" Type="http://schemas.openxmlformats.org/officeDocument/2006/relationships/image" Target="../media/image14.svg"/></Relationships>
</file>

<file path=ppt/slides/_rels/slide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8.xml"/><Relationship Id="rId1" Type="http://schemas.openxmlformats.org/officeDocument/2006/relationships/slideLayout" Target="../slideLayouts/slideLayout7.xml"/><Relationship Id="rId4" Type="http://schemas.openxmlformats.org/officeDocument/2006/relationships/image" Target="../media/image14.svg"/></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image" Target="../media/image14.sv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8.xml"/><Relationship Id="rId5" Type="http://schemas.openxmlformats.org/officeDocument/2006/relationships/image" Target="../media/image14.svg"/><Relationship Id="rId4" Type="http://schemas.openxmlformats.org/officeDocument/2006/relationships/image" Target="../media/image13.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9.xml"/><Relationship Id="rId5" Type="http://schemas.openxmlformats.org/officeDocument/2006/relationships/image" Target="../media/image14.svg"/><Relationship Id="rId4" Type="http://schemas.openxmlformats.org/officeDocument/2006/relationships/image" Target="../media/image13.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10.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11.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12.xml"/></Relationships>
</file>

<file path=ppt/slides/_rels/slide46.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10" Type="http://schemas.openxmlformats.org/officeDocument/2006/relationships/notesSlide" Target="../notesSlides/notesSlide45.xml"/><Relationship Id="rId4" Type="http://schemas.openxmlformats.org/officeDocument/2006/relationships/tags" Target="../tags/tag16.xml"/><Relationship Id="rId9"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notesSlide" Target="../notesSlides/notesSlide46.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slideLayout" Target="../slideLayouts/slideLayout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s>
</file>

<file path=ppt/slides/_rels/slide48.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notesSlide" Target="../notesSlides/notesSlide47.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slideLayout" Target="../slideLayouts/slideLayout7.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s>
</file>

<file path=ppt/slides/_rels/slide49.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notesSlide" Target="../notesSlides/notesSlide48.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slideLayout" Target="../slideLayouts/slideLayout7.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50.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notesSlide" Target="../notesSlides/notesSlide49.xml"/><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slideLayout" Target="../slideLayouts/slideLayout7.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s>
</file>

<file path=ppt/slides/_rels/slide51.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notesSlide" Target="../notesSlides/notesSlide50.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slideLayout" Target="../slideLayouts/slideLayout7.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0" Type="http://schemas.openxmlformats.org/officeDocument/2006/relationships/tags" Target="../tags/tag74.xml"/><Relationship Id="rId4" Type="http://schemas.openxmlformats.org/officeDocument/2006/relationships/tags" Target="../tags/tag68.xml"/><Relationship Id="rId9" Type="http://schemas.openxmlformats.org/officeDocument/2006/relationships/tags" Target="../tags/tag73.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ags" Target="../tags/tag76.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7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4.xml"/><Relationship Id="rId1" Type="http://schemas.openxmlformats.org/officeDocument/2006/relationships/slideLayout" Target="../slideLayouts/slideLayout7.xml"/><Relationship Id="rId4" Type="http://schemas.openxmlformats.org/officeDocument/2006/relationships/image" Target="../media/image14.svg"/></Relationships>
</file>

<file path=ppt/slides/_rels/slide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6.svg"/></Relationships>
</file>

<file path=ppt/slides/_rels/slide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6.sv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7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6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7.png"/><Relationship Id="rId7" Type="http://schemas.openxmlformats.org/officeDocument/2006/relationships/image" Target="../media/image4.svg"/><Relationship Id="rId2" Type="http://schemas.openxmlformats.org/officeDocument/2006/relationships/notesSlide" Target="../notesSlides/notesSlide59.xml"/><Relationship Id="rId1" Type="http://schemas.openxmlformats.org/officeDocument/2006/relationships/slideLayout" Target="../slideLayouts/slideLayout2.xml"/><Relationship Id="rId6" Type="http://schemas.openxmlformats.org/officeDocument/2006/relationships/image" Target="../media/image3.png"/><Relationship Id="rId5" Type="http://schemas.openxmlformats.org/officeDocument/2006/relationships/image" Target="../media/image19.jpeg"/><Relationship Id="rId4" Type="http://schemas.openxmlformats.org/officeDocument/2006/relationships/image" Target="../media/image18.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descr="Ein Bild, das Screenshot, Gebäude, Quadrat enthält.&#10;&#10;KI-generierte Inhalte können fehlerhaft sein.">
            <a:extLst>
              <a:ext uri="{FF2B5EF4-FFF2-40B4-BE49-F238E27FC236}">
                <a16:creationId xmlns:a16="http://schemas.microsoft.com/office/drawing/2014/main" id="{59E1DCCC-B8DB-B07F-21E6-B8E01568102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0"/>
            <a:ext cx="12192000" cy="6830677"/>
          </a:xfrm>
          <a:prstGeom prst="rect">
            <a:avLst/>
          </a:prstGeom>
        </p:spPr>
      </p:pic>
      <p:sp>
        <p:nvSpPr>
          <p:cNvPr id="6" name="7 CuadroTexto"/>
          <p:cNvSpPr txBox="1"/>
          <p:nvPr/>
        </p:nvSpPr>
        <p:spPr>
          <a:xfrm>
            <a:off x="1436081" y="3791092"/>
            <a:ext cx="4807202" cy="505779"/>
          </a:xfrm>
          <a:prstGeom prst="rect">
            <a:avLst/>
          </a:prstGeom>
          <a:noFill/>
        </p:spPr>
        <p:txBody>
          <a:bodyPr wrap="square">
            <a:spAutoFit/>
          </a:bodyPr>
          <a:lstStyle/>
          <a:p>
            <a:pPr>
              <a:lnSpc>
                <a:spcPts val="1733"/>
              </a:lnSpc>
              <a:defRPr/>
            </a:pPr>
            <a:r>
              <a:rPr lang="de-DE" sz="1100" b="1" dirty="0">
                <a:solidFill>
                  <a:schemeClr val="bg1"/>
                </a:solidFill>
                <a:latin typeface="Segoe UI" panose="020B0502040204020203" pitchFamily="34" charset="0"/>
                <a:ea typeface="Lato" charset="0"/>
                <a:cs typeface="Segoe UI" panose="020B0502040204020203" pitchFamily="34" charset="0"/>
              </a:rPr>
              <a:t>Referent: </a:t>
            </a:r>
            <a:r>
              <a:rPr lang="de-DE" sz="1100" dirty="0" err="1">
                <a:solidFill>
                  <a:schemeClr val="bg1"/>
                </a:solidFill>
                <a:latin typeface="Segoe UI" panose="020B0502040204020203" pitchFamily="34" charset="0"/>
                <a:ea typeface="Lato" charset="0"/>
                <a:cs typeface="Segoe UI" panose="020B0502040204020203" pitchFamily="34" charset="0"/>
              </a:rPr>
              <a:t>StB</a:t>
            </a:r>
            <a:r>
              <a:rPr lang="de-DE" sz="1100" dirty="0">
                <a:solidFill>
                  <a:schemeClr val="bg1"/>
                </a:solidFill>
                <a:latin typeface="Segoe UI" panose="020B0502040204020203" pitchFamily="34" charset="0"/>
                <a:ea typeface="Lato" charset="0"/>
                <a:cs typeface="Segoe UI" panose="020B0502040204020203" pitchFamily="34" charset="0"/>
              </a:rPr>
              <a:t> Dr. Lukas Karrenbrock</a:t>
            </a:r>
            <a:endParaRPr lang="en-US" sz="1100" dirty="0">
              <a:solidFill>
                <a:schemeClr val="bg1"/>
              </a:solidFill>
              <a:latin typeface="Segoe UI" panose="020B0502040204020203" pitchFamily="34" charset="0"/>
              <a:ea typeface="Lato" charset="0"/>
              <a:cs typeface="Segoe UI" panose="020B0502040204020203" pitchFamily="34" charset="0"/>
            </a:endParaRPr>
          </a:p>
          <a:p>
            <a:pPr>
              <a:lnSpc>
                <a:spcPts val="1733"/>
              </a:lnSpc>
              <a:defRPr/>
            </a:pPr>
            <a:r>
              <a:rPr lang="de-DE" sz="1100" b="1">
                <a:solidFill>
                  <a:schemeClr val="bg1"/>
                </a:solidFill>
                <a:latin typeface="Segoe UI" panose="020B0502040204020203" pitchFamily="34" charset="0"/>
                <a:ea typeface="Lato" charset="0"/>
                <a:cs typeface="Segoe UI" panose="020B0502040204020203" pitchFamily="34" charset="0"/>
              </a:rPr>
              <a:t>Stand 15.15.2025 </a:t>
            </a:r>
            <a:endParaRPr lang="de-DE" sz="1100" b="1" dirty="0">
              <a:solidFill>
                <a:schemeClr val="bg1"/>
              </a:solidFill>
              <a:latin typeface="Segoe UI" panose="020B0502040204020203" pitchFamily="34" charset="0"/>
              <a:ea typeface="Lato" charset="0"/>
              <a:cs typeface="Segoe UI" panose="020B0502040204020203" pitchFamily="34" charset="0"/>
            </a:endParaRPr>
          </a:p>
        </p:txBody>
      </p:sp>
      <p:sp>
        <p:nvSpPr>
          <p:cNvPr id="16" name="TextBox 15"/>
          <p:cNvSpPr txBox="1"/>
          <p:nvPr/>
        </p:nvSpPr>
        <p:spPr>
          <a:xfrm>
            <a:off x="1422013" y="1941330"/>
            <a:ext cx="8059612" cy="1384995"/>
          </a:xfrm>
          <a:prstGeom prst="rect">
            <a:avLst/>
          </a:prstGeom>
          <a:noFill/>
        </p:spPr>
        <p:txBody>
          <a:bodyPr wrap="square" rtlCol="0">
            <a:spAutoFit/>
          </a:bodyPr>
          <a:lstStyle/>
          <a:p>
            <a:r>
              <a:rPr lang="en-US" sz="2800" b="1" dirty="0" err="1">
                <a:solidFill>
                  <a:schemeClr val="bg1"/>
                </a:solidFill>
                <a:latin typeface="Segoe UI" panose="020B0502040204020203" pitchFamily="34" charset="0"/>
                <a:ea typeface="Lato" charset="0"/>
                <a:cs typeface="Segoe UI" panose="020B0502040204020203" pitchFamily="34" charset="0"/>
              </a:rPr>
              <a:t>Steuerliche</a:t>
            </a:r>
            <a:r>
              <a:rPr lang="en-US" sz="2800" b="1" dirty="0">
                <a:solidFill>
                  <a:schemeClr val="bg1"/>
                </a:solidFill>
                <a:latin typeface="Segoe UI" panose="020B0502040204020203" pitchFamily="34" charset="0"/>
                <a:ea typeface="Lato" charset="0"/>
                <a:cs typeface="Segoe UI" panose="020B0502040204020203" pitchFamily="34" charset="0"/>
              </a:rPr>
              <a:t> </a:t>
            </a:r>
            <a:r>
              <a:rPr lang="en-US" sz="2800" b="1" dirty="0" err="1">
                <a:solidFill>
                  <a:schemeClr val="bg1"/>
                </a:solidFill>
                <a:latin typeface="Segoe UI" panose="020B0502040204020203" pitchFamily="34" charset="0"/>
                <a:ea typeface="Lato" charset="0"/>
                <a:cs typeface="Segoe UI" panose="020B0502040204020203" pitchFamily="34" charset="0"/>
              </a:rPr>
              <a:t>Aspekte</a:t>
            </a:r>
            <a:r>
              <a:rPr lang="en-US" sz="2800" b="1" dirty="0">
                <a:solidFill>
                  <a:schemeClr val="bg1"/>
                </a:solidFill>
                <a:latin typeface="Segoe UI" panose="020B0502040204020203" pitchFamily="34" charset="0"/>
                <a:ea typeface="Lato" charset="0"/>
                <a:cs typeface="Segoe UI" panose="020B0502040204020203" pitchFamily="34" charset="0"/>
              </a:rPr>
              <a:t> und </a:t>
            </a:r>
            <a:r>
              <a:rPr lang="en-US" sz="2800" b="1" dirty="0" err="1">
                <a:solidFill>
                  <a:schemeClr val="bg1"/>
                </a:solidFill>
                <a:latin typeface="Segoe UI" panose="020B0502040204020203" pitchFamily="34" charset="0"/>
                <a:ea typeface="Lato" charset="0"/>
                <a:cs typeface="Segoe UI" panose="020B0502040204020203" pitchFamily="34" charset="0"/>
              </a:rPr>
              <a:t>Lösungen</a:t>
            </a:r>
            <a:r>
              <a:rPr lang="en-US" sz="2800" b="1" dirty="0">
                <a:solidFill>
                  <a:schemeClr val="bg1"/>
                </a:solidFill>
                <a:latin typeface="Segoe UI" panose="020B0502040204020203" pitchFamily="34" charset="0"/>
                <a:ea typeface="Lato" charset="0"/>
                <a:cs typeface="Segoe UI" panose="020B0502040204020203" pitchFamily="34" charset="0"/>
              </a:rPr>
              <a:t> für </a:t>
            </a:r>
            <a:r>
              <a:rPr lang="en-US" sz="2800" b="1" dirty="0" err="1">
                <a:solidFill>
                  <a:schemeClr val="bg1"/>
                </a:solidFill>
                <a:latin typeface="Segoe UI" panose="020B0502040204020203" pitchFamily="34" charset="0"/>
                <a:ea typeface="Lato" charset="0"/>
                <a:cs typeface="Segoe UI" panose="020B0502040204020203" pitchFamily="34" charset="0"/>
              </a:rPr>
              <a:t>Pensionszusagen</a:t>
            </a:r>
            <a:r>
              <a:rPr lang="en-US" sz="2800" b="1" dirty="0">
                <a:solidFill>
                  <a:schemeClr val="bg1"/>
                </a:solidFill>
                <a:latin typeface="Segoe UI" panose="020B0502040204020203" pitchFamily="34" charset="0"/>
                <a:ea typeface="Lato" charset="0"/>
                <a:cs typeface="Segoe UI" panose="020B0502040204020203" pitchFamily="34" charset="0"/>
              </a:rPr>
              <a:t> </a:t>
            </a:r>
            <a:r>
              <a:rPr lang="en-US" sz="2800" b="1" dirty="0" err="1">
                <a:solidFill>
                  <a:schemeClr val="bg1"/>
                </a:solidFill>
                <a:latin typeface="Segoe UI" panose="020B0502040204020203" pitchFamily="34" charset="0"/>
                <a:ea typeface="Lato" charset="0"/>
                <a:cs typeface="Segoe UI" panose="020B0502040204020203" pitchFamily="34" charset="0"/>
              </a:rPr>
              <a:t>gegenüber</a:t>
            </a:r>
            <a:r>
              <a:rPr lang="en-US" sz="2800" b="1" dirty="0">
                <a:solidFill>
                  <a:schemeClr val="bg1"/>
                </a:solidFill>
                <a:latin typeface="Segoe UI" panose="020B0502040204020203" pitchFamily="34" charset="0"/>
                <a:ea typeface="Lato" charset="0"/>
                <a:cs typeface="Segoe UI" panose="020B0502040204020203" pitchFamily="34" charset="0"/>
              </a:rPr>
              <a:t> </a:t>
            </a:r>
            <a:r>
              <a:rPr lang="en-US" sz="2800" b="1" dirty="0" err="1">
                <a:solidFill>
                  <a:schemeClr val="bg1"/>
                </a:solidFill>
                <a:latin typeface="Segoe UI" panose="020B0502040204020203" pitchFamily="34" charset="0"/>
                <a:ea typeface="Lato" charset="0"/>
                <a:cs typeface="Segoe UI" panose="020B0502040204020203" pitchFamily="34" charset="0"/>
              </a:rPr>
              <a:t>Gesellschaftern</a:t>
            </a:r>
            <a:r>
              <a:rPr lang="en-US" sz="2800" b="1" dirty="0">
                <a:solidFill>
                  <a:schemeClr val="bg1"/>
                </a:solidFill>
                <a:latin typeface="Segoe UI" panose="020B0502040204020203" pitchFamily="34" charset="0"/>
                <a:ea typeface="Lato" charset="0"/>
                <a:cs typeface="Segoe UI" panose="020B0502040204020203" pitchFamily="34" charset="0"/>
              </a:rPr>
              <a:t> </a:t>
            </a:r>
            <a:r>
              <a:rPr lang="en-US" sz="2800" b="1" dirty="0" err="1">
                <a:solidFill>
                  <a:schemeClr val="bg1"/>
                </a:solidFill>
                <a:latin typeface="Segoe UI" panose="020B0502040204020203" pitchFamily="34" charset="0"/>
                <a:ea typeface="Lato" charset="0"/>
                <a:cs typeface="Segoe UI" panose="020B0502040204020203" pitchFamily="34" charset="0"/>
              </a:rPr>
              <a:t>beim</a:t>
            </a:r>
            <a:r>
              <a:rPr lang="en-US" sz="2800" b="1" dirty="0">
                <a:solidFill>
                  <a:schemeClr val="bg1"/>
                </a:solidFill>
                <a:latin typeface="Segoe UI" panose="020B0502040204020203" pitchFamily="34" charset="0"/>
                <a:ea typeface="Lato" charset="0"/>
                <a:cs typeface="Segoe UI" panose="020B0502040204020203" pitchFamily="34" charset="0"/>
              </a:rPr>
              <a:t> </a:t>
            </a:r>
            <a:r>
              <a:rPr lang="en-US" sz="2800" b="1" dirty="0" err="1">
                <a:solidFill>
                  <a:schemeClr val="bg1"/>
                </a:solidFill>
                <a:latin typeface="Segoe UI" panose="020B0502040204020203" pitchFamily="34" charset="0"/>
                <a:ea typeface="Lato" charset="0"/>
                <a:cs typeface="Segoe UI" panose="020B0502040204020203" pitchFamily="34" charset="0"/>
              </a:rPr>
              <a:t>Unternehmensverkauf</a:t>
            </a:r>
            <a:r>
              <a:rPr lang="en-US" sz="2800" b="1" dirty="0">
                <a:solidFill>
                  <a:schemeClr val="bg1"/>
                </a:solidFill>
                <a:latin typeface="Segoe UI" panose="020B0502040204020203" pitchFamily="34" charset="0"/>
                <a:ea typeface="Lato" charset="0"/>
                <a:cs typeface="Segoe UI" panose="020B0502040204020203" pitchFamily="34" charset="0"/>
              </a:rPr>
              <a:t> </a:t>
            </a:r>
          </a:p>
        </p:txBody>
      </p:sp>
      <p:sp>
        <p:nvSpPr>
          <p:cNvPr id="8" name="7 CuadroTexto"/>
          <p:cNvSpPr txBox="1"/>
          <p:nvPr/>
        </p:nvSpPr>
        <p:spPr>
          <a:xfrm>
            <a:off x="1436081" y="4289965"/>
            <a:ext cx="5385504" cy="1618392"/>
          </a:xfrm>
          <a:prstGeom prst="rect">
            <a:avLst/>
          </a:prstGeom>
          <a:noFill/>
          <a:ln>
            <a:solidFill>
              <a:schemeClr val="tx1"/>
            </a:solidFill>
          </a:ln>
        </p:spPr>
        <p:txBody>
          <a:bodyPr wrap="square">
            <a:spAutoFit/>
          </a:bodyPr>
          <a:lstStyle/>
          <a:p>
            <a:pPr>
              <a:lnSpc>
                <a:spcPts val="1733"/>
              </a:lnSpc>
              <a:defRPr/>
            </a:pPr>
            <a:r>
              <a:rPr lang="en-US" sz="1100" b="1" dirty="0" err="1">
                <a:solidFill>
                  <a:schemeClr val="bg1"/>
                </a:solidFill>
                <a:latin typeface="Segoe UI" panose="020B0502040204020203" pitchFamily="34" charset="0"/>
                <a:ea typeface="Lato" charset="0"/>
                <a:cs typeface="Segoe UI" panose="020B0502040204020203" pitchFamily="34" charset="0"/>
              </a:rPr>
              <a:t>Haftungsausschluss</a:t>
            </a:r>
            <a:endParaRPr lang="en-US" sz="1100" b="1" dirty="0">
              <a:solidFill>
                <a:schemeClr val="bg1"/>
              </a:solidFill>
              <a:latin typeface="Segoe UI" panose="020B0502040204020203" pitchFamily="34" charset="0"/>
              <a:ea typeface="Lato" charset="0"/>
              <a:cs typeface="Segoe UI" panose="020B0502040204020203" pitchFamily="34" charset="0"/>
            </a:endParaRPr>
          </a:p>
          <a:p>
            <a:pPr>
              <a:lnSpc>
                <a:spcPts val="1733"/>
              </a:lnSpc>
              <a:defRPr/>
            </a:pPr>
            <a:r>
              <a:rPr lang="en-US" sz="1100" dirty="0" err="1">
                <a:solidFill>
                  <a:schemeClr val="bg1"/>
                </a:solidFill>
                <a:latin typeface="Segoe UI" panose="020B0502040204020203" pitchFamily="34" charset="0"/>
                <a:ea typeface="Lato" charset="0"/>
                <a:cs typeface="Segoe UI" panose="020B0502040204020203" pitchFamily="34" charset="0"/>
              </a:rPr>
              <a:t>Bei</a:t>
            </a:r>
            <a:r>
              <a:rPr lang="en-US" sz="1100" dirty="0">
                <a:solidFill>
                  <a:schemeClr val="bg1"/>
                </a:solidFill>
                <a:latin typeface="Segoe UI" panose="020B0502040204020203" pitchFamily="34" charset="0"/>
                <a:ea typeface="Lato" charset="0"/>
                <a:cs typeface="Segoe UI" panose="020B0502040204020203" pitchFamily="34" charset="0"/>
              </a:rPr>
              <a:t> der </a:t>
            </a:r>
            <a:r>
              <a:rPr lang="en-US" sz="1100" dirty="0" err="1">
                <a:solidFill>
                  <a:schemeClr val="bg1"/>
                </a:solidFill>
                <a:latin typeface="Segoe UI" panose="020B0502040204020203" pitchFamily="34" charset="0"/>
                <a:ea typeface="Lato" charset="0"/>
                <a:cs typeface="Segoe UI" panose="020B0502040204020203" pitchFamily="34" charset="0"/>
              </a:rPr>
              <a:t>Erstellung</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dieser</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Präsentation</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ist</a:t>
            </a:r>
            <a:r>
              <a:rPr lang="en-US" sz="1100" dirty="0">
                <a:solidFill>
                  <a:schemeClr val="bg1"/>
                </a:solidFill>
                <a:latin typeface="Segoe UI" panose="020B0502040204020203" pitchFamily="34" charset="0"/>
                <a:ea typeface="Lato" charset="0"/>
                <a:cs typeface="Segoe UI" panose="020B0502040204020203" pitchFamily="34" charset="0"/>
              </a:rPr>
              <a:t> die </a:t>
            </a:r>
            <a:r>
              <a:rPr lang="en-US" sz="1100" dirty="0" err="1">
                <a:solidFill>
                  <a:schemeClr val="bg1"/>
                </a:solidFill>
                <a:latin typeface="Segoe UI" panose="020B0502040204020203" pitchFamily="34" charset="0"/>
                <a:ea typeface="Lato" charset="0"/>
                <a:cs typeface="Segoe UI" panose="020B0502040204020203" pitchFamily="34" charset="0"/>
              </a:rPr>
              <a:t>größtmögliche</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Sorgfalt</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verwendet</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worden</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dennoch</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bleiben</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Änderungen</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Irrtümer</a:t>
            </a:r>
            <a:r>
              <a:rPr lang="en-US" sz="1100" dirty="0">
                <a:solidFill>
                  <a:schemeClr val="bg1"/>
                </a:solidFill>
                <a:latin typeface="Segoe UI" panose="020B0502040204020203" pitchFamily="34" charset="0"/>
                <a:ea typeface="Lato" charset="0"/>
                <a:cs typeface="Segoe UI" panose="020B0502040204020203" pitchFamily="34" charset="0"/>
              </a:rPr>
              <a:t> und </a:t>
            </a:r>
            <a:r>
              <a:rPr lang="en-US" sz="1100" dirty="0" err="1">
                <a:solidFill>
                  <a:schemeClr val="bg1"/>
                </a:solidFill>
                <a:latin typeface="Segoe UI" panose="020B0502040204020203" pitchFamily="34" charset="0"/>
                <a:ea typeface="Lato" charset="0"/>
                <a:cs typeface="Segoe UI" panose="020B0502040204020203" pitchFamily="34" charset="0"/>
              </a:rPr>
              <a:t>Auslassungen</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vorbehalten</a:t>
            </a:r>
            <a:r>
              <a:rPr lang="en-US" sz="1100" dirty="0">
                <a:solidFill>
                  <a:schemeClr val="bg1"/>
                </a:solidFill>
                <a:latin typeface="Segoe UI" panose="020B0502040204020203" pitchFamily="34" charset="0"/>
                <a:ea typeface="Lato" charset="0"/>
                <a:cs typeface="Segoe UI" panose="020B0502040204020203" pitchFamily="34" charset="0"/>
              </a:rPr>
              <a:t>. Die in </a:t>
            </a:r>
            <a:r>
              <a:rPr lang="en-US" sz="1100" dirty="0" err="1">
                <a:solidFill>
                  <a:schemeClr val="bg1"/>
                </a:solidFill>
                <a:latin typeface="Segoe UI" panose="020B0502040204020203" pitchFamily="34" charset="0"/>
                <a:ea typeface="Lato" charset="0"/>
                <a:cs typeface="Segoe UI" panose="020B0502040204020203" pitchFamily="34" charset="0"/>
              </a:rPr>
              <a:t>diesem</a:t>
            </a:r>
            <a:r>
              <a:rPr lang="en-US" sz="1100" dirty="0">
                <a:solidFill>
                  <a:schemeClr val="bg1"/>
                </a:solidFill>
                <a:latin typeface="Segoe UI" panose="020B0502040204020203" pitchFamily="34" charset="0"/>
                <a:ea typeface="Lato" charset="0"/>
                <a:cs typeface="Segoe UI" panose="020B0502040204020203" pitchFamily="34" charset="0"/>
              </a:rPr>
              <a:t> Webinar </a:t>
            </a:r>
            <a:r>
              <a:rPr lang="en-US" sz="1100" dirty="0" err="1">
                <a:solidFill>
                  <a:schemeClr val="bg1"/>
                </a:solidFill>
                <a:latin typeface="Segoe UI" panose="020B0502040204020203" pitchFamily="34" charset="0"/>
                <a:ea typeface="Lato" charset="0"/>
                <a:cs typeface="Segoe UI" panose="020B0502040204020203" pitchFamily="34" charset="0"/>
              </a:rPr>
              <a:t>vermittelten</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allgemeinen</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Informationen</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können</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eine</a:t>
            </a:r>
            <a:r>
              <a:rPr lang="en-US" sz="1100" dirty="0">
                <a:solidFill>
                  <a:schemeClr val="bg1"/>
                </a:solidFill>
                <a:latin typeface="Segoe UI" panose="020B0502040204020203" pitchFamily="34" charset="0"/>
                <a:ea typeface="Lato" charset="0"/>
                <a:cs typeface="Segoe UI" panose="020B0502040204020203" pitchFamily="34" charset="0"/>
              </a:rPr>
              <a:t> auf den </a:t>
            </a:r>
            <a:r>
              <a:rPr lang="en-US" sz="1100" dirty="0" err="1">
                <a:solidFill>
                  <a:schemeClr val="bg1"/>
                </a:solidFill>
                <a:latin typeface="Segoe UI" panose="020B0502040204020203" pitchFamily="34" charset="0"/>
                <a:ea typeface="Lato" charset="0"/>
                <a:cs typeface="Segoe UI" panose="020B0502040204020203" pitchFamily="34" charset="0"/>
              </a:rPr>
              <a:t>konkreten</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Einzelfall</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gerichtete</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Beratung</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nicht</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ersetzen</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Durch</a:t>
            </a:r>
            <a:r>
              <a:rPr lang="en-US" sz="1100" dirty="0">
                <a:solidFill>
                  <a:schemeClr val="bg1"/>
                </a:solidFill>
                <a:latin typeface="Segoe UI" panose="020B0502040204020203" pitchFamily="34" charset="0"/>
                <a:ea typeface="Lato" charset="0"/>
                <a:cs typeface="Segoe UI" panose="020B0502040204020203" pitchFamily="34" charset="0"/>
              </a:rPr>
              <a:t> die </a:t>
            </a:r>
            <a:r>
              <a:rPr lang="en-US" sz="1100" dirty="0" err="1">
                <a:solidFill>
                  <a:schemeClr val="bg1"/>
                </a:solidFill>
                <a:latin typeface="Segoe UI" panose="020B0502040204020203" pitchFamily="34" charset="0"/>
                <a:ea typeface="Lato" charset="0"/>
                <a:cs typeface="Segoe UI" panose="020B0502040204020203" pitchFamily="34" charset="0"/>
              </a:rPr>
              <a:t>Überlassung</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dieser</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Präsentation</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wird</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weder</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eine</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vertragliche</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Bindung</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noch</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eine</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sonstige</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Haftung</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gegenüber</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dem</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Empfänger</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oder</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Dritten</a:t>
            </a:r>
            <a:r>
              <a:rPr lang="en-US" sz="1100" dirty="0">
                <a:solidFill>
                  <a:schemeClr val="bg1"/>
                </a:solidFill>
                <a:latin typeface="Segoe UI" panose="020B0502040204020203" pitchFamily="34" charset="0"/>
                <a:ea typeface="Lato" charset="0"/>
                <a:cs typeface="Segoe UI" panose="020B0502040204020203" pitchFamily="34" charset="0"/>
              </a:rPr>
              <a:t> </a:t>
            </a:r>
            <a:r>
              <a:rPr lang="en-US" sz="1100" dirty="0" err="1">
                <a:solidFill>
                  <a:schemeClr val="bg1"/>
                </a:solidFill>
                <a:latin typeface="Segoe UI" panose="020B0502040204020203" pitchFamily="34" charset="0"/>
                <a:ea typeface="Lato" charset="0"/>
                <a:cs typeface="Segoe UI" panose="020B0502040204020203" pitchFamily="34" charset="0"/>
              </a:rPr>
              <a:t>begründet</a:t>
            </a:r>
            <a:r>
              <a:rPr lang="en-US" sz="1100" dirty="0">
                <a:solidFill>
                  <a:schemeClr val="bg1"/>
                </a:solidFill>
                <a:latin typeface="Segoe UI" panose="020B0502040204020203" pitchFamily="34" charset="0"/>
                <a:ea typeface="Lato" charset="0"/>
                <a:cs typeface="Segoe UI" panose="020B0502040204020203" pitchFamily="34" charset="0"/>
              </a:rPr>
              <a:t>.</a:t>
            </a:r>
          </a:p>
        </p:txBody>
      </p:sp>
      <p:pic>
        <p:nvPicPr>
          <p:cNvPr id="4" name="Audiio_RogerStark_EmotionalIntelligence_ALittlePeace_Inst">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968375" y="3331797"/>
            <a:ext cx="609600" cy="609600"/>
          </a:xfrm>
          <a:prstGeom prst="rect">
            <a:avLst/>
          </a:prstGeom>
        </p:spPr>
      </p:pic>
      <p:pic>
        <p:nvPicPr>
          <p:cNvPr id="14" name="Grafik 13">
            <a:extLst>
              <a:ext uri="{FF2B5EF4-FFF2-40B4-BE49-F238E27FC236}">
                <a16:creationId xmlns:a16="http://schemas.microsoft.com/office/drawing/2014/main" id="{F70C0C27-38E5-8085-3582-B90A3A9A697E}"/>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9965404" y="0"/>
            <a:ext cx="1837393" cy="1058246"/>
          </a:xfrm>
          <a:prstGeom prst="rect">
            <a:avLst/>
          </a:prstGeom>
        </p:spPr>
      </p:pic>
    </p:spTree>
    <p:extLst>
      <p:ext uri="{BB962C8B-B14F-4D97-AF65-F5344CB8AC3E}">
        <p14:creationId xmlns:p14="http://schemas.microsoft.com/office/powerpoint/2010/main" val="1039548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88162"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repeatCount="indefinite" fill="hold" display="0">
                  <p:stCondLst>
                    <p:cond delay="indefinite"/>
                  </p:stCondLst>
                  <p:endCondLst>
                    <p:cond evt="onStopAudio" delay="0">
                      <p:tgtEl>
                        <p:sldTgt/>
                      </p:tgtEl>
                    </p:cond>
                  </p:endCondLst>
                </p:cTn>
                <p:tgtEl>
                  <p:spTgt spid="4"/>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585F5-1196-A619-B873-946F55FBBF50}"/>
            </a:ext>
          </a:extLst>
        </p:cNvPr>
        <p:cNvGrpSpPr/>
        <p:nvPr/>
      </p:nvGrpSpPr>
      <p:grpSpPr>
        <a:xfrm>
          <a:off x="0" y="0"/>
          <a:ext cx="0" cy="0"/>
          <a:chOff x="0" y="0"/>
          <a:chExt cx="0" cy="0"/>
        </a:xfrm>
      </p:grpSpPr>
      <p:sp>
        <p:nvSpPr>
          <p:cNvPr id="79" name="Foliennummernplatzhalter 2">
            <a:extLst>
              <a:ext uri="{FF2B5EF4-FFF2-40B4-BE49-F238E27FC236}">
                <a16:creationId xmlns:a16="http://schemas.microsoft.com/office/drawing/2014/main" id="{8386B80E-8D20-6CB7-EA42-CCADF1D88F18}"/>
              </a:ext>
            </a:extLst>
          </p:cNvPr>
          <p:cNvSpPr txBox="1">
            <a:spLocks/>
          </p:cNvSpPr>
          <p:nvPr/>
        </p:nvSpPr>
        <p:spPr>
          <a:xfrm>
            <a:off x="1666096" y="7110490"/>
            <a:ext cx="283900" cy="151200"/>
          </a:xfrm>
          <a:prstGeom prst="rect">
            <a:avLst/>
          </a:prstGeom>
        </p:spPr>
        <p:txBody>
          <a:bodyPr vert="horz" wrap="none" lIns="91440" tIns="45720" rIns="0" bIns="45720" rtlCol="0" anchor="ctr"/>
          <a:lstStyle>
            <a:defPPr>
              <a:defRPr lang="de-DE"/>
            </a:defPPr>
            <a:lvl1pPr algn="l" rtl="0" fontAlgn="base">
              <a:lnSpc>
                <a:spcPct val="90000"/>
              </a:lnSpc>
              <a:spcBef>
                <a:spcPct val="0"/>
              </a:spcBef>
              <a:spcAft>
                <a:spcPct val="0"/>
              </a:spcAft>
              <a:defRPr sz="900" kern="1200">
                <a:solidFill>
                  <a:schemeClr val="tx1"/>
                </a:solidFill>
                <a:latin typeface="Arial" panose="020B0604020202020204" pitchFamily="34" charset="0"/>
                <a:ea typeface="+mn-ea"/>
                <a:cs typeface="+mn-cs"/>
              </a:defRPr>
            </a:lvl1pPr>
            <a:lvl2pPr marL="457200" algn="l" rtl="0" fontAlgn="base">
              <a:lnSpc>
                <a:spcPct val="90000"/>
              </a:lnSpc>
              <a:spcBef>
                <a:spcPct val="0"/>
              </a:spcBef>
              <a:spcAft>
                <a:spcPct val="0"/>
              </a:spcAft>
              <a:defRPr sz="1400" kern="1200">
                <a:solidFill>
                  <a:schemeClr val="tx1"/>
                </a:solidFill>
                <a:latin typeface="Arial" charset="0"/>
                <a:ea typeface="+mn-ea"/>
                <a:cs typeface="+mn-cs"/>
              </a:defRPr>
            </a:lvl2pPr>
            <a:lvl3pPr marL="914400" algn="l" rtl="0" fontAlgn="base">
              <a:lnSpc>
                <a:spcPct val="90000"/>
              </a:lnSpc>
              <a:spcBef>
                <a:spcPct val="0"/>
              </a:spcBef>
              <a:spcAft>
                <a:spcPct val="0"/>
              </a:spcAft>
              <a:defRPr sz="1400" kern="1200">
                <a:solidFill>
                  <a:schemeClr val="tx1"/>
                </a:solidFill>
                <a:latin typeface="Arial" charset="0"/>
                <a:ea typeface="+mn-ea"/>
                <a:cs typeface="+mn-cs"/>
              </a:defRPr>
            </a:lvl3pPr>
            <a:lvl4pPr marL="1371600" algn="l" rtl="0" fontAlgn="base">
              <a:lnSpc>
                <a:spcPct val="90000"/>
              </a:lnSpc>
              <a:spcBef>
                <a:spcPct val="0"/>
              </a:spcBef>
              <a:spcAft>
                <a:spcPct val="0"/>
              </a:spcAft>
              <a:defRPr sz="1400" kern="1200">
                <a:solidFill>
                  <a:schemeClr val="tx1"/>
                </a:solidFill>
                <a:latin typeface="Arial" charset="0"/>
                <a:ea typeface="+mn-ea"/>
                <a:cs typeface="+mn-cs"/>
              </a:defRPr>
            </a:lvl4pPr>
            <a:lvl5pPr marL="1828800" algn="l" rtl="0" fontAlgn="base">
              <a:lnSpc>
                <a:spcPct val="90000"/>
              </a:lnSpc>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de-DE" sz="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1" name="7 CuadroTexto">
            <a:extLst>
              <a:ext uri="{FF2B5EF4-FFF2-40B4-BE49-F238E27FC236}">
                <a16:creationId xmlns:a16="http://schemas.microsoft.com/office/drawing/2014/main" id="{5B44439E-4C0A-A810-7633-3EE2977D3F65}"/>
              </a:ext>
            </a:extLst>
          </p:cNvPr>
          <p:cNvSpPr txBox="1"/>
          <p:nvPr/>
        </p:nvSpPr>
        <p:spPr>
          <a:xfrm>
            <a:off x="1487314" y="2879367"/>
            <a:ext cx="8647285" cy="2868349"/>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r>
              <a:rPr lang="de-DE" dirty="0">
                <a:latin typeface="Segoe UI" panose="020B0502040204020203" pitchFamily="34" charset="0"/>
                <a:cs typeface="Segoe UI" panose="020B0502040204020203" pitchFamily="34" charset="0"/>
              </a:rPr>
              <a:t>Handelsrechtlicher Rückstellungswert</a:t>
            </a:r>
          </a:p>
          <a:p>
            <a:pPr marL="285750" indent="-285750">
              <a:lnSpc>
                <a:spcPct val="150000"/>
              </a:lnSpc>
              <a:buFont typeface="Arial" panose="020B0604020202020204" pitchFamily="34" charset="0"/>
              <a:buChar char="•"/>
            </a:pPr>
            <a:r>
              <a:rPr lang="de-DE" dirty="0">
                <a:latin typeface="Segoe UI" panose="020B0502040204020203" pitchFamily="34" charset="0"/>
                <a:cs typeface="Segoe UI" panose="020B0502040204020203" pitchFamily="34" charset="0"/>
              </a:rPr>
              <a:t>Steuerrechtlicher Rückstellungswert </a:t>
            </a:r>
          </a:p>
          <a:p>
            <a:pPr marL="285750" indent="-285750">
              <a:lnSpc>
                <a:spcPct val="150000"/>
              </a:lnSpc>
              <a:buFont typeface="Arial" panose="020B0604020202020204" pitchFamily="34" charset="0"/>
              <a:buChar char="•"/>
            </a:pPr>
            <a:r>
              <a:rPr lang="de-DE" dirty="0">
                <a:latin typeface="Segoe UI" panose="020B0502040204020203" pitchFamily="34" charset="0"/>
                <a:cs typeface="Segoe UI" panose="020B0502040204020203" pitchFamily="34" charset="0"/>
              </a:rPr>
              <a:t>„Verkehrswert“ / „fiktive Einmalprämie“ </a:t>
            </a:r>
          </a:p>
          <a:p>
            <a:pPr marL="285750" indent="-285750">
              <a:lnSpc>
                <a:spcPct val="150000"/>
              </a:lnSpc>
              <a:buFont typeface="Arial" panose="020B0604020202020204" pitchFamily="34" charset="0"/>
              <a:buChar char="•"/>
            </a:pPr>
            <a:r>
              <a:rPr lang="de-DE" dirty="0">
                <a:latin typeface="Segoe UI" panose="020B0502040204020203" pitchFamily="34" charset="0"/>
                <a:cs typeface="Segoe UI" panose="020B0502040204020203" pitchFamily="34" charset="0"/>
              </a:rPr>
              <a:t>(Höhe Rückdeckungsversicherung) </a:t>
            </a:r>
          </a:p>
          <a:p>
            <a:pPr marL="285750" indent="-285750">
              <a:lnSpc>
                <a:spcPct val="150000"/>
              </a:lnSpc>
              <a:buFont typeface="Arial" panose="020B0604020202020204" pitchFamily="34" charset="0"/>
              <a:buChar char="•"/>
            </a:pPr>
            <a:endParaRPr lang="de-DE" dirty="0">
              <a:latin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endParaRPr lang="de-DE" dirty="0">
              <a:latin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endParaRPr lang="de-DE" sz="1400" dirty="0">
              <a:solidFill>
                <a:schemeClr val="accent6">
                  <a:lumMod val="75000"/>
                </a:schemeClr>
              </a:solidFill>
              <a:latin typeface="Segoe UI" panose="020B0502040204020203" pitchFamily="34" charset="0"/>
              <a:cs typeface="Segoe UI" panose="020B0502040204020203" pitchFamily="34" charset="0"/>
            </a:endParaRPr>
          </a:p>
        </p:txBody>
      </p:sp>
      <p:sp>
        <p:nvSpPr>
          <p:cNvPr id="2" name="TextBox 1">
            <a:extLst>
              <a:ext uri="{FF2B5EF4-FFF2-40B4-BE49-F238E27FC236}">
                <a16:creationId xmlns:a16="http://schemas.microsoft.com/office/drawing/2014/main" id="{83FBF3E6-40B8-D814-FDFA-E3B7F97E0193}"/>
              </a:ext>
            </a:extLst>
          </p:cNvPr>
          <p:cNvSpPr txBox="1"/>
          <p:nvPr/>
        </p:nvSpPr>
        <p:spPr>
          <a:xfrm>
            <a:off x="550127" y="1084321"/>
            <a:ext cx="11255297" cy="584775"/>
          </a:xfrm>
          <a:prstGeom prst="rect">
            <a:avLst/>
          </a:prstGeom>
          <a:noFill/>
        </p:spPr>
        <p:txBody>
          <a:bodyPr wrap="square" rtlCol="0">
            <a:spAutoFit/>
          </a:bodyPr>
          <a:lstStyle/>
          <a:p>
            <a:pPr algn="ct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Die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richtig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Bewert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der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Pensionsverpflichtung</a:t>
            </a:r>
            <a:endPar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endParaRPr>
          </a:p>
        </p:txBody>
      </p:sp>
    </p:spTree>
    <p:extLst>
      <p:ext uri="{BB962C8B-B14F-4D97-AF65-F5344CB8AC3E}">
        <p14:creationId xmlns:p14="http://schemas.microsoft.com/office/powerpoint/2010/main" val="4127125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
                                            <p:txEl>
                                              <p:pRg st="0" end="0"/>
                                            </p:txEl>
                                          </p:spTgt>
                                        </p:tgtEl>
                                        <p:attrNameLst>
                                          <p:attrName>style.visibility</p:attrName>
                                        </p:attrNameLst>
                                      </p:cBhvr>
                                      <p:to>
                                        <p:strVal val="visible"/>
                                      </p:to>
                                    </p:set>
                                    <p:animEffect transition="in" filter="fade">
                                      <p:cBhvr>
                                        <p:cTn id="7" dur="500"/>
                                        <p:tgtEl>
                                          <p:spTgt spid="5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1">
                                            <p:txEl>
                                              <p:pRg st="1" end="1"/>
                                            </p:txEl>
                                          </p:spTgt>
                                        </p:tgtEl>
                                        <p:attrNameLst>
                                          <p:attrName>style.visibility</p:attrName>
                                        </p:attrNameLst>
                                      </p:cBhvr>
                                      <p:to>
                                        <p:strVal val="visible"/>
                                      </p:to>
                                    </p:set>
                                    <p:animEffect transition="in" filter="fade">
                                      <p:cBhvr>
                                        <p:cTn id="12" dur="500"/>
                                        <p:tgtEl>
                                          <p:spTgt spid="5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1">
                                            <p:txEl>
                                              <p:pRg st="2" end="2"/>
                                            </p:txEl>
                                          </p:spTgt>
                                        </p:tgtEl>
                                        <p:attrNameLst>
                                          <p:attrName>style.visibility</p:attrName>
                                        </p:attrNameLst>
                                      </p:cBhvr>
                                      <p:to>
                                        <p:strVal val="visible"/>
                                      </p:to>
                                    </p:set>
                                    <p:animEffect transition="in" filter="fade">
                                      <p:cBhvr>
                                        <p:cTn id="17" dur="500"/>
                                        <p:tgtEl>
                                          <p:spTgt spid="5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1">
                                            <p:txEl>
                                              <p:pRg st="3" end="3"/>
                                            </p:txEl>
                                          </p:spTgt>
                                        </p:tgtEl>
                                        <p:attrNameLst>
                                          <p:attrName>style.visibility</p:attrName>
                                        </p:attrNameLst>
                                      </p:cBhvr>
                                      <p:to>
                                        <p:strVal val="visible"/>
                                      </p:to>
                                    </p:set>
                                    <p:animEffect transition="in" filter="fade">
                                      <p:cBhvr>
                                        <p:cTn id="22" dur="500"/>
                                        <p:tgtEl>
                                          <p:spTgt spid="5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1A9CFC-96DC-C216-557D-7A84CF54D061}"/>
            </a:ext>
          </a:extLst>
        </p:cNvPr>
        <p:cNvGrpSpPr/>
        <p:nvPr/>
      </p:nvGrpSpPr>
      <p:grpSpPr>
        <a:xfrm>
          <a:off x="0" y="0"/>
          <a:ext cx="0" cy="0"/>
          <a:chOff x="0" y="0"/>
          <a:chExt cx="0" cy="0"/>
        </a:xfrm>
      </p:grpSpPr>
      <p:sp>
        <p:nvSpPr>
          <p:cNvPr id="79" name="Foliennummernplatzhalter 2">
            <a:extLst>
              <a:ext uri="{FF2B5EF4-FFF2-40B4-BE49-F238E27FC236}">
                <a16:creationId xmlns:a16="http://schemas.microsoft.com/office/drawing/2014/main" id="{834A90B2-E414-9B4E-C8F6-F7080CE7883D}"/>
              </a:ext>
            </a:extLst>
          </p:cNvPr>
          <p:cNvSpPr txBox="1">
            <a:spLocks/>
          </p:cNvSpPr>
          <p:nvPr/>
        </p:nvSpPr>
        <p:spPr>
          <a:xfrm>
            <a:off x="1666096" y="7110490"/>
            <a:ext cx="283900" cy="151200"/>
          </a:xfrm>
          <a:prstGeom prst="rect">
            <a:avLst/>
          </a:prstGeom>
        </p:spPr>
        <p:txBody>
          <a:bodyPr vert="horz" wrap="none" lIns="91440" tIns="45720" rIns="0" bIns="45720" rtlCol="0" anchor="ctr"/>
          <a:lstStyle>
            <a:defPPr>
              <a:defRPr lang="de-DE"/>
            </a:defPPr>
            <a:lvl1pPr algn="l" rtl="0" fontAlgn="base">
              <a:lnSpc>
                <a:spcPct val="90000"/>
              </a:lnSpc>
              <a:spcBef>
                <a:spcPct val="0"/>
              </a:spcBef>
              <a:spcAft>
                <a:spcPct val="0"/>
              </a:spcAft>
              <a:defRPr sz="900" kern="1200">
                <a:solidFill>
                  <a:schemeClr val="tx1"/>
                </a:solidFill>
                <a:latin typeface="Arial" panose="020B0604020202020204" pitchFamily="34" charset="0"/>
                <a:ea typeface="+mn-ea"/>
                <a:cs typeface="+mn-cs"/>
              </a:defRPr>
            </a:lvl1pPr>
            <a:lvl2pPr marL="457200" algn="l" rtl="0" fontAlgn="base">
              <a:lnSpc>
                <a:spcPct val="90000"/>
              </a:lnSpc>
              <a:spcBef>
                <a:spcPct val="0"/>
              </a:spcBef>
              <a:spcAft>
                <a:spcPct val="0"/>
              </a:spcAft>
              <a:defRPr sz="1400" kern="1200">
                <a:solidFill>
                  <a:schemeClr val="tx1"/>
                </a:solidFill>
                <a:latin typeface="Arial" charset="0"/>
                <a:ea typeface="+mn-ea"/>
                <a:cs typeface="+mn-cs"/>
              </a:defRPr>
            </a:lvl2pPr>
            <a:lvl3pPr marL="914400" algn="l" rtl="0" fontAlgn="base">
              <a:lnSpc>
                <a:spcPct val="90000"/>
              </a:lnSpc>
              <a:spcBef>
                <a:spcPct val="0"/>
              </a:spcBef>
              <a:spcAft>
                <a:spcPct val="0"/>
              </a:spcAft>
              <a:defRPr sz="1400" kern="1200">
                <a:solidFill>
                  <a:schemeClr val="tx1"/>
                </a:solidFill>
                <a:latin typeface="Arial" charset="0"/>
                <a:ea typeface="+mn-ea"/>
                <a:cs typeface="+mn-cs"/>
              </a:defRPr>
            </a:lvl3pPr>
            <a:lvl4pPr marL="1371600" algn="l" rtl="0" fontAlgn="base">
              <a:lnSpc>
                <a:spcPct val="90000"/>
              </a:lnSpc>
              <a:spcBef>
                <a:spcPct val="0"/>
              </a:spcBef>
              <a:spcAft>
                <a:spcPct val="0"/>
              </a:spcAft>
              <a:defRPr sz="1400" kern="1200">
                <a:solidFill>
                  <a:schemeClr val="tx1"/>
                </a:solidFill>
                <a:latin typeface="Arial" charset="0"/>
                <a:ea typeface="+mn-ea"/>
                <a:cs typeface="+mn-cs"/>
              </a:defRPr>
            </a:lvl4pPr>
            <a:lvl5pPr marL="1828800" algn="l" rtl="0" fontAlgn="base">
              <a:lnSpc>
                <a:spcPct val="90000"/>
              </a:lnSpc>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de-DE" sz="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1" name="7 CuadroTexto">
            <a:extLst>
              <a:ext uri="{FF2B5EF4-FFF2-40B4-BE49-F238E27FC236}">
                <a16:creationId xmlns:a16="http://schemas.microsoft.com/office/drawing/2014/main" id="{01FA9799-D9EA-E351-E3D6-45ABB08231C1}"/>
              </a:ext>
            </a:extLst>
          </p:cNvPr>
          <p:cNvSpPr txBox="1"/>
          <p:nvPr/>
        </p:nvSpPr>
        <p:spPr>
          <a:xfrm>
            <a:off x="1487314" y="2879367"/>
            <a:ext cx="8647285" cy="2868349"/>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r>
              <a:rPr lang="de-DE" dirty="0">
                <a:latin typeface="Segoe UI" panose="020B0502040204020203" pitchFamily="34" charset="0"/>
                <a:cs typeface="Segoe UI" panose="020B0502040204020203" pitchFamily="34" charset="0"/>
              </a:rPr>
              <a:t>Handelsrechtlicher Rückstellungswert		 </a:t>
            </a:r>
            <a:r>
              <a:rPr lang="de-DE" i="1" dirty="0">
                <a:latin typeface="Segoe UI" panose="020B0502040204020203" pitchFamily="34" charset="0"/>
                <a:cs typeface="Segoe UI" panose="020B0502040204020203" pitchFamily="34" charset="0"/>
              </a:rPr>
              <a:t>T€ 500</a:t>
            </a:r>
          </a:p>
          <a:p>
            <a:pPr marL="285750" indent="-285750">
              <a:lnSpc>
                <a:spcPct val="150000"/>
              </a:lnSpc>
              <a:buFont typeface="Arial" panose="020B0604020202020204" pitchFamily="34" charset="0"/>
              <a:buChar char="•"/>
            </a:pPr>
            <a:r>
              <a:rPr lang="de-DE" dirty="0">
                <a:latin typeface="Segoe UI" panose="020B0502040204020203" pitchFamily="34" charset="0"/>
                <a:cs typeface="Segoe UI" panose="020B0502040204020203" pitchFamily="34" charset="0"/>
              </a:rPr>
              <a:t>Steuerrechtlicher Rückstellungswert 		 </a:t>
            </a:r>
            <a:r>
              <a:rPr lang="de-DE" i="1" dirty="0">
                <a:latin typeface="Segoe UI" panose="020B0502040204020203" pitchFamily="34" charset="0"/>
                <a:cs typeface="Segoe UI" panose="020B0502040204020203" pitchFamily="34" charset="0"/>
              </a:rPr>
              <a:t>T€ 380</a:t>
            </a:r>
          </a:p>
          <a:p>
            <a:pPr marL="285750" indent="-285750">
              <a:lnSpc>
                <a:spcPct val="150000"/>
              </a:lnSpc>
              <a:buFont typeface="Arial" panose="020B0604020202020204" pitchFamily="34" charset="0"/>
              <a:buChar char="•"/>
            </a:pPr>
            <a:r>
              <a:rPr lang="de-DE" dirty="0">
                <a:latin typeface="Segoe UI" panose="020B0502040204020203" pitchFamily="34" charset="0"/>
                <a:cs typeface="Segoe UI" panose="020B0502040204020203" pitchFamily="34" charset="0"/>
              </a:rPr>
              <a:t>„Verkehrswert“ / „fiktive Einmalprämie“ 		 </a:t>
            </a:r>
            <a:r>
              <a:rPr lang="de-DE" i="1" dirty="0">
                <a:latin typeface="Segoe UI" panose="020B0502040204020203" pitchFamily="34" charset="0"/>
                <a:cs typeface="Segoe UI" panose="020B0502040204020203" pitchFamily="34" charset="0"/>
              </a:rPr>
              <a:t>T€ 950</a:t>
            </a:r>
          </a:p>
          <a:p>
            <a:pPr marL="285750" indent="-285750">
              <a:lnSpc>
                <a:spcPct val="150000"/>
              </a:lnSpc>
              <a:buFont typeface="Arial" panose="020B0604020202020204" pitchFamily="34" charset="0"/>
              <a:buChar char="•"/>
            </a:pPr>
            <a:r>
              <a:rPr lang="de-DE" dirty="0">
                <a:latin typeface="Segoe UI" panose="020B0502040204020203" pitchFamily="34" charset="0"/>
                <a:cs typeface="Segoe UI" panose="020B0502040204020203" pitchFamily="34" charset="0"/>
              </a:rPr>
              <a:t>(Höhe Rückdeckungsversicherung) 		(</a:t>
            </a:r>
            <a:r>
              <a:rPr lang="de-DE" i="1" dirty="0">
                <a:latin typeface="Segoe UI" panose="020B0502040204020203" pitchFamily="34" charset="0"/>
                <a:cs typeface="Segoe UI" panose="020B0502040204020203" pitchFamily="34" charset="0"/>
              </a:rPr>
              <a:t>T€ 550)</a:t>
            </a:r>
          </a:p>
          <a:p>
            <a:pPr marL="285750" indent="-285750">
              <a:lnSpc>
                <a:spcPct val="150000"/>
              </a:lnSpc>
              <a:buFont typeface="Arial" panose="020B0604020202020204" pitchFamily="34" charset="0"/>
              <a:buChar char="•"/>
            </a:pPr>
            <a:endParaRPr lang="de-DE" dirty="0">
              <a:latin typeface="Segoe UI" panose="020B0502040204020203" pitchFamily="34" charset="0"/>
              <a:cs typeface="Segoe UI" panose="020B0502040204020203" pitchFamily="34" charset="0"/>
            </a:endParaRPr>
          </a:p>
          <a:p>
            <a:pPr>
              <a:lnSpc>
                <a:spcPct val="150000"/>
              </a:lnSpc>
            </a:pPr>
            <a:r>
              <a:rPr lang="de-DE" i="1" dirty="0">
                <a:latin typeface="Segoe UI" panose="020B0502040204020203" pitchFamily="34" charset="0"/>
                <a:cs typeface="Segoe UI" panose="020B0502040204020203" pitchFamily="34" charset="0"/>
                <a:sym typeface="Wingdings" panose="05000000000000000000" pitchFamily="2" charset="2"/>
              </a:rPr>
              <a:t>					 </a:t>
            </a:r>
            <a:r>
              <a:rPr lang="de-DE" i="1" dirty="0">
                <a:latin typeface="Segoe UI" panose="020B0502040204020203" pitchFamily="34" charset="0"/>
                <a:cs typeface="Segoe UI" panose="020B0502040204020203" pitchFamily="34" charset="0"/>
              </a:rPr>
              <a:t>stille Last </a:t>
            </a:r>
            <a:r>
              <a:rPr lang="de-DE" i="1" dirty="0" err="1">
                <a:latin typeface="Segoe UI" panose="020B0502040204020203" pitchFamily="34" charset="0"/>
                <a:cs typeface="Segoe UI" panose="020B0502040204020203" pitchFamily="34" charset="0"/>
              </a:rPr>
              <a:t>i.H.v</a:t>
            </a:r>
            <a:r>
              <a:rPr lang="de-DE" i="1" dirty="0">
                <a:latin typeface="Segoe UI" panose="020B0502040204020203" pitchFamily="34" charset="0"/>
                <a:cs typeface="Segoe UI" panose="020B0502040204020203" pitchFamily="34" charset="0"/>
              </a:rPr>
              <a:t>. T€ 400</a:t>
            </a:r>
          </a:p>
          <a:p>
            <a:pPr marL="285750" indent="-285750">
              <a:lnSpc>
                <a:spcPct val="150000"/>
              </a:lnSpc>
              <a:buFont typeface="Arial" panose="020B0604020202020204" pitchFamily="34" charset="0"/>
              <a:buChar char="•"/>
            </a:pPr>
            <a:endParaRPr lang="de-DE" sz="1400" dirty="0">
              <a:solidFill>
                <a:schemeClr val="accent6">
                  <a:lumMod val="75000"/>
                </a:schemeClr>
              </a:solidFill>
              <a:latin typeface="Segoe UI" panose="020B0502040204020203" pitchFamily="34" charset="0"/>
              <a:cs typeface="Segoe UI" panose="020B0502040204020203" pitchFamily="34" charset="0"/>
            </a:endParaRPr>
          </a:p>
        </p:txBody>
      </p:sp>
      <p:sp>
        <p:nvSpPr>
          <p:cNvPr id="2" name="TextBox 1">
            <a:extLst>
              <a:ext uri="{FF2B5EF4-FFF2-40B4-BE49-F238E27FC236}">
                <a16:creationId xmlns:a16="http://schemas.microsoft.com/office/drawing/2014/main" id="{3B5AE5DF-3F35-D40E-006A-5BAA15AA60A1}"/>
              </a:ext>
            </a:extLst>
          </p:cNvPr>
          <p:cNvSpPr txBox="1"/>
          <p:nvPr/>
        </p:nvSpPr>
        <p:spPr>
          <a:xfrm>
            <a:off x="550127" y="1084321"/>
            <a:ext cx="11255297" cy="584775"/>
          </a:xfrm>
          <a:prstGeom prst="rect">
            <a:avLst/>
          </a:prstGeom>
          <a:noFill/>
        </p:spPr>
        <p:txBody>
          <a:bodyPr wrap="square" rtlCol="0">
            <a:spAutoFit/>
          </a:bodyPr>
          <a:lstStyle/>
          <a:p>
            <a:pPr algn="ct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Die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richtig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Bewert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der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Pensionsverpflichtung</a:t>
            </a:r>
            <a:endPar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endParaRPr>
          </a:p>
        </p:txBody>
      </p:sp>
      <p:sp>
        <p:nvSpPr>
          <p:cNvPr id="3" name="7 CuadroTexto">
            <a:extLst>
              <a:ext uri="{FF2B5EF4-FFF2-40B4-BE49-F238E27FC236}">
                <a16:creationId xmlns:a16="http://schemas.microsoft.com/office/drawing/2014/main" id="{E558AAA0-E593-46F9-518C-07D50B216C10}"/>
              </a:ext>
            </a:extLst>
          </p:cNvPr>
          <p:cNvSpPr txBox="1"/>
          <p:nvPr/>
        </p:nvSpPr>
        <p:spPr>
          <a:xfrm rot="2503709">
            <a:off x="8029589" y="2945459"/>
            <a:ext cx="3418606" cy="2037353"/>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i="1" dirty="0">
                <a:latin typeface="Segoe UI" panose="020B0502040204020203" pitchFamily="34" charset="0"/>
                <a:cs typeface="Segoe UI" panose="020B0502040204020203" pitchFamily="34" charset="0"/>
              </a:rPr>
              <a:t>Exemplarische Relationen „typischer Fall“ kleinerer Zusage an Gesellschafter-Geschäftsführer </a:t>
            </a:r>
            <a:endParaRPr lang="de-DE" dirty="0">
              <a:latin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endParaRPr lang="de-DE" sz="1400" dirty="0">
              <a:solidFill>
                <a:schemeClr val="accent6">
                  <a:lumMod val="7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75015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
                                            <p:txEl>
                                              <p:pRg st="0" end="0"/>
                                            </p:txEl>
                                          </p:spTgt>
                                        </p:tgtEl>
                                        <p:attrNameLst>
                                          <p:attrName>style.visibility</p:attrName>
                                        </p:attrNameLst>
                                      </p:cBhvr>
                                      <p:to>
                                        <p:strVal val="visible"/>
                                      </p:to>
                                    </p:set>
                                    <p:animEffect transition="in" filter="fade">
                                      <p:cBhvr>
                                        <p:cTn id="7" dur="500"/>
                                        <p:tgtEl>
                                          <p:spTgt spid="5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1">
                                            <p:txEl>
                                              <p:pRg st="1" end="1"/>
                                            </p:txEl>
                                          </p:spTgt>
                                        </p:tgtEl>
                                        <p:attrNameLst>
                                          <p:attrName>style.visibility</p:attrName>
                                        </p:attrNameLst>
                                      </p:cBhvr>
                                      <p:to>
                                        <p:strVal val="visible"/>
                                      </p:to>
                                    </p:set>
                                    <p:animEffect transition="in" filter="fade">
                                      <p:cBhvr>
                                        <p:cTn id="12" dur="500"/>
                                        <p:tgtEl>
                                          <p:spTgt spid="5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1">
                                            <p:txEl>
                                              <p:pRg st="2" end="2"/>
                                            </p:txEl>
                                          </p:spTgt>
                                        </p:tgtEl>
                                        <p:attrNameLst>
                                          <p:attrName>style.visibility</p:attrName>
                                        </p:attrNameLst>
                                      </p:cBhvr>
                                      <p:to>
                                        <p:strVal val="visible"/>
                                      </p:to>
                                    </p:set>
                                    <p:animEffect transition="in" filter="fade">
                                      <p:cBhvr>
                                        <p:cTn id="17" dur="500"/>
                                        <p:tgtEl>
                                          <p:spTgt spid="5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1">
                                            <p:txEl>
                                              <p:pRg st="3" end="3"/>
                                            </p:txEl>
                                          </p:spTgt>
                                        </p:tgtEl>
                                        <p:attrNameLst>
                                          <p:attrName>style.visibility</p:attrName>
                                        </p:attrNameLst>
                                      </p:cBhvr>
                                      <p:to>
                                        <p:strVal val="visible"/>
                                      </p:to>
                                    </p:set>
                                    <p:animEffect transition="in" filter="fade">
                                      <p:cBhvr>
                                        <p:cTn id="22" dur="500"/>
                                        <p:tgtEl>
                                          <p:spTgt spid="5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1">
                                            <p:txEl>
                                              <p:pRg st="5" end="5"/>
                                            </p:txEl>
                                          </p:spTgt>
                                        </p:tgtEl>
                                        <p:attrNameLst>
                                          <p:attrName>style.visibility</p:attrName>
                                        </p:attrNameLst>
                                      </p:cBhvr>
                                      <p:to>
                                        <p:strVal val="visible"/>
                                      </p:to>
                                    </p:set>
                                    <p:animEffect transition="in" filter="fade">
                                      <p:cBhvr>
                                        <p:cTn id="27" dur="500"/>
                                        <p:tgtEl>
                                          <p:spTgt spid="51">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0" end="0"/>
                                            </p:txEl>
                                          </p:spTgt>
                                        </p:tgtEl>
                                        <p:attrNameLst>
                                          <p:attrName>style.visibility</p:attrName>
                                        </p:attrNameLst>
                                      </p:cBhvr>
                                      <p:to>
                                        <p:strVal val="visible"/>
                                      </p:to>
                                    </p:set>
                                    <p:animEffect transition="in" filter="fade">
                                      <p:cBhvr>
                                        <p:cTn id="32"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BDEEE0-BF51-785F-91C7-72AEBE5843BA}"/>
            </a:ext>
          </a:extLst>
        </p:cNvPr>
        <p:cNvGrpSpPr/>
        <p:nvPr/>
      </p:nvGrpSpPr>
      <p:grpSpPr>
        <a:xfrm>
          <a:off x="0" y="0"/>
          <a:ext cx="0" cy="0"/>
          <a:chOff x="0" y="0"/>
          <a:chExt cx="0" cy="0"/>
        </a:xfrm>
      </p:grpSpPr>
      <p:sp>
        <p:nvSpPr>
          <p:cNvPr id="6" name="TextBox 18">
            <a:extLst>
              <a:ext uri="{FF2B5EF4-FFF2-40B4-BE49-F238E27FC236}">
                <a16:creationId xmlns:a16="http://schemas.microsoft.com/office/drawing/2014/main" id="{708F8A51-DC67-62F8-3F22-5209BCC6F834}"/>
              </a:ext>
            </a:extLst>
          </p:cNvPr>
          <p:cNvSpPr txBox="1"/>
          <p:nvPr/>
        </p:nvSpPr>
        <p:spPr>
          <a:xfrm>
            <a:off x="896416" y="1021332"/>
            <a:ext cx="5513909" cy="584775"/>
          </a:xfrm>
          <a:prstGeom prst="rect">
            <a:avLst/>
          </a:prstGeom>
          <a:noFill/>
        </p:spPr>
        <p:txBody>
          <a:bodyPr wrap="square" rtlCol="0">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genda</a:t>
            </a:r>
          </a:p>
        </p:txBody>
      </p:sp>
      <p:graphicFrame>
        <p:nvGraphicFramePr>
          <p:cNvPr id="8" name="OT_AgendaTable">
            <a:extLst>
              <a:ext uri="{FF2B5EF4-FFF2-40B4-BE49-F238E27FC236}">
                <a16:creationId xmlns:a16="http://schemas.microsoft.com/office/drawing/2014/main" id="{51DA201B-DE22-DF42-0FA0-EE6CEC15153D}"/>
              </a:ext>
            </a:extLst>
          </p:cNvPr>
          <p:cNvGraphicFramePr>
            <a:graphicFrameLocks noGrp="1"/>
          </p:cNvGraphicFramePr>
          <p:nvPr>
            <p:custDataLst>
              <p:tags r:id="rId1"/>
            </p:custDataLst>
            <p:extLst>
              <p:ext uri="{D42A27DB-BD31-4B8C-83A1-F6EECF244321}">
                <p14:modId xmlns:p14="http://schemas.microsoft.com/office/powerpoint/2010/main" val="916170543"/>
              </p:ext>
            </p:extLst>
          </p:nvPr>
        </p:nvGraphicFramePr>
        <p:xfrm>
          <a:off x="909551" y="1923728"/>
          <a:ext cx="9907131" cy="3386664"/>
        </p:xfrm>
        <a:graphic>
          <a:graphicData uri="http://schemas.openxmlformats.org/drawingml/2006/table">
            <a:tbl>
              <a:tblPr firstRow="1" bandRow="1">
                <a:tableStyleId>{2D5ABB26-0587-4C30-8999-92F81FD0307C}</a:tableStyleId>
              </a:tblPr>
              <a:tblGrid>
                <a:gridCol w="9907131">
                  <a:extLst>
                    <a:ext uri="{9D8B030D-6E8A-4147-A177-3AD203B41FA5}">
                      <a16:colId xmlns:a16="http://schemas.microsoft.com/office/drawing/2014/main" val="3315970368"/>
                    </a:ext>
                  </a:extLst>
                </a:gridCol>
              </a:tblGrid>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kern="1200" dirty="0">
                          <a:solidFill>
                            <a:schemeClr val="tx1"/>
                          </a:solidFill>
                          <a:latin typeface="Segoe UI" panose="020B0502040204020203" pitchFamily="34" charset="0"/>
                          <a:ea typeface="+mn-ea"/>
                          <a:cs typeface="Segoe UI" panose="020B0502040204020203" pitchFamily="34" charset="0"/>
                        </a:rPr>
                        <a:t>Bedeutung von Pensionszusagen beim Unternehmensverkauf </a:t>
                      </a:r>
                    </a:p>
                  </a:txBody>
                  <a:tcPr anchor="ctr">
                    <a:noFill/>
                  </a:tcPr>
                </a:tc>
                <a:extLst>
                  <a:ext uri="{0D108BD9-81ED-4DB2-BD59-A6C34878D82A}">
                    <a16:rowId xmlns:a16="http://schemas.microsoft.com/office/drawing/2014/main" val="3130548413"/>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Die „richtige“ Bewertung der Pensionsverpflichtung </a:t>
                      </a:r>
                    </a:p>
                  </a:txBody>
                  <a:tcPr anchor="ctr">
                    <a:noFill/>
                  </a:tcPr>
                </a:tc>
                <a:extLst>
                  <a:ext uri="{0D108BD9-81ED-4DB2-BD59-A6C34878D82A}">
                    <a16:rowId xmlns:a16="http://schemas.microsoft.com/office/drawing/2014/main" val="3106507590"/>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1" dirty="0">
                          <a:solidFill>
                            <a:schemeClr val="tx1"/>
                          </a:solidFill>
                          <a:latin typeface="Segoe UI" panose="020B0502040204020203" pitchFamily="34" charset="0"/>
                          <a:cs typeface="Segoe UI" panose="020B0502040204020203" pitchFamily="34" charset="0"/>
                        </a:rPr>
                        <a:t>Folgen des vollständigen Verzichtes auf eine Pensionszusage </a:t>
                      </a:r>
                    </a:p>
                  </a:txBody>
                  <a:tcPr anchor="ctr">
                    <a:solidFill>
                      <a:srgbClr val="FBBA00"/>
                    </a:solidFill>
                  </a:tcPr>
                </a:tc>
                <a:extLst>
                  <a:ext uri="{0D108BD9-81ED-4DB2-BD59-A6C34878D82A}">
                    <a16:rowId xmlns:a16="http://schemas.microsoft.com/office/drawing/2014/main" val="541056519"/>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mögliche Lösung: </a:t>
                      </a:r>
                      <a:r>
                        <a:rPr lang="de-DE" sz="1800" b="0" dirty="0" err="1">
                          <a:solidFill>
                            <a:schemeClr val="tx1"/>
                          </a:solidFill>
                          <a:latin typeface="Segoe UI" panose="020B0502040204020203" pitchFamily="34" charset="0"/>
                          <a:cs typeface="Segoe UI" panose="020B0502040204020203" pitchFamily="34" charset="0"/>
                        </a:rPr>
                        <a:t>asset</a:t>
                      </a:r>
                      <a:r>
                        <a:rPr lang="de-DE" sz="1800" b="0" dirty="0">
                          <a:solidFill>
                            <a:schemeClr val="tx1"/>
                          </a:solidFill>
                          <a:latin typeface="Segoe UI" panose="020B0502040204020203" pitchFamily="34" charset="0"/>
                          <a:cs typeface="Segoe UI" panose="020B0502040204020203" pitchFamily="34" charset="0"/>
                        </a:rPr>
                        <a:t>-deal statt share-deal </a:t>
                      </a:r>
                    </a:p>
                  </a:txBody>
                  <a:tcPr anchor="ctr">
                    <a:noFill/>
                  </a:tcPr>
                </a:tc>
                <a:extLst>
                  <a:ext uri="{0D108BD9-81ED-4DB2-BD59-A6C34878D82A}">
                    <a16:rowId xmlns:a16="http://schemas.microsoft.com/office/drawing/2014/main" val="1873190663"/>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echte“ Auslagerung auf einen externen Versorgungsträger  </a:t>
                      </a:r>
                    </a:p>
                  </a:txBody>
                  <a:tcPr anchor="ctr">
                    <a:noFill/>
                  </a:tcPr>
                </a:tc>
                <a:extLst>
                  <a:ext uri="{0D108BD9-81ED-4DB2-BD59-A6C34878D82A}">
                    <a16:rowId xmlns:a16="http://schemas.microsoft.com/office/drawing/2014/main" val="847646844"/>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Übertragung auf eine „Rentner-GmbH“ / „Holding-Struktur“ </a:t>
                      </a:r>
                    </a:p>
                  </a:txBody>
                  <a:tcPr anchor="ctr">
                    <a:solidFill>
                      <a:schemeClr val="bg1"/>
                    </a:solidFill>
                  </a:tcPr>
                </a:tc>
                <a:extLst>
                  <a:ext uri="{0D108BD9-81ED-4DB2-BD59-A6C34878D82A}">
                    <a16:rowId xmlns:a16="http://schemas.microsoft.com/office/drawing/2014/main" val="353730752"/>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Teilverzicht / Verzicht auf den „</a:t>
                      </a:r>
                      <a:r>
                        <a:rPr lang="de-DE" sz="1800" b="0" dirty="0" err="1">
                          <a:solidFill>
                            <a:schemeClr val="tx1"/>
                          </a:solidFill>
                          <a:latin typeface="Segoe UI" panose="020B0502040204020203" pitchFamily="34" charset="0"/>
                          <a:cs typeface="Segoe UI" panose="020B0502040204020203" pitchFamily="34" charset="0"/>
                        </a:rPr>
                        <a:t>future</a:t>
                      </a:r>
                      <a:r>
                        <a:rPr lang="de-DE" sz="1800" b="0" dirty="0">
                          <a:solidFill>
                            <a:schemeClr val="tx1"/>
                          </a:solidFill>
                          <a:latin typeface="Segoe UI" panose="020B0502040204020203" pitchFamily="34" charset="0"/>
                          <a:cs typeface="Segoe UI" panose="020B0502040204020203" pitchFamily="34" charset="0"/>
                        </a:rPr>
                        <a:t>-service“ </a:t>
                      </a:r>
                    </a:p>
                  </a:txBody>
                  <a:tcPr anchor="ctr">
                    <a:solidFill>
                      <a:schemeClr val="bg1"/>
                    </a:solidFill>
                  </a:tcPr>
                </a:tc>
                <a:extLst>
                  <a:ext uri="{0D108BD9-81ED-4DB2-BD59-A6C34878D82A}">
                    <a16:rowId xmlns:a16="http://schemas.microsoft.com/office/drawing/2014/main" val="3390285067"/>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Dringende Empfehlung: Vereinbarung der </a:t>
                      </a:r>
                      <a:r>
                        <a:rPr lang="de-DE" sz="1800" b="0" i="1" dirty="0">
                          <a:solidFill>
                            <a:schemeClr val="tx1"/>
                          </a:solidFill>
                          <a:latin typeface="Segoe UI" panose="020B0502040204020203" pitchFamily="34" charset="0"/>
                          <a:cs typeface="Segoe UI" panose="020B0502040204020203" pitchFamily="34" charset="0"/>
                        </a:rPr>
                        <a:t>Möglichkeit</a:t>
                      </a:r>
                      <a:r>
                        <a:rPr lang="de-DE" sz="1800" b="0" dirty="0">
                          <a:solidFill>
                            <a:schemeClr val="tx1"/>
                          </a:solidFill>
                          <a:latin typeface="Segoe UI" panose="020B0502040204020203" pitchFamily="34" charset="0"/>
                          <a:cs typeface="Segoe UI" panose="020B0502040204020203" pitchFamily="34" charset="0"/>
                        </a:rPr>
                        <a:t> einer einmaligen Kapitalabfindung </a:t>
                      </a:r>
                    </a:p>
                  </a:txBody>
                  <a:tcPr anchor="ctr">
                    <a:solidFill>
                      <a:schemeClr val="bg1"/>
                    </a:solidFill>
                  </a:tcPr>
                </a:tc>
                <a:extLst>
                  <a:ext uri="{0D108BD9-81ED-4DB2-BD59-A6C34878D82A}">
                    <a16:rowId xmlns:a16="http://schemas.microsoft.com/office/drawing/2014/main" val="2691783076"/>
                  </a:ext>
                </a:extLst>
              </a:tr>
            </a:tbl>
          </a:graphicData>
        </a:graphic>
      </p:graphicFrame>
    </p:spTree>
    <p:extLst>
      <p:ext uri="{BB962C8B-B14F-4D97-AF65-F5344CB8AC3E}">
        <p14:creationId xmlns:p14="http://schemas.microsoft.com/office/powerpoint/2010/main" val="357628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3CDFF2-8711-B8EF-E106-FEECD22031C0}"/>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243C49E6-5E41-07D9-42CF-BCC870F4E090}"/>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die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Pensionszusag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p>
        </p:txBody>
      </p:sp>
      <p:grpSp>
        <p:nvGrpSpPr>
          <p:cNvPr id="3" name="Gruppieren 2">
            <a:extLst>
              <a:ext uri="{FF2B5EF4-FFF2-40B4-BE49-F238E27FC236}">
                <a16:creationId xmlns:a16="http://schemas.microsoft.com/office/drawing/2014/main" id="{5DA593E1-5685-3063-2CA1-7945CCA91FBE}"/>
              </a:ext>
            </a:extLst>
          </p:cNvPr>
          <p:cNvGrpSpPr/>
          <p:nvPr/>
        </p:nvGrpSpPr>
        <p:grpSpPr>
          <a:xfrm>
            <a:off x="2082811" y="2756377"/>
            <a:ext cx="1405717" cy="3985406"/>
            <a:chOff x="2462777" y="1904484"/>
            <a:chExt cx="1405717" cy="3985406"/>
          </a:xfrm>
        </p:grpSpPr>
        <p:grpSp>
          <p:nvGrpSpPr>
            <p:cNvPr id="102" name="Group 138">
              <a:extLst>
                <a:ext uri="{FF2B5EF4-FFF2-40B4-BE49-F238E27FC236}">
                  <a16:creationId xmlns:a16="http://schemas.microsoft.com/office/drawing/2014/main" id="{A68F5270-894C-90BB-053A-99191AF1EC4E}"/>
                </a:ext>
              </a:extLst>
            </p:cNvPr>
            <p:cNvGrpSpPr/>
            <p:nvPr/>
          </p:nvGrpSpPr>
          <p:grpSpPr>
            <a:xfrm>
              <a:off x="2934725" y="1904484"/>
              <a:ext cx="461820" cy="461820"/>
              <a:chOff x="1236144" y="1532568"/>
              <a:chExt cx="834324" cy="834324"/>
            </a:xfrm>
          </p:grpSpPr>
          <p:sp>
            <p:nvSpPr>
              <p:cNvPr id="103" name="Freeform: Shape 139">
                <a:extLst>
                  <a:ext uri="{FF2B5EF4-FFF2-40B4-BE49-F238E27FC236}">
                    <a16:creationId xmlns:a16="http://schemas.microsoft.com/office/drawing/2014/main" id="{F036C2F7-A4A6-DBFE-FD53-526A8DEFEA8E}"/>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4" name="Freeform: Shape 140">
                <a:extLst>
                  <a:ext uri="{FF2B5EF4-FFF2-40B4-BE49-F238E27FC236}">
                    <a16:creationId xmlns:a16="http://schemas.microsoft.com/office/drawing/2014/main" id="{9D7F6033-E632-58BC-2659-6BD4CAFAAE2B}"/>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5" name="Oval 157">
                <a:extLst>
                  <a:ext uri="{FF2B5EF4-FFF2-40B4-BE49-F238E27FC236}">
                    <a16:creationId xmlns:a16="http://schemas.microsoft.com/office/drawing/2014/main" id="{026DA2B3-7A12-709F-089F-288F3B0051CD}"/>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06" name="Freeform: Shape 142">
                <a:extLst>
                  <a:ext uri="{FF2B5EF4-FFF2-40B4-BE49-F238E27FC236}">
                    <a16:creationId xmlns:a16="http://schemas.microsoft.com/office/drawing/2014/main" id="{FCC04341-7230-5E6F-4B9A-1465BE03FBB6}"/>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2" name="Gruppieren 1">
              <a:extLst>
                <a:ext uri="{FF2B5EF4-FFF2-40B4-BE49-F238E27FC236}">
                  <a16:creationId xmlns:a16="http://schemas.microsoft.com/office/drawing/2014/main" id="{3B61933A-DF28-5DD4-7D6C-4774AD8BDE16}"/>
                </a:ext>
              </a:extLst>
            </p:cNvPr>
            <p:cNvGrpSpPr/>
            <p:nvPr/>
          </p:nvGrpSpPr>
          <p:grpSpPr>
            <a:xfrm>
              <a:off x="2462777" y="2379623"/>
              <a:ext cx="1405717" cy="3510267"/>
              <a:chOff x="2462777" y="2379623"/>
              <a:chExt cx="1405717" cy="3510267"/>
            </a:xfrm>
          </p:grpSpPr>
          <p:sp>
            <p:nvSpPr>
              <p:cNvPr id="100" name="Textfeld 99">
                <a:extLst>
                  <a:ext uri="{FF2B5EF4-FFF2-40B4-BE49-F238E27FC236}">
                    <a16:creationId xmlns:a16="http://schemas.microsoft.com/office/drawing/2014/main" id="{759E6307-0E4A-1745-0741-EE634D94BEBC}"/>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Gesellschafter </a:t>
                </a:r>
              </a:p>
            </p:txBody>
          </p:sp>
          <p:sp>
            <p:nvSpPr>
              <p:cNvPr id="107" name="Pfeil nach unten 91">
                <a:extLst>
                  <a:ext uri="{FF2B5EF4-FFF2-40B4-BE49-F238E27FC236}">
                    <a16:creationId xmlns:a16="http://schemas.microsoft.com/office/drawing/2014/main" id="{D9E9C4E2-1C38-813E-200A-FCFB3BC8E491}"/>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nvGrpSpPr>
              <p:cNvPr id="108" name="Group 138">
                <a:extLst>
                  <a:ext uri="{FF2B5EF4-FFF2-40B4-BE49-F238E27FC236}">
                    <a16:creationId xmlns:a16="http://schemas.microsoft.com/office/drawing/2014/main" id="{6EDB22BF-F537-58EC-FB08-7063B9926D6F}"/>
                  </a:ext>
                </a:extLst>
              </p:cNvPr>
              <p:cNvGrpSpPr/>
              <p:nvPr/>
            </p:nvGrpSpPr>
            <p:grpSpPr>
              <a:xfrm>
                <a:off x="3158154" y="3941620"/>
                <a:ext cx="3200" cy="4053"/>
                <a:chOff x="1650415" y="1908302"/>
                <a:chExt cx="5782" cy="7322"/>
              </a:xfrm>
            </p:grpSpPr>
            <p:sp>
              <p:nvSpPr>
                <p:cNvPr id="109" name="Freeform: Shape 139">
                  <a:extLst>
                    <a:ext uri="{FF2B5EF4-FFF2-40B4-BE49-F238E27FC236}">
                      <a16:creationId xmlns:a16="http://schemas.microsoft.com/office/drawing/2014/main" id="{F4DAB9CA-D6F6-3CA2-B39D-BE8FB2FD14B9}"/>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0" name="Freeform: Shape 140">
                  <a:extLst>
                    <a:ext uri="{FF2B5EF4-FFF2-40B4-BE49-F238E27FC236}">
                      <a16:creationId xmlns:a16="http://schemas.microsoft.com/office/drawing/2014/main" id="{47959317-1146-7DE6-A487-90E2E3DC5D67}"/>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sp>
            <p:nvSpPr>
              <p:cNvPr id="115" name="Freeform: Shape 139">
                <a:extLst>
                  <a:ext uri="{FF2B5EF4-FFF2-40B4-BE49-F238E27FC236}">
                    <a16:creationId xmlns:a16="http://schemas.microsoft.com/office/drawing/2014/main" id="{7D3D87BE-5423-85E2-B7C1-F5E8E2696739}"/>
                  </a:ext>
                </a:extLst>
              </p:cNvPr>
              <p:cNvSpPr/>
              <p:nvPr/>
            </p:nvSpPr>
            <p:spPr bwMode="auto">
              <a:xfrm>
                <a:off x="3163895" y="5885837"/>
                <a:ext cx="3200" cy="4053"/>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sp>
        <p:nvSpPr>
          <p:cNvPr id="4" name="Rechteck 3">
            <a:extLst>
              <a:ext uri="{FF2B5EF4-FFF2-40B4-BE49-F238E27FC236}">
                <a16:creationId xmlns:a16="http://schemas.microsoft.com/office/drawing/2014/main" id="{402B1A20-62D4-A658-C486-DDDDDD26543F}"/>
              </a:ext>
            </a:extLst>
          </p:cNvPr>
          <p:cNvSpPr/>
          <p:nvPr/>
        </p:nvSpPr>
        <p:spPr>
          <a:xfrm>
            <a:off x="2239845" y="4597606"/>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GmbH</a:t>
            </a:r>
          </a:p>
        </p:txBody>
      </p:sp>
      <p:sp>
        <p:nvSpPr>
          <p:cNvPr id="9" name="Textplatzhalter 1">
            <a:extLst>
              <a:ext uri="{FF2B5EF4-FFF2-40B4-BE49-F238E27FC236}">
                <a16:creationId xmlns:a16="http://schemas.microsoft.com/office/drawing/2014/main" id="{E4EC7BC2-7338-6920-3A1C-958F4C3E5E0F}"/>
              </a:ext>
            </a:extLst>
          </p:cNvPr>
          <p:cNvSpPr txBox="1">
            <a:spLocks/>
          </p:cNvSpPr>
          <p:nvPr/>
        </p:nvSpPr>
        <p:spPr>
          <a:xfrm>
            <a:off x="555070" y="4676103"/>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0" name="Textplatzhalter 1">
            <a:extLst>
              <a:ext uri="{FF2B5EF4-FFF2-40B4-BE49-F238E27FC236}">
                <a16:creationId xmlns:a16="http://schemas.microsoft.com/office/drawing/2014/main" id="{44A31EE1-24B6-DF13-6DDF-2428888E3816}"/>
              </a:ext>
            </a:extLst>
          </p:cNvPr>
          <p:cNvSpPr txBox="1">
            <a:spLocks/>
          </p:cNvSpPr>
          <p:nvPr/>
        </p:nvSpPr>
        <p:spPr>
          <a:xfrm>
            <a:off x="555070" y="2759052"/>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9611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DFF4F-27F1-0549-B965-EF05B8CDB8B1}"/>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A98A544A-1B64-4F92-AF00-6C0E75C069A4}"/>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die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Pensionszusag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p>
        </p:txBody>
      </p:sp>
      <p:grpSp>
        <p:nvGrpSpPr>
          <p:cNvPr id="3" name="Gruppieren 2">
            <a:extLst>
              <a:ext uri="{FF2B5EF4-FFF2-40B4-BE49-F238E27FC236}">
                <a16:creationId xmlns:a16="http://schemas.microsoft.com/office/drawing/2014/main" id="{8FA4AAA5-9987-1C54-1706-B8FE6CB06DB4}"/>
              </a:ext>
            </a:extLst>
          </p:cNvPr>
          <p:cNvGrpSpPr/>
          <p:nvPr/>
        </p:nvGrpSpPr>
        <p:grpSpPr>
          <a:xfrm>
            <a:off x="2082811" y="2756377"/>
            <a:ext cx="1405717" cy="3985406"/>
            <a:chOff x="2462777" y="1904484"/>
            <a:chExt cx="1405717" cy="3985406"/>
          </a:xfrm>
        </p:grpSpPr>
        <p:grpSp>
          <p:nvGrpSpPr>
            <p:cNvPr id="102" name="Group 138">
              <a:extLst>
                <a:ext uri="{FF2B5EF4-FFF2-40B4-BE49-F238E27FC236}">
                  <a16:creationId xmlns:a16="http://schemas.microsoft.com/office/drawing/2014/main" id="{52B9A7A0-15D6-5E1E-F8CA-2169A3895425}"/>
                </a:ext>
              </a:extLst>
            </p:cNvPr>
            <p:cNvGrpSpPr/>
            <p:nvPr/>
          </p:nvGrpSpPr>
          <p:grpSpPr>
            <a:xfrm>
              <a:off x="2934725" y="1904484"/>
              <a:ext cx="461820" cy="461820"/>
              <a:chOff x="1236144" y="1532568"/>
              <a:chExt cx="834324" cy="834324"/>
            </a:xfrm>
          </p:grpSpPr>
          <p:sp>
            <p:nvSpPr>
              <p:cNvPr id="103" name="Freeform: Shape 139">
                <a:extLst>
                  <a:ext uri="{FF2B5EF4-FFF2-40B4-BE49-F238E27FC236}">
                    <a16:creationId xmlns:a16="http://schemas.microsoft.com/office/drawing/2014/main" id="{2F84ED47-A911-83CE-9BC8-57E511834B23}"/>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4" name="Freeform: Shape 140">
                <a:extLst>
                  <a:ext uri="{FF2B5EF4-FFF2-40B4-BE49-F238E27FC236}">
                    <a16:creationId xmlns:a16="http://schemas.microsoft.com/office/drawing/2014/main" id="{E23859F3-C8D8-3F30-A9BB-1B8C41B2B5D0}"/>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5" name="Oval 157">
                <a:extLst>
                  <a:ext uri="{FF2B5EF4-FFF2-40B4-BE49-F238E27FC236}">
                    <a16:creationId xmlns:a16="http://schemas.microsoft.com/office/drawing/2014/main" id="{B77CE7E3-48ED-2C96-C734-931899F1708E}"/>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06" name="Freeform: Shape 142">
                <a:extLst>
                  <a:ext uri="{FF2B5EF4-FFF2-40B4-BE49-F238E27FC236}">
                    <a16:creationId xmlns:a16="http://schemas.microsoft.com/office/drawing/2014/main" id="{DBD9B9B8-DB66-A026-75A4-3C962D300E9C}"/>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2" name="Gruppieren 1">
              <a:extLst>
                <a:ext uri="{FF2B5EF4-FFF2-40B4-BE49-F238E27FC236}">
                  <a16:creationId xmlns:a16="http://schemas.microsoft.com/office/drawing/2014/main" id="{D281FD0E-1DFB-517B-001C-515480117DA2}"/>
                </a:ext>
              </a:extLst>
            </p:cNvPr>
            <p:cNvGrpSpPr/>
            <p:nvPr/>
          </p:nvGrpSpPr>
          <p:grpSpPr>
            <a:xfrm>
              <a:off x="2462777" y="2379623"/>
              <a:ext cx="1405717" cy="3510267"/>
              <a:chOff x="2462777" y="2379623"/>
              <a:chExt cx="1405717" cy="3510267"/>
            </a:xfrm>
          </p:grpSpPr>
          <p:sp>
            <p:nvSpPr>
              <p:cNvPr id="100" name="Textfeld 99">
                <a:extLst>
                  <a:ext uri="{FF2B5EF4-FFF2-40B4-BE49-F238E27FC236}">
                    <a16:creationId xmlns:a16="http://schemas.microsoft.com/office/drawing/2014/main" id="{02599440-7BF3-6B95-24B2-ACF81129F4EB}"/>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Gesellschafter </a:t>
                </a:r>
              </a:p>
            </p:txBody>
          </p:sp>
          <p:sp>
            <p:nvSpPr>
              <p:cNvPr id="107" name="Pfeil nach unten 91">
                <a:extLst>
                  <a:ext uri="{FF2B5EF4-FFF2-40B4-BE49-F238E27FC236}">
                    <a16:creationId xmlns:a16="http://schemas.microsoft.com/office/drawing/2014/main" id="{9466FF99-F7F2-8626-002C-6A2DA8B9C26D}"/>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nvGrpSpPr>
              <p:cNvPr id="108" name="Group 138">
                <a:extLst>
                  <a:ext uri="{FF2B5EF4-FFF2-40B4-BE49-F238E27FC236}">
                    <a16:creationId xmlns:a16="http://schemas.microsoft.com/office/drawing/2014/main" id="{64B6AAEC-2930-2BCC-59AE-59841BEF2959}"/>
                  </a:ext>
                </a:extLst>
              </p:cNvPr>
              <p:cNvGrpSpPr/>
              <p:nvPr/>
            </p:nvGrpSpPr>
            <p:grpSpPr>
              <a:xfrm>
                <a:off x="3158154" y="3941620"/>
                <a:ext cx="3200" cy="4053"/>
                <a:chOff x="1650415" y="1908302"/>
                <a:chExt cx="5782" cy="7322"/>
              </a:xfrm>
            </p:grpSpPr>
            <p:sp>
              <p:nvSpPr>
                <p:cNvPr id="109" name="Freeform: Shape 139">
                  <a:extLst>
                    <a:ext uri="{FF2B5EF4-FFF2-40B4-BE49-F238E27FC236}">
                      <a16:creationId xmlns:a16="http://schemas.microsoft.com/office/drawing/2014/main" id="{3DA8A08D-31EB-BBA8-2831-9099D7A313B9}"/>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0" name="Freeform: Shape 140">
                  <a:extLst>
                    <a:ext uri="{FF2B5EF4-FFF2-40B4-BE49-F238E27FC236}">
                      <a16:creationId xmlns:a16="http://schemas.microsoft.com/office/drawing/2014/main" id="{A8093688-F00A-1F04-955B-119A309761CA}"/>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sp>
            <p:nvSpPr>
              <p:cNvPr id="116" name="Freeform: Shape 140">
                <a:extLst>
                  <a:ext uri="{FF2B5EF4-FFF2-40B4-BE49-F238E27FC236}">
                    <a16:creationId xmlns:a16="http://schemas.microsoft.com/office/drawing/2014/main" id="{14D2984E-85AE-C321-395D-2FA9729670A9}"/>
                  </a:ext>
                </a:extLst>
              </p:cNvPr>
              <p:cNvSpPr/>
              <p:nvPr/>
            </p:nvSpPr>
            <p:spPr bwMode="auto">
              <a:xfrm>
                <a:off x="3163895" y="5885837"/>
                <a:ext cx="3200" cy="4053"/>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sp>
        <p:nvSpPr>
          <p:cNvPr id="4" name="Rechteck 3">
            <a:extLst>
              <a:ext uri="{FF2B5EF4-FFF2-40B4-BE49-F238E27FC236}">
                <a16:creationId xmlns:a16="http://schemas.microsoft.com/office/drawing/2014/main" id="{14F1295C-B0A0-9DCC-110A-D4BB06D210B1}"/>
              </a:ext>
            </a:extLst>
          </p:cNvPr>
          <p:cNvSpPr/>
          <p:nvPr/>
        </p:nvSpPr>
        <p:spPr>
          <a:xfrm>
            <a:off x="2239845" y="4597606"/>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GmbH</a:t>
            </a:r>
          </a:p>
        </p:txBody>
      </p:sp>
      <p:sp>
        <p:nvSpPr>
          <p:cNvPr id="5" name="Ellipse 4">
            <a:extLst>
              <a:ext uri="{FF2B5EF4-FFF2-40B4-BE49-F238E27FC236}">
                <a16:creationId xmlns:a16="http://schemas.microsoft.com/office/drawing/2014/main" id="{C3BC0FC9-92B8-5759-1D3E-FC5EDD92689D}"/>
              </a:ext>
            </a:extLst>
          </p:cNvPr>
          <p:cNvSpPr/>
          <p:nvPr/>
        </p:nvSpPr>
        <p:spPr>
          <a:xfrm>
            <a:off x="3543817" y="3338915"/>
            <a:ext cx="1488819" cy="636261"/>
          </a:xfrm>
          <a:prstGeom prst="ellipse">
            <a:avLst/>
          </a:prstGeom>
          <a:solidFill>
            <a:srgbClr val="FBBA00"/>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Verzicht</a:t>
            </a:r>
            <a:r>
              <a:rPr kumimoji="0" lang="de-DE" sz="1400" b="0" i="0" u="none" strike="noStrike" kern="0" cap="none" spc="0" normalizeH="0" baseline="0" noProof="0" dirty="0">
                <a:ln>
                  <a:noFill/>
                </a:ln>
                <a:solidFill>
                  <a:srgbClr val="000000"/>
                </a:solidFill>
                <a:effectLst/>
                <a:uLnTx/>
                <a:uFillTx/>
                <a:latin typeface="Arial" charset="0"/>
              </a:rPr>
              <a:t> </a:t>
            </a:r>
          </a:p>
        </p:txBody>
      </p:sp>
      <p:sp>
        <p:nvSpPr>
          <p:cNvPr id="6" name="Bogen 5">
            <a:extLst>
              <a:ext uri="{FF2B5EF4-FFF2-40B4-BE49-F238E27FC236}">
                <a16:creationId xmlns:a16="http://schemas.microsoft.com/office/drawing/2014/main" id="{D29C59A3-4F5C-A799-79B5-6894A773338F}"/>
              </a:ext>
            </a:extLst>
          </p:cNvPr>
          <p:cNvSpPr/>
          <p:nvPr/>
        </p:nvSpPr>
        <p:spPr>
          <a:xfrm rot="20190153">
            <a:off x="405123" y="1104694"/>
            <a:ext cx="3026061" cy="5130733"/>
          </a:xfrm>
          <a:prstGeom prst="arc">
            <a:avLst>
              <a:gd name="adj1" fmla="val 21079065"/>
              <a:gd name="adj2" fmla="val 2837769"/>
            </a:avLst>
          </a:prstGeom>
          <a:ln w="63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 name="Textplatzhalter 1">
            <a:extLst>
              <a:ext uri="{FF2B5EF4-FFF2-40B4-BE49-F238E27FC236}">
                <a16:creationId xmlns:a16="http://schemas.microsoft.com/office/drawing/2014/main" id="{A70A005F-3403-DD68-E695-5DDAC4BFEB49}"/>
              </a:ext>
            </a:extLst>
          </p:cNvPr>
          <p:cNvSpPr txBox="1">
            <a:spLocks/>
          </p:cNvSpPr>
          <p:nvPr/>
        </p:nvSpPr>
        <p:spPr>
          <a:xfrm>
            <a:off x="555070" y="4676103"/>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0" name="Textplatzhalter 1">
            <a:extLst>
              <a:ext uri="{FF2B5EF4-FFF2-40B4-BE49-F238E27FC236}">
                <a16:creationId xmlns:a16="http://schemas.microsoft.com/office/drawing/2014/main" id="{924C2C6A-1CDE-A8D6-F65C-E1BAD4FA38CA}"/>
              </a:ext>
            </a:extLst>
          </p:cNvPr>
          <p:cNvSpPr txBox="1">
            <a:spLocks/>
          </p:cNvSpPr>
          <p:nvPr/>
        </p:nvSpPr>
        <p:spPr>
          <a:xfrm>
            <a:off x="555070" y="2759052"/>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301159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B091E6-3838-1D57-805A-C4CF50FF5EA1}"/>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056E6465-118E-2E18-24D1-7BD147327D10}"/>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die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Pensionszusag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p>
        </p:txBody>
      </p:sp>
      <p:sp>
        <p:nvSpPr>
          <p:cNvPr id="97" name="Textplatzhalter 1">
            <a:extLst>
              <a:ext uri="{FF2B5EF4-FFF2-40B4-BE49-F238E27FC236}">
                <a16:creationId xmlns:a16="http://schemas.microsoft.com/office/drawing/2014/main" id="{84AAF88F-C9E2-8676-BB7D-150D0BFBBE20}"/>
              </a:ext>
            </a:extLst>
          </p:cNvPr>
          <p:cNvSpPr txBox="1">
            <a:spLocks/>
          </p:cNvSpPr>
          <p:nvPr/>
        </p:nvSpPr>
        <p:spPr>
          <a:xfrm>
            <a:off x="351905" y="6419490"/>
            <a:ext cx="3461812" cy="701685"/>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BFH</a:t>
            </a:r>
            <a:r>
              <a:rPr kumimoji="0" lang="en-GB" sz="1200" b="0" i="0" u="none"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200" b="0" i="0" u="none"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Großer</a:t>
            </a:r>
            <a:r>
              <a:rPr kumimoji="0" lang="en-GB" sz="1200" b="0" i="0" u="none"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200" b="0" i="0" u="none"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Senat</a:t>
            </a:r>
            <a:r>
              <a:rPr lang="en-GB" sz="1200" b="0" dirty="0">
                <a:solidFill>
                  <a:srgbClr val="000000"/>
                </a:solidFill>
                <a:latin typeface="Segoe UI" panose="020B0502040204020203" pitchFamily="34" charset="0"/>
                <a:cs typeface="Segoe UI" panose="020B0502040204020203" pitchFamily="34" charset="0"/>
              </a:rPr>
              <a:t> </a:t>
            </a:r>
            <a:r>
              <a:rPr lang="en-GB" sz="1200" b="0" dirty="0" err="1">
                <a:solidFill>
                  <a:srgbClr val="000000"/>
                </a:solidFill>
                <a:latin typeface="Segoe UI" panose="020B0502040204020203" pitchFamily="34" charset="0"/>
                <a:cs typeface="Segoe UI" panose="020B0502040204020203" pitchFamily="34" charset="0"/>
              </a:rPr>
              <a:t>vom</a:t>
            </a:r>
            <a:r>
              <a:rPr lang="en-GB" sz="1200" b="0" dirty="0">
                <a:solidFill>
                  <a:srgbClr val="000000"/>
                </a:solidFill>
                <a:latin typeface="Segoe UI" panose="020B0502040204020203" pitchFamily="34" charset="0"/>
                <a:cs typeface="Segoe UI" panose="020B0502040204020203" pitchFamily="34" charset="0"/>
              </a:rPr>
              <a:t> 09.06.1997 </a:t>
            </a:r>
            <a:endParaRPr kumimoji="0" lang="en-GB"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3" name="Gruppieren 2">
            <a:extLst>
              <a:ext uri="{FF2B5EF4-FFF2-40B4-BE49-F238E27FC236}">
                <a16:creationId xmlns:a16="http://schemas.microsoft.com/office/drawing/2014/main" id="{7BAF7117-C564-9CD8-D88F-6B05CC11836C}"/>
              </a:ext>
            </a:extLst>
          </p:cNvPr>
          <p:cNvGrpSpPr/>
          <p:nvPr/>
        </p:nvGrpSpPr>
        <p:grpSpPr>
          <a:xfrm>
            <a:off x="2082811" y="2756377"/>
            <a:ext cx="1405717" cy="3985406"/>
            <a:chOff x="2462777" y="1904484"/>
            <a:chExt cx="1405717" cy="3985406"/>
          </a:xfrm>
        </p:grpSpPr>
        <p:grpSp>
          <p:nvGrpSpPr>
            <p:cNvPr id="102" name="Group 138">
              <a:extLst>
                <a:ext uri="{FF2B5EF4-FFF2-40B4-BE49-F238E27FC236}">
                  <a16:creationId xmlns:a16="http://schemas.microsoft.com/office/drawing/2014/main" id="{9535F72D-F579-9B45-469E-F4E3686423D1}"/>
                </a:ext>
              </a:extLst>
            </p:cNvPr>
            <p:cNvGrpSpPr/>
            <p:nvPr/>
          </p:nvGrpSpPr>
          <p:grpSpPr>
            <a:xfrm>
              <a:off x="2934725" y="1904484"/>
              <a:ext cx="461820" cy="461820"/>
              <a:chOff x="1236144" y="1532568"/>
              <a:chExt cx="834324" cy="834324"/>
            </a:xfrm>
          </p:grpSpPr>
          <p:sp>
            <p:nvSpPr>
              <p:cNvPr id="103" name="Freeform: Shape 139">
                <a:extLst>
                  <a:ext uri="{FF2B5EF4-FFF2-40B4-BE49-F238E27FC236}">
                    <a16:creationId xmlns:a16="http://schemas.microsoft.com/office/drawing/2014/main" id="{C0E4BA06-659D-35B3-3408-A2D75FCCEEDD}"/>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4" name="Freeform: Shape 140">
                <a:extLst>
                  <a:ext uri="{FF2B5EF4-FFF2-40B4-BE49-F238E27FC236}">
                    <a16:creationId xmlns:a16="http://schemas.microsoft.com/office/drawing/2014/main" id="{96E4CEA1-8F4B-C6C6-6A1F-11747C0F4A6E}"/>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5" name="Oval 157">
                <a:extLst>
                  <a:ext uri="{FF2B5EF4-FFF2-40B4-BE49-F238E27FC236}">
                    <a16:creationId xmlns:a16="http://schemas.microsoft.com/office/drawing/2014/main" id="{D58C4EB6-BB22-40BF-E672-7E67FC072EA9}"/>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06" name="Freeform: Shape 142">
                <a:extLst>
                  <a:ext uri="{FF2B5EF4-FFF2-40B4-BE49-F238E27FC236}">
                    <a16:creationId xmlns:a16="http://schemas.microsoft.com/office/drawing/2014/main" id="{A215FAE8-D4BA-4E26-681D-A3B765DDFED8}"/>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2" name="Gruppieren 1">
              <a:extLst>
                <a:ext uri="{FF2B5EF4-FFF2-40B4-BE49-F238E27FC236}">
                  <a16:creationId xmlns:a16="http://schemas.microsoft.com/office/drawing/2014/main" id="{E35B378A-E45F-4027-C778-76A834790281}"/>
                </a:ext>
              </a:extLst>
            </p:cNvPr>
            <p:cNvGrpSpPr/>
            <p:nvPr/>
          </p:nvGrpSpPr>
          <p:grpSpPr>
            <a:xfrm>
              <a:off x="2462777" y="2379623"/>
              <a:ext cx="1405717" cy="3510267"/>
              <a:chOff x="2462777" y="2379623"/>
              <a:chExt cx="1405717" cy="3510267"/>
            </a:xfrm>
          </p:grpSpPr>
          <p:sp>
            <p:nvSpPr>
              <p:cNvPr id="100" name="Textfeld 99">
                <a:extLst>
                  <a:ext uri="{FF2B5EF4-FFF2-40B4-BE49-F238E27FC236}">
                    <a16:creationId xmlns:a16="http://schemas.microsoft.com/office/drawing/2014/main" id="{73008DA7-08A8-4A27-55D4-40599EF6BEF3}"/>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Gesellschafter </a:t>
                </a:r>
              </a:p>
            </p:txBody>
          </p:sp>
          <p:sp>
            <p:nvSpPr>
              <p:cNvPr id="107" name="Pfeil nach unten 91">
                <a:extLst>
                  <a:ext uri="{FF2B5EF4-FFF2-40B4-BE49-F238E27FC236}">
                    <a16:creationId xmlns:a16="http://schemas.microsoft.com/office/drawing/2014/main" id="{D55E354E-8C77-1BFC-6CD3-16F6FBAFF1AD}"/>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nvGrpSpPr>
              <p:cNvPr id="108" name="Group 138">
                <a:extLst>
                  <a:ext uri="{FF2B5EF4-FFF2-40B4-BE49-F238E27FC236}">
                    <a16:creationId xmlns:a16="http://schemas.microsoft.com/office/drawing/2014/main" id="{CE4AAD21-636C-0E15-5FEE-0420010C88AD}"/>
                  </a:ext>
                </a:extLst>
              </p:cNvPr>
              <p:cNvGrpSpPr/>
              <p:nvPr/>
            </p:nvGrpSpPr>
            <p:grpSpPr>
              <a:xfrm>
                <a:off x="3158154" y="3941620"/>
                <a:ext cx="3200" cy="4053"/>
                <a:chOff x="1650415" y="1908302"/>
                <a:chExt cx="5782" cy="7322"/>
              </a:xfrm>
            </p:grpSpPr>
            <p:sp>
              <p:nvSpPr>
                <p:cNvPr id="109" name="Freeform: Shape 139">
                  <a:extLst>
                    <a:ext uri="{FF2B5EF4-FFF2-40B4-BE49-F238E27FC236}">
                      <a16:creationId xmlns:a16="http://schemas.microsoft.com/office/drawing/2014/main" id="{CAD4CD4E-002A-CAA9-14DE-77E36BA8B3C0}"/>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0" name="Freeform: Shape 140">
                  <a:extLst>
                    <a:ext uri="{FF2B5EF4-FFF2-40B4-BE49-F238E27FC236}">
                      <a16:creationId xmlns:a16="http://schemas.microsoft.com/office/drawing/2014/main" id="{14C872AF-AF05-6D96-F917-1F2CF2C89307}"/>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114" name="Group 138">
                <a:extLst>
                  <a:ext uri="{FF2B5EF4-FFF2-40B4-BE49-F238E27FC236}">
                    <a16:creationId xmlns:a16="http://schemas.microsoft.com/office/drawing/2014/main" id="{BD7B865E-419D-C69A-1A7E-9BD1C9785557}"/>
                  </a:ext>
                </a:extLst>
              </p:cNvPr>
              <p:cNvGrpSpPr/>
              <p:nvPr/>
            </p:nvGrpSpPr>
            <p:grpSpPr>
              <a:xfrm>
                <a:off x="3163895" y="5885837"/>
                <a:ext cx="3200" cy="4053"/>
                <a:chOff x="1650415" y="1908302"/>
                <a:chExt cx="5782" cy="7322"/>
              </a:xfrm>
            </p:grpSpPr>
            <p:sp>
              <p:nvSpPr>
                <p:cNvPr id="115" name="Freeform: Shape 139">
                  <a:extLst>
                    <a:ext uri="{FF2B5EF4-FFF2-40B4-BE49-F238E27FC236}">
                      <a16:creationId xmlns:a16="http://schemas.microsoft.com/office/drawing/2014/main" id="{181F862A-30B5-A9C7-49A2-2F7B4127BE84}"/>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6" name="Freeform: Shape 140">
                  <a:extLst>
                    <a:ext uri="{FF2B5EF4-FFF2-40B4-BE49-F238E27FC236}">
                      <a16:creationId xmlns:a16="http://schemas.microsoft.com/office/drawing/2014/main" id="{EF67B7F3-88FF-F43F-7D14-9E1660553CA6}"/>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grpSp>
      <p:sp>
        <p:nvSpPr>
          <p:cNvPr id="4" name="Rechteck 3">
            <a:extLst>
              <a:ext uri="{FF2B5EF4-FFF2-40B4-BE49-F238E27FC236}">
                <a16:creationId xmlns:a16="http://schemas.microsoft.com/office/drawing/2014/main" id="{43B98A39-EDBF-88D5-3753-4A9A272755C1}"/>
              </a:ext>
            </a:extLst>
          </p:cNvPr>
          <p:cNvSpPr/>
          <p:nvPr/>
        </p:nvSpPr>
        <p:spPr>
          <a:xfrm>
            <a:off x="2239845" y="4597606"/>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GmbH</a:t>
            </a:r>
          </a:p>
        </p:txBody>
      </p:sp>
      <p:sp>
        <p:nvSpPr>
          <p:cNvPr id="5" name="Ellipse 4">
            <a:extLst>
              <a:ext uri="{FF2B5EF4-FFF2-40B4-BE49-F238E27FC236}">
                <a16:creationId xmlns:a16="http://schemas.microsoft.com/office/drawing/2014/main" id="{91EE2487-F079-25F3-96F5-E708B423222B}"/>
              </a:ext>
            </a:extLst>
          </p:cNvPr>
          <p:cNvSpPr/>
          <p:nvPr/>
        </p:nvSpPr>
        <p:spPr>
          <a:xfrm>
            <a:off x="3543817" y="3338915"/>
            <a:ext cx="1488819" cy="636261"/>
          </a:xfrm>
          <a:prstGeom prst="ellipse">
            <a:avLst/>
          </a:prstGeom>
          <a:solidFill>
            <a:srgbClr val="FBBA00"/>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Verzicht</a:t>
            </a:r>
            <a:r>
              <a:rPr kumimoji="0" lang="de-DE" sz="1400" b="0" i="0" u="none" strike="noStrike" kern="0" cap="none" spc="0" normalizeH="0" baseline="0" noProof="0" dirty="0">
                <a:ln>
                  <a:noFill/>
                </a:ln>
                <a:solidFill>
                  <a:srgbClr val="000000"/>
                </a:solidFill>
                <a:effectLst/>
                <a:uLnTx/>
                <a:uFillTx/>
                <a:latin typeface="Arial" charset="0"/>
              </a:rPr>
              <a:t> </a:t>
            </a:r>
          </a:p>
        </p:txBody>
      </p:sp>
      <p:sp>
        <p:nvSpPr>
          <p:cNvPr id="6" name="Bogen 5">
            <a:extLst>
              <a:ext uri="{FF2B5EF4-FFF2-40B4-BE49-F238E27FC236}">
                <a16:creationId xmlns:a16="http://schemas.microsoft.com/office/drawing/2014/main" id="{5967C855-2089-F1B7-D91D-3F9B11EF9187}"/>
              </a:ext>
            </a:extLst>
          </p:cNvPr>
          <p:cNvSpPr/>
          <p:nvPr/>
        </p:nvSpPr>
        <p:spPr>
          <a:xfrm rot="20190153">
            <a:off x="405123" y="1104694"/>
            <a:ext cx="3026061" cy="5130733"/>
          </a:xfrm>
          <a:prstGeom prst="arc">
            <a:avLst>
              <a:gd name="adj1" fmla="val 21079065"/>
              <a:gd name="adj2" fmla="val 2837769"/>
            </a:avLst>
          </a:prstGeom>
          <a:ln w="63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 name="Textplatzhalter 1">
            <a:extLst>
              <a:ext uri="{FF2B5EF4-FFF2-40B4-BE49-F238E27FC236}">
                <a16:creationId xmlns:a16="http://schemas.microsoft.com/office/drawing/2014/main" id="{0B5C3B48-32A2-255C-77DC-14830D7CDD3A}"/>
              </a:ext>
            </a:extLst>
          </p:cNvPr>
          <p:cNvSpPr txBox="1">
            <a:spLocks/>
          </p:cNvSpPr>
          <p:nvPr/>
        </p:nvSpPr>
        <p:spPr>
          <a:xfrm>
            <a:off x="5260882" y="2639513"/>
            <a:ext cx="5362513" cy="1184006"/>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u="sng"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Gesellschafter</a:t>
            </a:r>
            <a:r>
              <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p>
          <a:p>
            <a:pPr marL="0" marR="0" lvl="0" indent="0" algn="l" defTabSz="914400" rtl="0" eaLnBrk="1" fontAlgn="auto" latinLnBrk="0" hangingPunct="1">
              <a:lnSpc>
                <a:spcPct val="100000"/>
              </a:lnSpc>
              <a:spcBef>
                <a:spcPts val="300"/>
              </a:spcBef>
              <a:spcAft>
                <a:spcPts val="0"/>
              </a:spcAft>
              <a:buClrTx/>
              <a:buSzTx/>
              <a:buFontTx/>
              <a:buNone/>
              <a:tabLst/>
              <a:defRPr/>
            </a:pPr>
            <a:r>
              <a:rPr lang="en-GB" b="0" dirty="0">
                <a:solidFill>
                  <a:srgbClr val="000000"/>
                </a:solidFill>
                <a:latin typeface="Segoe UI" panose="020B0502040204020203" pitchFamily="34" charset="0"/>
                <a:cs typeface="Segoe UI" panose="020B0502040204020203" pitchFamily="34" charset="0"/>
              </a:rPr>
              <a:t>“</a:t>
            </a:r>
            <a:r>
              <a:rPr lang="en-GB" b="0" dirty="0" err="1">
                <a:solidFill>
                  <a:srgbClr val="000000"/>
                </a:solidFill>
                <a:latin typeface="Segoe UI" panose="020B0502040204020203" pitchFamily="34" charset="0"/>
                <a:cs typeface="Segoe UI" panose="020B0502040204020203" pitchFamily="34" charset="0"/>
              </a:rPr>
              <a:t>fiktiver</a:t>
            </a:r>
            <a:r>
              <a:rPr lang="en-GB" b="0" dirty="0">
                <a:solidFill>
                  <a:srgbClr val="000000"/>
                </a:solidFill>
                <a:latin typeface="Segoe UI" panose="020B0502040204020203" pitchFamily="34" charset="0"/>
                <a:cs typeface="Segoe UI" panose="020B0502040204020203" pitchFamily="34" charset="0"/>
              </a:rPr>
              <a:t>” </a:t>
            </a:r>
            <a:r>
              <a:rPr lang="en-GB" b="0" dirty="0" err="1">
                <a:solidFill>
                  <a:srgbClr val="000000"/>
                </a:solidFill>
                <a:latin typeface="Segoe UI" panose="020B0502040204020203" pitchFamily="34" charset="0"/>
                <a:cs typeface="Segoe UI" panose="020B0502040204020203" pitchFamily="34" charset="0"/>
              </a:rPr>
              <a:t>Zufluss</a:t>
            </a:r>
            <a:r>
              <a:rPr lang="en-GB" b="0" dirty="0">
                <a:solidFill>
                  <a:srgbClr val="000000"/>
                </a:solidFill>
                <a:latin typeface="Segoe UI" panose="020B0502040204020203" pitchFamily="34" charset="0"/>
                <a:cs typeface="Segoe UI" panose="020B0502040204020203" pitchFamily="34" charset="0"/>
              </a:rPr>
              <a:t> des </a:t>
            </a:r>
            <a:r>
              <a:rPr lang="en-GB" b="0" dirty="0" err="1">
                <a:solidFill>
                  <a:srgbClr val="000000"/>
                </a:solidFill>
                <a:latin typeface="Segoe UI" panose="020B0502040204020203" pitchFamily="34" charset="0"/>
                <a:cs typeface="Segoe UI" panose="020B0502040204020203" pitchFamily="34" charset="0"/>
              </a:rPr>
              <a:t>werthaltigen</a:t>
            </a:r>
            <a:r>
              <a:rPr lang="en-GB" b="0" dirty="0">
                <a:solidFill>
                  <a:srgbClr val="000000"/>
                </a:solidFill>
                <a:latin typeface="Segoe UI" panose="020B0502040204020203" pitchFamily="34" charset="0"/>
                <a:cs typeface="Segoe UI" panose="020B0502040204020203" pitchFamily="34" charset="0"/>
              </a:rPr>
              <a:t> Teils der </a:t>
            </a:r>
            <a:r>
              <a:rPr lang="en-GB" b="0" dirty="0" err="1">
                <a:solidFill>
                  <a:srgbClr val="000000"/>
                </a:solidFill>
                <a:latin typeface="Segoe UI" panose="020B0502040204020203" pitchFamily="34" charset="0"/>
                <a:cs typeface="Segoe UI" panose="020B0502040204020203" pitchFamily="34" charset="0"/>
              </a:rPr>
              <a:t>Anwartschaft</a:t>
            </a:r>
            <a:endParaRPr lang="en-GB" b="0" dirty="0">
              <a:solidFill>
                <a:srgbClr val="000000"/>
              </a:solidFill>
              <a:latin typeface="Segoe UI" panose="020B0502040204020203" pitchFamily="34" charset="0"/>
              <a:cs typeface="Segoe UI" panose="020B0502040204020203" pitchFamily="34" charset="0"/>
            </a:endParaRPr>
          </a:p>
          <a:p>
            <a:pPr marL="285750" marR="0" lvl="0" indent="-285750" algn="l" defTabSz="914400" rtl="0" eaLnBrk="1" fontAlgn="auto" latinLnBrk="0" hangingPunct="1">
              <a:lnSpc>
                <a:spcPct val="100000"/>
              </a:lnSpc>
              <a:spcBef>
                <a:spcPts val="300"/>
              </a:spcBef>
              <a:spcAft>
                <a:spcPts val="0"/>
              </a:spcAft>
              <a:buClrTx/>
              <a:buSzTx/>
              <a:buFont typeface="Wingdings" panose="05000000000000000000" pitchFamily="2" charset="2"/>
              <a:buChar char="à"/>
              <a:tabLst/>
              <a:defRPr/>
            </a:pPr>
            <a:r>
              <a:rPr lang="en-GB" b="0" dirty="0" err="1">
                <a:solidFill>
                  <a:srgbClr val="000000"/>
                </a:solidFill>
                <a:latin typeface="Segoe UI" panose="020B0502040204020203" pitchFamily="34" charset="0"/>
                <a:cs typeface="Segoe UI" panose="020B0502040204020203" pitchFamily="34" charset="0"/>
                <a:sym typeface="Wingdings" panose="05000000000000000000" pitchFamily="2" charset="2"/>
              </a:rPr>
              <a:t>Steuerbelastung</a:t>
            </a:r>
            <a:r>
              <a:rPr lang="en-GB" b="0" dirty="0">
                <a:solidFill>
                  <a:srgbClr val="000000"/>
                </a:solidFill>
                <a:latin typeface="Segoe UI" panose="020B0502040204020203" pitchFamily="34" charset="0"/>
                <a:cs typeface="Segoe UI" panose="020B0502040204020203" pitchFamily="34" charset="0"/>
                <a:sym typeface="Wingdings" panose="05000000000000000000" pitchFamily="2" charset="2"/>
              </a:rPr>
              <a:t> </a:t>
            </a:r>
            <a:r>
              <a:rPr lang="en-GB" b="0" dirty="0" err="1">
                <a:solidFill>
                  <a:srgbClr val="000000"/>
                </a:solidFill>
                <a:latin typeface="Segoe UI" panose="020B0502040204020203" pitchFamily="34" charset="0"/>
                <a:cs typeface="Segoe UI" panose="020B0502040204020203" pitchFamily="34" charset="0"/>
                <a:sym typeface="Wingdings" panose="05000000000000000000" pitchFamily="2" charset="2"/>
              </a:rPr>
              <a:t>ohne</a:t>
            </a:r>
            <a:r>
              <a:rPr lang="en-GB" b="0" dirty="0">
                <a:solidFill>
                  <a:srgbClr val="000000"/>
                </a:solidFill>
                <a:latin typeface="Segoe UI" panose="020B0502040204020203" pitchFamily="34" charset="0"/>
                <a:cs typeface="Segoe UI" panose="020B0502040204020203" pitchFamily="34" charset="0"/>
                <a:sym typeface="Wingdings" panose="05000000000000000000" pitchFamily="2" charset="2"/>
              </a:rPr>
              <a:t> “cash”</a:t>
            </a:r>
            <a:r>
              <a:rPr lang="en-GB" b="0" dirty="0">
                <a:solidFill>
                  <a:srgbClr val="000000"/>
                </a:solidFill>
                <a:latin typeface="Segoe UI" panose="020B0502040204020203" pitchFamily="34" charset="0"/>
                <a:cs typeface="Segoe UI" panose="020B0502040204020203" pitchFamily="34" charset="0"/>
              </a:rPr>
              <a:t> </a:t>
            </a:r>
          </a:p>
          <a:p>
            <a:pPr marR="0" lvl="0" algn="l" defTabSz="914400" rtl="0" eaLnBrk="1" fontAlgn="auto" latinLnBrk="0" hangingPunct="1">
              <a:lnSpc>
                <a:spcPct val="100000"/>
              </a:lnSpc>
              <a:spcBef>
                <a:spcPts val="300"/>
              </a:spcBef>
              <a:spcAft>
                <a:spcPts val="0"/>
              </a:spcAft>
              <a:buClrTx/>
              <a:buSzTx/>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0" i="0" u="none"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Anschaffungskosten</a:t>
            </a:r>
            <a:r>
              <a:rPr kumimoji="0" lang="en-GB" sz="1400" b="0" i="0" u="none"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uf die GmbH-</a:t>
            </a:r>
            <a:r>
              <a:rPr kumimoji="0" lang="en-GB" sz="1400" b="0" i="0" u="none"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Beteiligung</a:t>
            </a:r>
            <a:r>
              <a:rPr kumimoji="0" lang="en-GB" sz="1400" b="0" i="0" u="none"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p>
          <a:p>
            <a:pPr marL="0" marR="0" lvl="0" indent="0" algn="l" defTabSz="914400" rtl="0" eaLnBrk="1" fontAlgn="auto" latinLnBrk="0" hangingPunct="1">
              <a:lnSpc>
                <a:spcPct val="100000"/>
              </a:lnSpc>
              <a:spcBef>
                <a:spcPts val="300"/>
              </a:spcBef>
              <a:spcAft>
                <a:spcPts val="0"/>
              </a:spcAft>
              <a:buClrTx/>
              <a:buSzTx/>
              <a:buFontTx/>
              <a:buNone/>
              <a:tabLst/>
              <a:defRPr/>
            </a:pPr>
            <a:r>
              <a:rPr lang="en-GB" b="0" baseline="0" dirty="0">
                <a:solidFill>
                  <a:srgbClr val="000000"/>
                </a:solidFill>
                <a:latin typeface="Segoe UI" panose="020B0502040204020203" pitchFamily="34" charset="0"/>
                <a:cs typeface="Segoe UI" panose="020B0502040204020203" pitchFamily="34" charset="0"/>
                <a:sym typeface="Wingdings" panose="05000000000000000000" pitchFamily="2" charset="2"/>
              </a:rPr>
              <a:t> </a:t>
            </a:r>
            <a:r>
              <a:rPr lang="en-GB" b="0" baseline="0" dirty="0" err="1">
                <a:solidFill>
                  <a:srgbClr val="000000"/>
                </a:solidFill>
                <a:latin typeface="Segoe UI" panose="020B0502040204020203" pitchFamily="34" charset="0"/>
                <a:cs typeface="Segoe UI" panose="020B0502040204020203" pitchFamily="34" charset="0"/>
                <a:sym typeface="Wingdings" panose="05000000000000000000" pitchFamily="2" charset="2"/>
              </a:rPr>
              <a:t>Auswirkung</a:t>
            </a:r>
            <a:r>
              <a:rPr lang="en-GB" b="0" dirty="0">
                <a:solidFill>
                  <a:srgbClr val="000000"/>
                </a:solidFill>
                <a:latin typeface="Segoe UI" panose="020B0502040204020203" pitchFamily="34" charset="0"/>
                <a:cs typeface="Segoe UI" panose="020B0502040204020203" pitchFamily="34" charset="0"/>
                <a:sym typeface="Wingdings" panose="05000000000000000000" pitchFamily="2" charset="2"/>
              </a:rPr>
              <a:t> </a:t>
            </a:r>
            <a:r>
              <a:rPr lang="en-GB" b="0" dirty="0" err="1">
                <a:solidFill>
                  <a:srgbClr val="000000"/>
                </a:solidFill>
                <a:latin typeface="Segoe UI" panose="020B0502040204020203" pitchFamily="34" charset="0"/>
                <a:cs typeface="Segoe UI" panose="020B0502040204020203" pitchFamily="34" charset="0"/>
                <a:sym typeface="Wingdings" panose="05000000000000000000" pitchFamily="2" charset="2"/>
              </a:rPr>
              <a:t>nur</a:t>
            </a:r>
            <a:r>
              <a:rPr lang="en-GB" b="0" dirty="0">
                <a:solidFill>
                  <a:srgbClr val="000000"/>
                </a:solidFill>
                <a:latin typeface="Segoe UI" panose="020B0502040204020203" pitchFamily="34" charset="0"/>
                <a:cs typeface="Segoe UI" panose="020B0502040204020203" pitchFamily="34" charset="0"/>
                <a:sym typeface="Wingdings" panose="05000000000000000000" pitchFamily="2" charset="2"/>
              </a:rPr>
              <a:t> </a:t>
            </a:r>
            <a:r>
              <a:rPr lang="en-GB" b="0" dirty="0" err="1">
                <a:solidFill>
                  <a:srgbClr val="000000"/>
                </a:solidFill>
                <a:latin typeface="Segoe UI" panose="020B0502040204020203" pitchFamily="34" charset="0"/>
                <a:cs typeface="Segoe UI" panose="020B0502040204020203" pitchFamily="34" charset="0"/>
                <a:sym typeface="Wingdings" panose="05000000000000000000" pitchFamily="2" charset="2"/>
              </a:rPr>
              <a:t>im</a:t>
            </a:r>
            <a:r>
              <a:rPr lang="en-GB" b="0" dirty="0">
                <a:solidFill>
                  <a:srgbClr val="000000"/>
                </a:solidFill>
                <a:latin typeface="Segoe UI" panose="020B0502040204020203" pitchFamily="34" charset="0"/>
                <a:cs typeface="Segoe UI" panose="020B0502040204020203" pitchFamily="34" charset="0"/>
                <a:sym typeface="Wingdings" panose="05000000000000000000" pitchFamily="2" charset="2"/>
              </a:rPr>
              <a:t> </a:t>
            </a:r>
            <a:r>
              <a:rPr lang="en-GB" b="0" dirty="0" err="1">
                <a:solidFill>
                  <a:srgbClr val="000000"/>
                </a:solidFill>
                <a:latin typeface="Segoe UI" panose="020B0502040204020203" pitchFamily="34" charset="0"/>
                <a:cs typeface="Segoe UI" panose="020B0502040204020203" pitchFamily="34" charset="0"/>
                <a:sym typeface="Wingdings" panose="05000000000000000000" pitchFamily="2" charset="2"/>
              </a:rPr>
              <a:t>Teileinkünfteverfahren</a:t>
            </a:r>
            <a:r>
              <a:rPr lang="en-GB" b="0" dirty="0">
                <a:solidFill>
                  <a:srgbClr val="000000"/>
                </a:solidFill>
                <a:latin typeface="Segoe UI" panose="020B0502040204020203" pitchFamily="34" charset="0"/>
                <a:cs typeface="Segoe UI" panose="020B0502040204020203" pitchFamily="34" charset="0"/>
                <a:sym typeface="Wingdings" panose="05000000000000000000" pitchFamily="2" charset="2"/>
              </a:rPr>
              <a:t> </a:t>
            </a: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9" name="Textplatzhalter 1">
            <a:extLst>
              <a:ext uri="{FF2B5EF4-FFF2-40B4-BE49-F238E27FC236}">
                <a16:creationId xmlns:a16="http://schemas.microsoft.com/office/drawing/2014/main" id="{A833D93F-330F-D2BF-A368-9063FEF1DEFF}"/>
              </a:ext>
            </a:extLst>
          </p:cNvPr>
          <p:cNvSpPr txBox="1">
            <a:spLocks/>
          </p:cNvSpPr>
          <p:nvPr/>
        </p:nvSpPr>
        <p:spPr>
          <a:xfrm>
            <a:off x="555070" y="4676103"/>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0" name="Textplatzhalter 1">
            <a:extLst>
              <a:ext uri="{FF2B5EF4-FFF2-40B4-BE49-F238E27FC236}">
                <a16:creationId xmlns:a16="http://schemas.microsoft.com/office/drawing/2014/main" id="{D654EE07-411E-66D3-5D59-CEFFC908CF95}"/>
              </a:ext>
            </a:extLst>
          </p:cNvPr>
          <p:cNvSpPr txBox="1">
            <a:spLocks/>
          </p:cNvSpPr>
          <p:nvPr/>
        </p:nvSpPr>
        <p:spPr>
          <a:xfrm>
            <a:off x="555070" y="2759052"/>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34962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7C3FBF-1E5E-988F-B1F2-95EAC585DD57}"/>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8E020BBC-923C-AEA3-558A-2FAEDC91F07C}"/>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die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Pensionszusag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p>
        </p:txBody>
      </p:sp>
      <p:sp>
        <p:nvSpPr>
          <p:cNvPr id="97" name="Textplatzhalter 1">
            <a:extLst>
              <a:ext uri="{FF2B5EF4-FFF2-40B4-BE49-F238E27FC236}">
                <a16:creationId xmlns:a16="http://schemas.microsoft.com/office/drawing/2014/main" id="{67BAC317-0269-D684-8741-576A35433CBD}"/>
              </a:ext>
            </a:extLst>
          </p:cNvPr>
          <p:cNvSpPr txBox="1">
            <a:spLocks/>
          </p:cNvSpPr>
          <p:nvPr/>
        </p:nvSpPr>
        <p:spPr>
          <a:xfrm>
            <a:off x="555070" y="6242311"/>
            <a:ext cx="3461812" cy="701685"/>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3" name="Gruppieren 2">
            <a:extLst>
              <a:ext uri="{FF2B5EF4-FFF2-40B4-BE49-F238E27FC236}">
                <a16:creationId xmlns:a16="http://schemas.microsoft.com/office/drawing/2014/main" id="{E02BF028-60F2-A138-07A1-BF3F1373CB46}"/>
              </a:ext>
            </a:extLst>
          </p:cNvPr>
          <p:cNvGrpSpPr/>
          <p:nvPr/>
        </p:nvGrpSpPr>
        <p:grpSpPr>
          <a:xfrm>
            <a:off x="2082811" y="2756377"/>
            <a:ext cx="1405717" cy="3985406"/>
            <a:chOff x="2462777" y="1904484"/>
            <a:chExt cx="1405717" cy="3985406"/>
          </a:xfrm>
        </p:grpSpPr>
        <p:grpSp>
          <p:nvGrpSpPr>
            <p:cNvPr id="102" name="Group 138">
              <a:extLst>
                <a:ext uri="{FF2B5EF4-FFF2-40B4-BE49-F238E27FC236}">
                  <a16:creationId xmlns:a16="http://schemas.microsoft.com/office/drawing/2014/main" id="{0882686B-48BD-EAAF-6F2C-079FA1428301}"/>
                </a:ext>
              </a:extLst>
            </p:cNvPr>
            <p:cNvGrpSpPr/>
            <p:nvPr/>
          </p:nvGrpSpPr>
          <p:grpSpPr>
            <a:xfrm>
              <a:off x="2934725" y="1904484"/>
              <a:ext cx="461820" cy="461820"/>
              <a:chOff x="1236144" y="1532568"/>
              <a:chExt cx="834324" cy="834324"/>
            </a:xfrm>
          </p:grpSpPr>
          <p:sp>
            <p:nvSpPr>
              <p:cNvPr id="103" name="Freeform: Shape 139">
                <a:extLst>
                  <a:ext uri="{FF2B5EF4-FFF2-40B4-BE49-F238E27FC236}">
                    <a16:creationId xmlns:a16="http://schemas.microsoft.com/office/drawing/2014/main" id="{B8559A6B-9A88-E7C9-B2B7-541D60EFC385}"/>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4" name="Freeform: Shape 140">
                <a:extLst>
                  <a:ext uri="{FF2B5EF4-FFF2-40B4-BE49-F238E27FC236}">
                    <a16:creationId xmlns:a16="http://schemas.microsoft.com/office/drawing/2014/main" id="{DE60600A-B0F2-305C-7F41-71E6F13B6E23}"/>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5" name="Oval 157">
                <a:extLst>
                  <a:ext uri="{FF2B5EF4-FFF2-40B4-BE49-F238E27FC236}">
                    <a16:creationId xmlns:a16="http://schemas.microsoft.com/office/drawing/2014/main" id="{F0B7FC40-C50B-289D-41D9-4245E9F0A3F4}"/>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06" name="Freeform: Shape 142">
                <a:extLst>
                  <a:ext uri="{FF2B5EF4-FFF2-40B4-BE49-F238E27FC236}">
                    <a16:creationId xmlns:a16="http://schemas.microsoft.com/office/drawing/2014/main" id="{0348B7DD-D111-79B2-F40E-C6036682AD55}"/>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2" name="Gruppieren 1">
              <a:extLst>
                <a:ext uri="{FF2B5EF4-FFF2-40B4-BE49-F238E27FC236}">
                  <a16:creationId xmlns:a16="http://schemas.microsoft.com/office/drawing/2014/main" id="{74D22E45-F6CC-391E-E879-8996E516632B}"/>
                </a:ext>
              </a:extLst>
            </p:cNvPr>
            <p:cNvGrpSpPr/>
            <p:nvPr/>
          </p:nvGrpSpPr>
          <p:grpSpPr>
            <a:xfrm>
              <a:off x="2462777" y="2379623"/>
              <a:ext cx="1405717" cy="3510267"/>
              <a:chOff x="2462777" y="2379623"/>
              <a:chExt cx="1405717" cy="3510267"/>
            </a:xfrm>
          </p:grpSpPr>
          <p:sp>
            <p:nvSpPr>
              <p:cNvPr id="100" name="Textfeld 99">
                <a:extLst>
                  <a:ext uri="{FF2B5EF4-FFF2-40B4-BE49-F238E27FC236}">
                    <a16:creationId xmlns:a16="http://schemas.microsoft.com/office/drawing/2014/main" id="{A38102BE-1FC4-7C29-EC64-D1BF6CE8D43A}"/>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Gesellschafter </a:t>
                </a:r>
              </a:p>
            </p:txBody>
          </p:sp>
          <p:sp>
            <p:nvSpPr>
              <p:cNvPr id="107" name="Pfeil nach unten 91">
                <a:extLst>
                  <a:ext uri="{FF2B5EF4-FFF2-40B4-BE49-F238E27FC236}">
                    <a16:creationId xmlns:a16="http://schemas.microsoft.com/office/drawing/2014/main" id="{2CDB333D-0F78-F9F4-570D-F4FB2EC7BCC4}"/>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nvGrpSpPr>
              <p:cNvPr id="108" name="Group 138">
                <a:extLst>
                  <a:ext uri="{FF2B5EF4-FFF2-40B4-BE49-F238E27FC236}">
                    <a16:creationId xmlns:a16="http://schemas.microsoft.com/office/drawing/2014/main" id="{6ED43C79-D522-FD84-3239-072FC54C86A4}"/>
                  </a:ext>
                </a:extLst>
              </p:cNvPr>
              <p:cNvGrpSpPr/>
              <p:nvPr/>
            </p:nvGrpSpPr>
            <p:grpSpPr>
              <a:xfrm>
                <a:off x="3158154" y="3941620"/>
                <a:ext cx="3200" cy="4053"/>
                <a:chOff x="1650415" y="1908302"/>
                <a:chExt cx="5782" cy="7322"/>
              </a:xfrm>
            </p:grpSpPr>
            <p:sp>
              <p:nvSpPr>
                <p:cNvPr id="109" name="Freeform: Shape 139">
                  <a:extLst>
                    <a:ext uri="{FF2B5EF4-FFF2-40B4-BE49-F238E27FC236}">
                      <a16:creationId xmlns:a16="http://schemas.microsoft.com/office/drawing/2014/main" id="{D5D9C1E0-ED7F-8B76-D5AE-3ACEB5704EA7}"/>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0" name="Freeform: Shape 140">
                  <a:extLst>
                    <a:ext uri="{FF2B5EF4-FFF2-40B4-BE49-F238E27FC236}">
                      <a16:creationId xmlns:a16="http://schemas.microsoft.com/office/drawing/2014/main" id="{6CE77A90-C569-F7C1-5C88-DF09E1665D00}"/>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114" name="Group 138">
                <a:extLst>
                  <a:ext uri="{FF2B5EF4-FFF2-40B4-BE49-F238E27FC236}">
                    <a16:creationId xmlns:a16="http://schemas.microsoft.com/office/drawing/2014/main" id="{70331815-1EF3-80CA-29C3-861E73F79C8E}"/>
                  </a:ext>
                </a:extLst>
              </p:cNvPr>
              <p:cNvGrpSpPr/>
              <p:nvPr/>
            </p:nvGrpSpPr>
            <p:grpSpPr>
              <a:xfrm>
                <a:off x="3163895" y="5885837"/>
                <a:ext cx="3200" cy="4053"/>
                <a:chOff x="1650415" y="1908302"/>
                <a:chExt cx="5782" cy="7322"/>
              </a:xfrm>
            </p:grpSpPr>
            <p:sp>
              <p:nvSpPr>
                <p:cNvPr id="115" name="Freeform: Shape 139">
                  <a:extLst>
                    <a:ext uri="{FF2B5EF4-FFF2-40B4-BE49-F238E27FC236}">
                      <a16:creationId xmlns:a16="http://schemas.microsoft.com/office/drawing/2014/main" id="{AAE246F0-3CAF-4620-3CAB-8AF4F3E25835}"/>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6" name="Freeform: Shape 140">
                  <a:extLst>
                    <a:ext uri="{FF2B5EF4-FFF2-40B4-BE49-F238E27FC236}">
                      <a16:creationId xmlns:a16="http://schemas.microsoft.com/office/drawing/2014/main" id="{EDF3224B-5953-0716-0F53-DBAD2008D372}"/>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grpSp>
      <p:sp>
        <p:nvSpPr>
          <p:cNvPr id="4" name="Rechteck 3">
            <a:extLst>
              <a:ext uri="{FF2B5EF4-FFF2-40B4-BE49-F238E27FC236}">
                <a16:creationId xmlns:a16="http://schemas.microsoft.com/office/drawing/2014/main" id="{DBF9D8CF-9291-D817-809F-32A04250056A}"/>
              </a:ext>
            </a:extLst>
          </p:cNvPr>
          <p:cNvSpPr/>
          <p:nvPr/>
        </p:nvSpPr>
        <p:spPr>
          <a:xfrm>
            <a:off x="2239845" y="4597606"/>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GmbH</a:t>
            </a:r>
          </a:p>
        </p:txBody>
      </p:sp>
      <p:sp>
        <p:nvSpPr>
          <p:cNvPr id="5" name="Ellipse 4">
            <a:extLst>
              <a:ext uri="{FF2B5EF4-FFF2-40B4-BE49-F238E27FC236}">
                <a16:creationId xmlns:a16="http://schemas.microsoft.com/office/drawing/2014/main" id="{5BF66E6B-962E-06D1-5CA2-CBFB0B2FB349}"/>
              </a:ext>
            </a:extLst>
          </p:cNvPr>
          <p:cNvSpPr/>
          <p:nvPr/>
        </p:nvSpPr>
        <p:spPr>
          <a:xfrm>
            <a:off x="3543817" y="3338915"/>
            <a:ext cx="1488819" cy="636261"/>
          </a:xfrm>
          <a:prstGeom prst="ellipse">
            <a:avLst/>
          </a:prstGeom>
          <a:solidFill>
            <a:srgbClr val="FBBA00"/>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Verzicht</a:t>
            </a:r>
            <a:r>
              <a:rPr kumimoji="0" lang="de-DE" sz="1400" b="0" i="0" u="none" strike="noStrike" kern="0" cap="none" spc="0" normalizeH="0" baseline="0" noProof="0" dirty="0">
                <a:ln>
                  <a:noFill/>
                </a:ln>
                <a:solidFill>
                  <a:srgbClr val="000000"/>
                </a:solidFill>
                <a:effectLst/>
                <a:uLnTx/>
                <a:uFillTx/>
                <a:latin typeface="Arial" charset="0"/>
              </a:rPr>
              <a:t> </a:t>
            </a:r>
          </a:p>
        </p:txBody>
      </p:sp>
      <p:sp>
        <p:nvSpPr>
          <p:cNvPr id="6" name="Bogen 5">
            <a:extLst>
              <a:ext uri="{FF2B5EF4-FFF2-40B4-BE49-F238E27FC236}">
                <a16:creationId xmlns:a16="http://schemas.microsoft.com/office/drawing/2014/main" id="{CB1E4D86-44CB-9FBB-94F4-FB8EA5B9E5F5}"/>
              </a:ext>
            </a:extLst>
          </p:cNvPr>
          <p:cNvSpPr/>
          <p:nvPr/>
        </p:nvSpPr>
        <p:spPr>
          <a:xfrm rot="20190153">
            <a:off x="405123" y="1104694"/>
            <a:ext cx="3026061" cy="5130733"/>
          </a:xfrm>
          <a:prstGeom prst="arc">
            <a:avLst>
              <a:gd name="adj1" fmla="val 21079065"/>
              <a:gd name="adj2" fmla="val 2837769"/>
            </a:avLst>
          </a:prstGeom>
          <a:ln w="63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 name="Textplatzhalter 1">
            <a:extLst>
              <a:ext uri="{FF2B5EF4-FFF2-40B4-BE49-F238E27FC236}">
                <a16:creationId xmlns:a16="http://schemas.microsoft.com/office/drawing/2014/main" id="{5214622E-0D55-CA92-C0B7-23BB61746F82}"/>
              </a:ext>
            </a:extLst>
          </p:cNvPr>
          <p:cNvSpPr txBox="1">
            <a:spLocks/>
          </p:cNvSpPr>
          <p:nvPr/>
        </p:nvSpPr>
        <p:spPr>
          <a:xfrm>
            <a:off x="5260882" y="2639513"/>
            <a:ext cx="5362513" cy="1184006"/>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u="sng"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Gesellschafter</a:t>
            </a:r>
            <a:r>
              <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p>
          <a:p>
            <a:pPr marL="0" marR="0" lvl="0" indent="0" algn="l" defTabSz="914400" rtl="0" eaLnBrk="1" fontAlgn="auto" latinLnBrk="0" hangingPunct="1">
              <a:lnSpc>
                <a:spcPct val="100000"/>
              </a:lnSpc>
              <a:spcBef>
                <a:spcPts val="300"/>
              </a:spcBef>
              <a:spcAft>
                <a:spcPts val="0"/>
              </a:spcAft>
              <a:buClrTx/>
              <a:buSzTx/>
              <a:buFontTx/>
              <a:buNone/>
              <a:tabLst/>
              <a:defRPr/>
            </a:pPr>
            <a:r>
              <a:rPr lang="en-GB" b="0" dirty="0">
                <a:solidFill>
                  <a:srgbClr val="000000"/>
                </a:solidFill>
                <a:latin typeface="Segoe UI" panose="020B0502040204020203" pitchFamily="34" charset="0"/>
                <a:cs typeface="Segoe UI" panose="020B0502040204020203" pitchFamily="34" charset="0"/>
              </a:rPr>
              <a:t>“</a:t>
            </a:r>
            <a:r>
              <a:rPr lang="en-GB" b="0" dirty="0" err="1">
                <a:solidFill>
                  <a:srgbClr val="000000"/>
                </a:solidFill>
                <a:latin typeface="Segoe UI" panose="020B0502040204020203" pitchFamily="34" charset="0"/>
                <a:cs typeface="Segoe UI" panose="020B0502040204020203" pitchFamily="34" charset="0"/>
              </a:rPr>
              <a:t>fiktiver</a:t>
            </a:r>
            <a:r>
              <a:rPr lang="en-GB" b="0" dirty="0">
                <a:solidFill>
                  <a:srgbClr val="000000"/>
                </a:solidFill>
                <a:latin typeface="Segoe UI" panose="020B0502040204020203" pitchFamily="34" charset="0"/>
                <a:cs typeface="Segoe UI" panose="020B0502040204020203" pitchFamily="34" charset="0"/>
              </a:rPr>
              <a:t>” </a:t>
            </a:r>
            <a:r>
              <a:rPr lang="en-GB" b="0" dirty="0" err="1">
                <a:solidFill>
                  <a:srgbClr val="000000"/>
                </a:solidFill>
                <a:latin typeface="Segoe UI" panose="020B0502040204020203" pitchFamily="34" charset="0"/>
                <a:cs typeface="Segoe UI" panose="020B0502040204020203" pitchFamily="34" charset="0"/>
              </a:rPr>
              <a:t>Zufluss</a:t>
            </a:r>
            <a:r>
              <a:rPr lang="en-GB" b="0" dirty="0">
                <a:solidFill>
                  <a:srgbClr val="000000"/>
                </a:solidFill>
                <a:latin typeface="Segoe UI" panose="020B0502040204020203" pitchFamily="34" charset="0"/>
                <a:cs typeface="Segoe UI" panose="020B0502040204020203" pitchFamily="34" charset="0"/>
              </a:rPr>
              <a:t> des </a:t>
            </a:r>
            <a:r>
              <a:rPr lang="en-GB" b="0" dirty="0" err="1">
                <a:solidFill>
                  <a:srgbClr val="000000"/>
                </a:solidFill>
                <a:latin typeface="Segoe UI" panose="020B0502040204020203" pitchFamily="34" charset="0"/>
                <a:cs typeface="Segoe UI" panose="020B0502040204020203" pitchFamily="34" charset="0"/>
              </a:rPr>
              <a:t>werthaltigen</a:t>
            </a:r>
            <a:r>
              <a:rPr lang="en-GB" b="0" dirty="0">
                <a:solidFill>
                  <a:srgbClr val="000000"/>
                </a:solidFill>
                <a:latin typeface="Segoe UI" panose="020B0502040204020203" pitchFamily="34" charset="0"/>
                <a:cs typeface="Segoe UI" panose="020B0502040204020203" pitchFamily="34" charset="0"/>
              </a:rPr>
              <a:t> Teils der </a:t>
            </a:r>
            <a:r>
              <a:rPr lang="en-GB" b="0" dirty="0" err="1">
                <a:solidFill>
                  <a:srgbClr val="000000"/>
                </a:solidFill>
                <a:latin typeface="Segoe UI" panose="020B0502040204020203" pitchFamily="34" charset="0"/>
                <a:cs typeface="Segoe UI" panose="020B0502040204020203" pitchFamily="34" charset="0"/>
              </a:rPr>
              <a:t>Anwartschaft</a:t>
            </a:r>
            <a:endParaRPr lang="en-GB" b="0" dirty="0">
              <a:solidFill>
                <a:srgbClr val="000000"/>
              </a:solidFill>
              <a:latin typeface="Segoe UI" panose="020B0502040204020203" pitchFamily="34" charset="0"/>
              <a:cs typeface="Segoe UI" panose="020B0502040204020203" pitchFamily="34" charset="0"/>
            </a:endParaRPr>
          </a:p>
          <a:p>
            <a:pPr marL="285750" marR="0" lvl="0" indent="-285750" algn="l" defTabSz="914400" rtl="0" eaLnBrk="1" fontAlgn="auto" latinLnBrk="0" hangingPunct="1">
              <a:lnSpc>
                <a:spcPct val="100000"/>
              </a:lnSpc>
              <a:spcBef>
                <a:spcPts val="300"/>
              </a:spcBef>
              <a:spcAft>
                <a:spcPts val="0"/>
              </a:spcAft>
              <a:buClrTx/>
              <a:buSzTx/>
              <a:buFont typeface="Wingdings" panose="05000000000000000000" pitchFamily="2" charset="2"/>
              <a:buChar char="à"/>
              <a:tabLst/>
              <a:defRPr/>
            </a:pPr>
            <a:r>
              <a:rPr lang="en-GB" b="0" dirty="0" err="1">
                <a:solidFill>
                  <a:srgbClr val="000000"/>
                </a:solidFill>
                <a:latin typeface="Segoe UI" panose="020B0502040204020203" pitchFamily="34" charset="0"/>
                <a:cs typeface="Segoe UI" panose="020B0502040204020203" pitchFamily="34" charset="0"/>
                <a:sym typeface="Wingdings" panose="05000000000000000000" pitchFamily="2" charset="2"/>
              </a:rPr>
              <a:t>Steuerbelastung</a:t>
            </a:r>
            <a:r>
              <a:rPr lang="en-GB" b="0" dirty="0">
                <a:solidFill>
                  <a:srgbClr val="000000"/>
                </a:solidFill>
                <a:latin typeface="Segoe UI" panose="020B0502040204020203" pitchFamily="34" charset="0"/>
                <a:cs typeface="Segoe UI" panose="020B0502040204020203" pitchFamily="34" charset="0"/>
                <a:sym typeface="Wingdings" panose="05000000000000000000" pitchFamily="2" charset="2"/>
              </a:rPr>
              <a:t> </a:t>
            </a:r>
            <a:r>
              <a:rPr lang="en-GB" b="0" dirty="0" err="1">
                <a:solidFill>
                  <a:srgbClr val="000000"/>
                </a:solidFill>
                <a:latin typeface="Segoe UI" panose="020B0502040204020203" pitchFamily="34" charset="0"/>
                <a:cs typeface="Segoe UI" panose="020B0502040204020203" pitchFamily="34" charset="0"/>
                <a:sym typeface="Wingdings" panose="05000000000000000000" pitchFamily="2" charset="2"/>
              </a:rPr>
              <a:t>ohne</a:t>
            </a:r>
            <a:r>
              <a:rPr lang="en-GB" b="0" dirty="0">
                <a:solidFill>
                  <a:srgbClr val="000000"/>
                </a:solidFill>
                <a:latin typeface="Segoe UI" panose="020B0502040204020203" pitchFamily="34" charset="0"/>
                <a:cs typeface="Segoe UI" panose="020B0502040204020203" pitchFamily="34" charset="0"/>
                <a:sym typeface="Wingdings" panose="05000000000000000000" pitchFamily="2" charset="2"/>
              </a:rPr>
              <a:t> “cash”</a:t>
            </a:r>
            <a:r>
              <a:rPr lang="en-GB" b="0" dirty="0">
                <a:solidFill>
                  <a:srgbClr val="000000"/>
                </a:solidFill>
                <a:latin typeface="Segoe UI" panose="020B0502040204020203" pitchFamily="34" charset="0"/>
                <a:cs typeface="Segoe UI" panose="020B0502040204020203" pitchFamily="34" charset="0"/>
              </a:rPr>
              <a:t> </a:t>
            </a:r>
          </a:p>
          <a:p>
            <a:pPr marR="0" lvl="0" algn="l" defTabSz="914400" rtl="0" eaLnBrk="1" fontAlgn="auto" latinLnBrk="0" hangingPunct="1">
              <a:lnSpc>
                <a:spcPct val="100000"/>
              </a:lnSpc>
              <a:spcBef>
                <a:spcPts val="300"/>
              </a:spcBef>
              <a:spcAft>
                <a:spcPts val="0"/>
              </a:spcAft>
              <a:buClrTx/>
              <a:buSzTx/>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0" i="0" u="none"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Anschaffungskosten</a:t>
            </a:r>
            <a:r>
              <a:rPr kumimoji="0" lang="en-GB" sz="1400" b="0" i="0" u="none"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uf die GmbH-</a:t>
            </a:r>
            <a:r>
              <a:rPr kumimoji="0" lang="en-GB" sz="1400" b="0" i="0" u="none"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Beteiligung</a:t>
            </a:r>
            <a:r>
              <a:rPr kumimoji="0" lang="en-GB" sz="1400" b="0" i="0" u="none"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p>
          <a:p>
            <a:pPr marL="0" marR="0" lvl="0" indent="0" algn="l" defTabSz="914400" rtl="0" eaLnBrk="1" fontAlgn="auto" latinLnBrk="0" hangingPunct="1">
              <a:lnSpc>
                <a:spcPct val="100000"/>
              </a:lnSpc>
              <a:spcBef>
                <a:spcPts val="300"/>
              </a:spcBef>
              <a:spcAft>
                <a:spcPts val="0"/>
              </a:spcAft>
              <a:buClrTx/>
              <a:buSzTx/>
              <a:buFontTx/>
              <a:buNone/>
              <a:tabLst/>
              <a:defRPr/>
            </a:pPr>
            <a:r>
              <a:rPr lang="en-GB" b="0" baseline="0" dirty="0">
                <a:solidFill>
                  <a:srgbClr val="000000"/>
                </a:solidFill>
                <a:latin typeface="Segoe UI" panose="020B0502040204020203" pitchFamily="34" charset="0"/>
                <a:cs typeface="Segoe UI" panose="020B0502040204020203" pitchFamily="34" charset="0"/>
                <a:sym typeface="Wingdings" panose="05000000000000000000" pitchFamily="2" charset="2"/>
              </a:rPr>
              <a:t> </a:t>
            </a:r>
            <a:r>
              <a:rPr lang="en-GB" b="0" baseline="0" dirty="0" err="1">
                <a:solidFill>
                  <a:srgbClr val="000000"/>
                </a:solidFill>
                <a:latin typeface="Segoe UI" panose="020B0502040204020203" pitchFamily="34" charset="0"/>
                <a:cs typeface="Segoe UI" panose="020B0502040204020203" pitchFamily="34" charset="0"/>
                <a:sym typeface="Wingdings" panose="05000000000000000000" pitchFamily="2" charset="2"/>
              </a:rPr>
              <a:t>Auswirkung</a:t>
            </a:r>
            <a:r>
              <a:rPr lang="en-GB" b="0" dirty="0">
                <a:solidFill>
                  <a:srgbClr val="000000"/>
                </a:solidFill>
                <a:latin typeface="Segoe UI" panose="020B0502040204020203" pitchFamily="34" charset="0"/>
                <a:cs typeface="Segoe UI" panose="020B0502040204020203" pitchFamily="34" charset="0"/>
                <a:sym typeface="Wingdings" panose="05000000000000000000" pitchFamily="2" charset="2"/>
              </a:rPr>
              <a:t> </a:t>
            </a:r>
            <a:r>
              <a:rPr lang="en-GB" b="0" dirty="0" err="1">
                <a:solidFill>
                  <a:srgbClr val="000000"/>
                </a:solidFill>
                <a:latin typeface="Segoe UI" panose="020B0502040204020203" pitchFamily="34" charset="0"/>
                <a:cs typeface="Segoe UI" panose="020B0502040204020203" pitchFamily="34" charset="0"/>
                <a:sym typeface="Wingdings" panose="05000000000000000000" pitchFamily="2" charset="2"/>
              </a:rPr>
              <a:t>nur</a:t>
            </a:r>
            <a:r>
              <a:rPr lang="en-GB" b="0" dirty="0">
                <a:solidFill>
                  <a:srgbClr val="000000"/>
                </a:solidFill>
                <a:latin typeface="Segoe UI" panose="020B0502040204020203" pitchFamily="34" charset="0"/>
                <a:cs typeface="Segoe UI" panose="020B0502040204020203" pitchFamily="34" charset="0"/>
                <a:sym typeface="Wingdings" panose="05000000000000000000" pitchFamily="2" charset="2"/>
              </a:rPr>
              <a:t> </a:t>
            </a:r>
            <a:r>
              <a:rPr lang="en-GB" b="0" dirty="0" err="1">
                <a:solidFill>
                  <a:srgbClr val="000000"/>
                </a:solidFill>
                <a:latin typeface="Segoe UI" panose="020B0502040204020203" pitchFamily="34" charset="0"/>
                <a:cs typeface="Segoe UI" panose="020B0502040204020203" pitchFamily="34" charset="0"/>
                <a:sym typeface="Wingdings" panose="05000000000000000000" pitchFamily="2" charset="2"/>
              </a:rPr>
              <a:t>im</a:t>
            </a:r>
            <a:r>
              <a:rPr lang="en-GB" b="0" dirty="0">
                <a:solidFill>
                  <a:srgbClr val="000000"/>
                </a:solidFill>
                <a:latin typeface="Segoe UI" panose="020B0502040204020203" pitchFamily="34" charset="0"/>
                <a:cs typeface="Segoe UI" panose="020B0502040204020203" pitchFamily="34" charset="0"/>
                <a:sym typeface="Wingdings" panose="05000000000000000000" pitchFamily="2" charset="2"/>
              </a:rPr>
              <a:t> </a:t>
            </a:r>
            <a:r>
              <a:rPr lang="en-GB" b="0" dirty="0" err="1">
                <a:solidFill>
                  <a:srgbClr val="000000"/>
                </a:solidFill>
                <a:latin typeface="Segoe UI" panose="020B0502040204020203" pitchFamily="34" charset="0"/>
                <a:cs typeface="Segoe UI" panose="020B0502040204020203" pitchFamily="34" charset="0"/>
                <a:sym typeface="Wingdings" panose="05000000000000000000" pitchFamily="2" charset="2"/>
              </a:rPr>
              <a:t>Teileinkünfteverfahren</a:t>
            </a:r>
            <a:r>
              <a:rPr lang="en-GB" b="0" dirty="0">
                <a:solidFill>
                  <a:srgbClr val="000000"/>
                </a:solidFill>
                <a:latin typeface="Segoe UI" panose="020B0502040204020203" pitchFamily="34" charset="0"/>
                <a:cs typeface="Segoe UI" panose="020B0502040204020203" pitchFamily="34" charset="0"/>
                <a:sym typeface="Wingdings" panose="05000000000000000000" pitchFamily="2" charset="2"/>
              </a:rPr>
              <a:t> </a:t>
            </a: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8" name="Textplatzhalter 1">
            <a:extLst>
              <a:ext uri="{FF2B5EF4-FFF2-40B4-BE49-F238E27FC236}">
                <a16:creationId xmlns:a16="http://schemas.microsoft.com/office/drawing/2014/main" id="{ACADD1F0-2E4D-80F4-134C-04DAAC6519B5}"/>
              </a:ext>
            </a:extLst>
          </p:cNvPr>
          <p:cNvSpPr txBox="1">
            <a:spLocks/>
          </p:cNvSpPr>
          <p:nvPr/>
        </p:nvSpPr>
        <p:spPr>
          <a:xfrm>
            <a:off x="5257168" y="4308475"/>
            <a:ext cx="5362513" cy="1713184"/>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GmbH</a:t>
            </a:r>
            <a:r>
              <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p>
          <a:p>
            <a:pPr marL="0" marR="0" lvl="0" indent="0" algn="l" defTabSz="914400" rtl="0" eaLnBrk="1" fontAlgn="auto" latinLnBrk="0" hangingPunct="1">
              <a:lnSpc>
                <a:spcPct val="100000"/>
              </a:lnSpc>
              <a:spcBef>
                <a:spcPts val="300"/>
              </a:spcBef>
              <a:spcAft>
                <a:spcPts val="0"/>
              </a:spcAft>
              <a:buClrTx/>
              <a:buSzTx/>
              <a:buFontTx/>
              <a:buNone/>
              <a:tabLst/>
              <a:defRPr/>
            </a:pPr>
            <a:r>
              <a:rPr lang="en-GB" b="0" dirty="0" err="1">
                <a:solidFill>
                  <a:srgbClr val="000000"/>
                </a:solidFill>
                <a:latin typeface="Segoe UI" panose="020B0502040204020203" pitchFamily="34" charset="0"/>
                <a:cs typeface="Segoe UI" panose="020B0502040204020203" pitchFamily="34" charset="0"/>
              </a:rPr>
              <a:t>Erfolgswirksame</a:t>
            </a:r>
            <a:r>
              <a:rPr lang="en-GB" b="0" dirty="0">
                <a:solidFill>
                  <a:srgbClr val="000000"/>
                </a:solidFill>
                <a:latin typeface="Segoe UI" panose="020B0502040204020203" pitchFamily="34" charset="0"/>
                <a:cs typeface="Segoe UI" panose="020B0502040204020203" pitchFamily="34" charset="0"/>
              </a:rPr>
              <a:t> </a:t>
            </a:r>
            <a:r>
              <a:rPr lang="en-GB" b="0" dirty="0" err="1">
                <a:solidFill>
                  <a:srgbClr val="000000"/>
                </a:solidFill>
                <a:latin typeface="Segoe UI" panose="020B0502040204020203" pitchFamily="34" charset="0"/>
                <a:cs typeface="Segoe UI" panose="020B0502040204020203" pitchFamily="34" charset="0"/>
              </a:rPr>
              <a:t>Auflösung</a:t>
            </a:r>
            <a:r>
              <a:rPr lang="en-GB" b="0" dirty="0">
                <a:solidFill>
                  <a:srgbClr val="000000"/>
                </a:solidFill>
                <a:latin typeface="Segoe UI" panose="020B0502040204020203" pitchFamily="34" charset="0"/>
                <a:cs typeface="Segoe UI" panose="020B0502040204020203" pitchFamily="34" charset="0"/>
              </a:rPr>
              <a:t> der </a:t>
            </a:r>
            <a:r>
              <a:rPr lang="en-GB" b="0" dirty="0" err="1">
                <a:solidFill>
                  <a:srgbClr val="000000"/>
                </a:solidFill>
                <a:latin typeface="Segoe UI" panose="020B0502040204020203" pitchFamily="34" charset="0"/>
                <a:cs typeface="Segoe UI" panose="020B0502040204020203" pitchFamily="34" charset="0"/>
              </a:rPr>
              <a:t>Pensionsrückstellung</a:t>
            </a:r>
            <a:r>
              <a:rPr lang="en-GB" b="0" dirty="0">
                <a:solidFill>
                  <a:srgbClr val="000000"/>
                </a:solidFill>
                <a:latin typeface="Segoe UI" panose="020B0502040204020203" pitchFamily="34" charset="0"/>
                <a:cs typeface="Segoe UI" panose="020B0502040204020203" pitchFamily="34" charset="0"/>
              </a:rPr>
              <a:t> </a:t>
            </a: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r>
              <a:rPr lang="en-GB" b="0" dirty="0" err="1">
                <a:solidFill>
                  <a:srgbClr val="000000"/>
                </a:solidFill>
                <a:latin typeface="Segoe UI" panose="020B0502040204020203" pitchFamily="34" charset="0"/>
                <a:cs typeface="Segoe UI" panose="020B0502040204020203" pitchFamily="34" charset="0"/>
              </a:rPr>
              <a:t>Verdeckte</a:t>
            </a:r>
            <a:r>
              <a:rPr lang="en-GB" b="0" dirty="0">
                <a:solidFill>
                  <a:srgbClr val="000000"/>
                </a:solidFill>
                <a:latin typeface="Segoe UI" panose="020B0502040204020203" pitchFamily="34" charset="0"/>
                <a:cs typeface="Segoe UI" panose="020B0502040204020203" pitchFamily="34" charset="0"/>
              </a:rPr>
              <a:t> </a:t>
            </a:r>
            <a:r>
              <a:rPr lang="en-GB" b="0" dirty="0" err="1">
                <a:solidFill>
                  <a:srgbClr val="000000"/>
                </a:solidFill>
                <a:latin typeface="Segoe UI" panose="020B0502040204020203" pitchFamily="34" charset="0"/>
                <a:cs typeface="Segoe UI" panose="020B0502040204020203" pitchFamily="34" charset="0"/>
              </a:rPr>
              <a:t>Einlage</a:t>
            </a:r>
            <a:r>
              <a:rPr lang="en-GB" b="0" dirty="0">
                <a:solidFill>
                  <a:srgbClr val="000000"/>
                </a:solidFill>
                <a:latin typeface="Segoe UI" panose="020B0502040204020203" pitchFamily="34" charset="0"/>
                <a:cs typeface="Segoe UI" panose="020B0502040204020203" pitchFamily="34" charset="0"/>
              </a:rPr>
              <a:t> </a:t>
            </a:r>
            <a:r>
              <a:rPr lang="en-GB" b="0" dirty="0" err="1">
                <a:solidFill>
                  <a:srgbClr val="000000"/>
                </a:solidFill>
                <a:latin typeface="Segoe UI" panose="020B0502040204020203" pitchFamily="34" charset="0"/>
                <a:cs typeface="Segoe UI" panose="020B0502040204020203" pitchFamily="34" charset="0"/>
              </a:rPr>
              <a:t>mit</a:t>
            </a:r>
            <a:r>
              <a:rPr lang="en-GB" b="0" dirty="0">
                <a:solidFill>
                  <a:srgbClr val="000000"/>
                </a:solidFill>
                <a:latin typeface="Segoe UI" panose="020B0502040204020203" pitchFamily="34" charset="0"/>
                <a:cs typeface="Segoe UI" panose="020B0502040204020203" pitchFamily="34" charset="0"/>
              </a:rPr>
              <a:t> </a:t>
            </a:r>
            <a:r>
              <a:rPr lang="en-GB" b="0" dirty="0" err="1">
                <a:solidFill>
                  <a:srgbClr val="000000"/>
                </a:solidFill>
                <a:latin typeface="Segoe UI" panose="020B0502040204020203" pitchFamily="34" charset="0"/>
                <a:cs typeface="Segoe UI" panose="020B0502040204020203" pitchFamily="34" charset="0"/>
              </a:rPr>
              <a:t>dem</a:t>
            </a:r>
            <a:r>
              <a:rPr lang="en-GB" b="0" dirty="0">
                <a:solidFill>
                  <a:srgbClr val="000000"/>
                </a:solidFill>
                <a:latin typeface="Segoe UI" panose="020B0502040204020203" pitchFamily="34" charset="0"/>
                <a:cs typeface="Segoe UI" panose="020B0502040204020203" pitchFamily="34" charset="0"/>
              </a:rPr>
              <a:t> </a:t>
            </a:r>
            <a:r>
              <a:rPr lang="en-GB" b="0" dirty="0" err="1">
                <a:solidFill>
                  <a:srgbClr val="000000"/>
                </a:solidFill>
                <a:latin typeface="Segoe UI" panose="020B0502040204020203" pitchFamily="34" charset="0"/>
                <a:cs typeface="Segoe UI" panose="020B0502040204020203" pitchFamily="34" charset="0"/>
              </a:rPr>
              <a:t>Teilwert</a:t>
            </a:r>
            <a:r>
              <a:rPr lang="en-GB" b="0" dirty="0">
                <a:solidFill>
                  <a:srgbClr val="000000"/>
                </a:solidFill>
                <a:latin typeface="Segoe UI" panose="020B0502040204020203" pitchFamily="34" charset="0"/>
                <a:cs typeface="Segoe UI" panose="020B0502040204020203" pitchFamily="34" charset="0"/>
              </a:rPr>
              <a:t> </a:t>
            </a: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r>
              <a:rPr lang="en-GB" b="0" dirty="0">
                <a:solidFill>
                  <a:srgbClr val="000000"/>
                </a:solidFill>
                <a:latin typeface="Segoe UI" panose="020B0502040204020203" pitchFamily="34" charset="0"/>
                <a:cs typeface="Segoe UI" panose="020B0502040204020203" pitchFamily="34" charset="0"/>
              </a:rPr>
              <a:t>[</a:t>
            </a:r>
            <a:r>
              <a:rPr lang="en-GB" b="0" dirty="0" err="1">
                <a:solidFill>
                  <a:srgbClr val="000000"/>
                </a:solidFill>
                <a:latin typeface="Segoe UI" panose="020B0502040204020203" pitchFamily="34" charset="0"/>
                <a:cs typeface="Segoe UI" panose="020B0502040204020203" pitchFamily="34" charset="0"/>
              </a:rPr>
              <a:t>Teilwert</a:t>
            </a:r>
            <a:r>
              <a:rPr lang="en-GB" b="0" dirty="0">
                <a:solidFill>
                  <a:srgbClr val="000000"/>
                </a:solidFill>
                <a:latin typeface="Segoe UI" panose="020B0502040204020203" pitchFamily="34" charset="0"/>
                <a:cs typeface="Segoe UI" panose="020B0502040204020203" pitchFamily="34" charset="0"/>
              </a:rPr>
              <a:t> = </a:t>
            </a:r>
            <a:r>
              <a:rPr lang="en-GB" b="0" dirty="0" err="1">
                <a:solidFill>
                  <a:srgbClr val="000000"/>
                </a:solidFill>
                <a:latin typeface="Segoe UI" panose="020B0502040204020203" pitchFamily="34" charset="0"/>
                <a:cs typeface="Segoe UI" panose="020B0502040204020203" pitchFamily="34" charset="0"/>
              </a:rPr>
              <a:t>fiktive</a:t>
            </a:r>
            <a:r>
              <a:rPr lang="en-GB" b="0" dirty="0">
                <a:solidFill>
                  <a:srgbClr val="000000"/>
                </a:solidFill>
                <a:latin typeface="Segoe UI" panose="020B0502040204020203" pitchFamily="34" charset="0"/>
                <a:cs typeface="Segoe UI" panose="020B0502040204020203" pitchFamily="34" charset="0"/>
              </a:rPr>
              <a:t> </a:t>
            </a:r>
            <a:r>
              <a:rPr lang="en-GB" b="0" dirty="0" err="1">
                <a:solidFill>
                  <a:srgbClr val="000000"/>
                </a:solidFill>
                <a:latin typeface="Segoe UI" panose="020B0502040204020203" pitchFamily="34" charset="0"/>
                <a:cs typeface="Segoe UI" panose="020B0502040204020203" pitchFamily="34" charset="0"/>
              </a:rPr>
              <a:t>Einmalprämie</a:t>
            </a:r>
            <a:r>
              <a:rPr lang="en-GB" b="0" dirty="0">
                <a:solidFill>
                  <a:srgbClr val="000000"/>
                </a:solidFill>
                <a:latin typeface="Segoe UI" panose="020B0502040204020203" pitchFamily="34" charset="0"/>
                <a:cs typeface="Segoe UI" panose="020B0502040204020203" pitchFamily="34" charset="0"/>
              </a:rPr>
              <a:t> </a:t>
            </a:r>
            <a:r>
              <a:rPr lang="en-GB" b="0" dirty="0" err="1">
                <a:solidFill>
                  <a:srgbClr val="000000"/>
                </a:solidFill>
                <a:latin typeface="Segoe UI" panose="020B0502040204020203" pitchFamily="34" charset="0"/>
                <a:cs typeface="Segoe UI" panose="020B0502040204020203" pitchFamily="34" charset="0"/>
              </a:rPr>
              <a:t>gegen</a:t>
            </a:r>
            <a:r>
              <a:rPr lang="en-GB" b="0" dirty="0">
                <a:solidFill>
                  <a:srgbClr val="000000"/>
                </a:solidFill>
                <a:latin typeface="Segoe UI" panose="020B0502040204020203" pitchFamily="34" charset="0"/>
                <a:cs typeface="Segoe UI" panose="020B0502040204020203" pitchFamily="34" charset="0"/>
              </a:rPr>
              <a:t> </a:t>
            </a:r>
            <a:r>
              <a:rPr lang="en-GB" b="0" dirty="0" err="1">
                <a:solidFill>
                  <a:srgbClr val="000000"/>
                </a:solidFill>
                <a:latin typeface="Segoe UI" panose="020B0502040204020203" pitchFamily="34" charset="0"/>
                <a:cs typeface="Segoe UI" panose="020B0502040204020203" pitchFamily="34" charset="0"/>
              </a:rPr>
              <a:t>vergleichbaren</a:t>
            </a:r>
            <a:r>
              <a:rPr lang="en-GB" b="0" dirty="0">
                <a:solidFill>
                  <a:srgbClr val="000000"/>
                </a:solidFill>
                <a:latin typeface="Segoe UI" panose="020B0502040204020203" pitchFamily="34" charset="0"/>
                <a:cs typeface="Segoe UI" panose="020B0502040204020203" pitchFamily="34" charset="0"/>
              </a:rPr>
              <a:t> </a:t>
            </a:r>
            <a:r>
              <a:rPr lang="en-GB" b="0" dirty="0" err="1">
                <a:solidFill>
                  <a:srgbClr val="000000"/>
                </a:solidFill>
                <a:latin typeface="Segoe UI" panose="020B0502040204020203" pitchFamily="34" charset="0"/>
                <a:cs typeface="Segoe UI" panose="020B0502040204020203" pitchFamily="34" charset="0"/>
              </a:rPr>
              <a:t>Schuldner</a:t>
            </a:r>
            <a:r>
              <a:rPr lang="en-GB" b="0" dirty="0">
                <a:solidFill>
                  <a:srgbClr val="000000"/>
                </a:solidFill>
                <a:latin typeface="Segoe UI" panose="020B0502040204020203" pitchFamily="34" charset="0"/>
                <a:cs typeface="Segoe UI" panose="020B0502040204020203" pitchFamily="34" charset="0"/>
              </a:rPr>
              <a:t> (</a:t>
            </a:r>
            <a:r>
              <a:rPr lang="en-GB" b="0" dirty="0" err="1">
                <a:solidFill>
                  <a:srgbClr val="000000"/>
                </a:solidFill>
                <a:latin typeface="Segoe UI" panose="020B0502040204020203" pitchFamily="34" charset="0"/>
                <a:cs typeface="Segoe UI" panose="020B0502040204020203" pitchFamily="34" charset="0"/>
              </a:rPr>
              <a:t>Bonitätsproblem</a:t>
            </a:r>
            <a:r>
              <a:rPr lang="en-GB" b="0" dirty="0">
                <a:solidFill>
                  <a:srgbClr val="000000"/>
                </a:solidFill>
                <a:latin typeface="Segoe UI" panose="020B0502040204020203" pitchFamily="34" charset="0"/>
                <a:cs typeface="Segoe UI" panose="020B0502040204020203" pitchFamily="34" charset="0"/>
              </a:rPr>
              <a:t>)]</a:t>
            </a: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9" name="Textplatzhalter 1">
            <a:extLst>
              <a:ext uri="{FF2B5EF4-FFF2-40B4-BE49-F238E27FC236}">
                <a16:creationId xmlns:a16="http://schemas.microsoft.com/office/drawing/2014/main" id="{9CEB54B7-FF40-24E1-E413-7B1FF4B0D148}"/>
              </a:ext>
            </a:extLst>
          </p:cNvPr>
          <p:cNvSpPr txBox="1">
            <a:spLocks/>
          </p:cNvSpPr>
          <p:nvPr/>
        </p:nvSpPr>
        <p:spPr>
          <a:xfrm>
            <a:off x="555070" y="4676103"/>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0" name="Textplatzhalter 1">
            <a:extLst>
              <a:ext uri="{FF2B5EF4-FFF2-40B4-BE49-F238E27FC236}">
                <a16:creationId xmlns:a16="http://schemas.microsoft.com/office/drawing/2014/main" id="{A460544E-4376-F1E8-E479-F1402B9E67F2}"/>
              </a:ext>
            </a:extLst>
          </p:cNvPr>
          <p:cNvSpPr txBox="1">
            <a:spLocks/>
          </p:cNvSpPr>
          <p:nvPr/>
        </p:nvSpPr>
        <p:spPr>
          <a:xfrm>
            <a:off x="555070" y="2759052"/>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2" name="Textplatzhalter 1">
            <a:extLst>
              <a:ext uri="{FF2B5EF4-FFF2-40B4-BE49-F238E27FC236}">
                <a16:creationId xmlns:a16="http://schemas.microsoft.com/office/drawing/2014/main" id="{96CD7934-85B8-5AC2-78CD-B98532067C64}"/>
              </a:ext>
            </a:extLst>
          </p:cNvPr>
          <p:cNvSpPr txBox="1">
            <a:spLocks/>
          </p:cNvSpPr>
          <p:nvPr/>
        </p:nvSpPr>
        <p:spPr>
          <a:xfrm>
            <a:off x="351905" y="6419490"/>
            <a:ext cx="3461812" cy="701685"/>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BFH</a:t>
            </a:r>
            <a:r>
              <a:rPr kumimoji="0" lang="en-GB" sz="1200" b="0" i="0" u="none"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200" b="0" i="0" u="none"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Großer</a:t>
            </a:r>
            <a:r>
              <a:rPr kumimoji="0" lang="en-GB" sz="1200" b="0" i="0" u="none"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200" b="0" i="0" u="none"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Senat</a:t>
            </a:r>
            <a:r>
              <a:rPr lang="en-GB" sz="1200" b="0" dirty="0">
                <a:solidFill>
                  <a:srgbClr val="000000"/>
                </a:solidFill>
                <a:latin typeface="Segoe UI" panose="020B0502040204020203" pitchFamily="34" charset="0"/>
                <a:cs typeface="Segoe UI" panose="020B0502040204020203" pitchFamily="34" charset="0"/>
              </a:rPr>
              <a:t> </a:t>
            </a:r>
            <a:r>
              <a:rPr lang="en-GB" sz="1200" b="0" dirty="0" err="1">
                <a:solidFill>
                  <a:srgbClr val="000000"/>
                </a:solidFill>
                <a:latin typeface="Segoe UI" panose="020B0502040204020203" pitchFamily="34" charset="0"/>
                <a:cs typeface="Segoe UI" panose="020B0502040204020203" pitchFamily="34" charset="0"/>
              </a:rPr>
              <a:t>vom</a:t>
            </a:r>
            <a:r>
              <a:rPr lang="en-GB" sz="1200" b="0" dirty="0">
                <a:solidFill>
                  <a:srgbClr val="000000"/>
                </a:solidFill>
                <a:latin typeface="Segoe UI" panose="020B0502040204020203" pitchFamily="34" charset="0"/>
                <a:cs typeface="Segoe UI" panose="020B0502040204020203" pitchFamily="34" charset="0"/>
              </a:rPr>
              <a:t> 09.06.1997 </a:t>
            </a:r>
            <a:endParaRPr kumimoji="0" lang="en-GB" sz="12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66180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0C2288-A082-FF9E-05DD-6A813C78A411}"/>
            </a:ext>
          </a:extLst>
        </p:cNvPr>
        <p:cNvGrpSpPr/>
        <p:nvPr/>
      </p:nvGrpSpPr>
      <p:grpSpPr>
        <a:xfrm>
          <a:off x="0" y="0"/>
          <a:ext cx="0" cy="0"/>
          <a:chOff x="0" y="0"/>
          <a:chExt cx="0" cy="0"/>
        </a:xfrm>
      </p:grpSpPr>
      <p:sp>
        <p:nvSpPr>
          <p:cNvPr id="6" name="TextBox 18">
            <a:extLst>
              <a:ext uri="{FF2B5EF4-FFF2-40B4-BE49-F238E27FC236}">
                <a16:creationId xmlns:a16="http://schemas.microsoft.com/office/drawing/2014/main" id="{878FF91D-15A9-C17F-CEA1-7E75CFD9B7B4}"/>
              </a:ext>
            </a:extLst>
          </p:cNvPr>
          <p:cNvSpPr txBox="1"/>
          <p:nvPr/>
        </p:nvSpPr>
        <p:spPr>
          <a:xfrm>
            <a:off x="896416" y="1021332"/>
            <a:ext cx="5513909" cy="584775"/>
          </a:xfrm>
          <a:prstGeom prst="rect">
            <a:avLst/>
          </a:prstGeom>
          <a:noFill/>
        </p:spPr>
        <p:txBody>
          <a:bodyPr wrap="square" rtlCol="0">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genda</a:t>
            </a:r>
          </a:p>
        </p:txBody>
      </p:sp>
      <p:graphicFrame>
        <p:nvGraphicFramePr>
          <p:cNvPr id="8" name="OT_AgendaTable">
            <a:extLst>
              <a:ext uri="{FF2B5EF4-FFF2-40B4-BE49-F238E27FC236}">
                <a16:creationId xmlns:a16="http://schemas.microsoft.com/office/drawing/2014/main" id="{7774BC4F-99CE-6715-19F1-F8F0FD7980F6}"/>
              </a:ext>
            </a:extLst>
          </p:cNvPr>
          <p:cNvGraphicFramePr>
            <a:graphicFrameLocks noGrp="1"/>
          </p:cNvGraphicFramePr>
          <p:nvPr>
            <p:custDataLst>
              <p:tags r:id="rId1"/>
            </p:custDataLst>
            <p:extLst>
              <p:ext uri="{D42A27DB-BD31-4B8C-83A1-F6EECF244321}">
                <p14:modId xmlns:p14="http://schemas.microsoft.com/office/powerpoint/2010/main" val="3382503734"/>
              </p:ext>
            </p:extLst>
          </p:nvPr>
        </p:nvGraphicFramePr>
        <p:xfrm>
          <a:off x="909551" y="1923728"/>
          <a:ext cx="9907131" cy="3386664"/>
        </p:xfrm>
        <a:graphic>
          <a:graphicData uri="http://schemas.openxmlformats.org/drawingml/2006/table">
            <a:tbl>
              <a:tblPr firstRow="1" bandRow="1">
                <a:tableStyleId>{2D5ABB26-0587-4C30-8999-92F81FD0307C}</a:tableStyleId>
              </a:tblPr>
              <a:tblGrid>
                <a:gridCol w="9907131">
                  <a:extLst>
                    <a:ext uri="{9D8B030D-6E8A-4147-A177-3AD203B41FA5}">
                      <a16:colId xmlns:a16="http://schemas.microsoft.com/office/drawing/2014/main" val="3315970368"/>
                    </a:ext>
                  </a:extLst>
                </a:gridCol>
              </a:tblGrid>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kern="1200" dirty="0">
                          <a:solidFill>
                            <a:schemeClr val="tx1"/>
                          </a:solidFill>
                          <a:latin typeface="Segoe UI" panose="020B0502040204020203" pitchFamily="34" charset="0"/>
                          <a:ea typeface="+mn-ea"/>
                          <a:cs typeface="Segoe UI" panose="020B0502040204020203" pitchFamily="34" charset="0"/>
                        </a:rPr>
                        <a:t>Bedeutung von Pensionszusagen beim Unternehmensverkauf </a:t>
                      </a:r>
                    </a:p>
                  </a:txBody>
                  <a:tcPr anchor="ctr">
                    <a:noFill/>
                  </a:tcPr>
                </a:tc>
                <a:extLst>
                  <a:ext uri="{0D108BD9-81ED-4DB2-BD59-A6C34878D82A}">
                    <a16:rowId xmlns:a16="http://schemas.microsoft.com/office/drawing/2014/main" val="3130548413"/>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Die „richtige“ Bewertung der Pensionsverpflichtung </a:t>
                      </a:r>
                    </a:p>
                  </a:txBody>
                  <a:tcPr anchor="ctr">
                    <a:noFill/>
                  </a:tcPr>
                </a:tc>
                <a:extLst>
                  <a:ext uri="{0D108BD9-81ED-4DB2-BD59-A6C34878D82A}">
                    <a16:rowId xmlns:a16="http://schemas.microsoft.com/office/drawing/2014/main" val="3106507590"/>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Folgen des vollständigen Verzichtes auf eine Pensionszusage </a:t>
                      </a:r>
                    </a:p>
                  </a:txBody>
                  <a:tcPr anchor="ctr">
                    <a:noFill/>
                  </a:tcPr>
                </a:tc>
                <a:extLst>
                  <a:ext uri="{0D108BD9-81ED-4DB2-BD59-A6C34878D82A}">
                    <a16:rowId xmlns:a16="http://schemas.microsoft.com/office/drawing/2014/main" val="541056519"/>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1" dirty="0">
                          <a:solidFill>
                            <a:schemeClr val="tx1"/>
                          </a:solidFill>
                          <a:latin typeface="Segoe UI" panose="020B0502040204020203" pitchFamily="34" charset="0"/>
                          <a:cs typeface="Segoe UI" panose="020B0502040204020203" pitchFamily="34" charset="0"/>
                        </a:rPr>
                        <a:t>mögliche Lösung: </a:t>
                      </a:r>
                      <a:r>
                        <a:rPr lang="de-DE" sz="1800" b="1" dirty="0" err="1">
                          <a:solidFill>
                            <a:schemeClr val="tx1"/>
                          </a:solidFill>
                          <a:latin typeface="Segoe UI" panose="020B0502040204020203" pitchFamily="34" charset="0"/>
                          <a:cs typeface="Segoe UI" panose="020B0502040204020203" pitchFamily="34" charset="0"/>
                        </a:rPr>
                        <a:t>asset</a:t>
                      </a:r>
                      <a:r>
                        <a:rPr lang="de-DE" sz="1800" b="1" dirty="0">
                          <a:solidFill>
                            <a:schemeClr val="tx1"/>
                          </a:solidFill>
                          <a:latin typeface="Segoe UI" panose="020B0502040204020203" pitchFamily="34" charset="0"/>
                          <a:cs typeface="Segoe UI" panose="020B0502040204020203" pitchFamily="34" charset="0"/>
                        </a:rPr>
                        <a:t>-deal statt share-deal </a:t>
                      </a:r>
                    </a:p>
                  </a:txBody>
                  <a:tcPr anchor="ctr">
                    <a:solidFill>
                      <a:srgbClr val="FBBA00"/>
                    </a:solidFill>
                  </a:tcPr>
                </a:tc>
                <a:extLst>
                  <a:ext uri="{0D108BD9-81ED-4DB2-BD59-A6C34878D82A}">
                    <a16:rowId xmlns:a16="http://schemas.microsoft.com/office/drawing/2014/main" val="1873190663"/>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echte“ Auslagerung auf einen externen Versorgungsträger  </a:t>
                      </a:r>
                    </a:p>
                  </a:txBody>
                  <a:tcPr anchor="ctr">
                    <a:noFill/>
                  </a:tcPr>
                </a:tc>
                <a:extLst>
                  <a:ext uri="{0D108BD9-81ED-4DB2-BD59-A6C34878D82A}">
                    <a16:rowId xmlns:a16="http://schemas.microsoft.com/office/drawing/2014/main" val="847646844"/>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Übertragung auf eine „Rentner-GmbH“ / „Holding-Struktur“ </a:t>
                      </a:r>
                    </a:p>
                  </a:txBody>
                  <a:tcPr anchor="ctr">
                    <a:solidFill>
                      <a:schemeClr val="bg1"/>
                    </a:solidFill>
                  </a:tcPr>
                </a:tc>
                <a:extLst>
                  <a:ext uri="{0D108BD9-81ED-4DB2-BD59-A6C34878D82A}">
                    <a16:rowId xmlns:a16="http://schemas.microsoft.com/office/drawing/2014/main" val="353730752"/>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Teilverzicht / Verzicht auf den „</a:t>
                      </a:r>
                      <a:r>
                        <a:rPr lang="de-DE" sz="1800" b="0" dirty="0" err="1">
                          <a:solidFill>
                            <a:schemeClr val="tx1"/>
                          </a:solidFill>
                          <a:latin typeface="Segoe UI" panose="020B0502040204020203" pitchFamily="34" charset="0"/>
                          <a:cs typeface="Segoe UI" panose="020B0502040204020203" pitchFamily="34" charset="0"/>
                        </a:rPr>
                        <a:t>future</a:t>
                      </a:r>
                      <a:r>
                        <a:rPr lang="de-DE" sz="1800" b="0" dirty="0">
                          <a:solidFill>
                            <a:schemeClr val="tx1"/>
                          </a:solidFill>
                          <a:latin typeface="Segoe UI" panose="020B0502040204020203" pitchFamily="34" charset="0"/>
                          <a:cs typeface="Segoe UI" panose="020B0502040204020203" pitchFamily="34" charset="0"/>
                        </a:rPr>
                        <a:t>-service“ </a:t>
                      </a:r>
                    </a:p>
                  </a:txBody>
                  <a:tcPr anchor="ctr">
                    <a:solidFill>
                      <a:schemeClr val="bg1"/>
                    </a:solidFill>
                  </a:tcPr>
                </a:tc>
                <a:extLst>
                  <a:ext uri="{0D108BD9-81ED-4DB2-BD59-A6C34878D82A}">
                    <a16:rowId xmlns:a16="http://schemas.microsoft.com/office/drawing/2014/main" val="3390285067"/>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Dringende Empfehlung: Vereinbarung der </a:t>
                      </a:r>
                      <a:r>
                        <a:rPr lang="de-DE" sz="1800" b="0" i="1" dirty="0">
                          <a:solidFill>
                            <a:schemeClr val="tx1"/>
                          </a:solidFill>
                          <a:latin typeface="Segoe UI" panose="020B0502040204020203" pitchFamily="34" charset="0"/>
                          <a:cs typeface="Segoe UI" panose="020B0502040204020203" pitchFamily="34" charset="0"/>
                        </a:rPr>
                        <a:t>Möglichkeit</a:t>
                      </a:r>
                      <a:r>
                        <a:rPr lang="de-DE" sz="1800" b="0" dirty="0">
                          <a:solidFill>
                            <a:schemeClr val="tx1"/>
                          </a:solidFill>
                          <a:latin typeface="Segoe UI" panose="020B0502040204020203" pitchFamily="34" charset="0"/>
                          <a:cs typeface="Segoe UI" panose="020B0502040204020203" pitchFamily="34" charset="0"/>
                        </a:rPr>
                        <a:t> einer einmaligen Kapitalabfindung </a:t>
                      </a:r>
                    </a:p>
                  </a:txBody>
                  <a:tcPr anchor="ctr">
                    <a:solidFill>
                      <a:schemeClr val="bg1"/>
                    </a:solidFill>
                  </a:tcPr>
                </a:tc>
                <a:extLst>
                  <a:ext uri="{0D108BD9-81ED-4DB2-BD59-A6C34878D82A}">
                    <a16:rowId xmlns:a16="http://schemas.microsoft.com/office/drawing/2014/main" val="2691783076"/>
                  </a:ext>
                </a:extLst>
              </a:tr>
            </a:tbl>
          </a:graphicData>
        </a:graphic>
      </p:graphicFrame>
    </p:spTree>
    <p:extLst>
      <p:ext uri="{BB962C8B-B14F-4D97-AF65-F5344CB8AC3E}">
        <p14:creationId xmlns:p14="http://schemas.microsoft.com/office/powerpoint/2010/main" val="1710477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4901D5-DF9B-9854-BE48-836009E3E1EF}"/>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CB366169-8E27-F004-C1AB-4F6F64C3759F}"/>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möglich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Lös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sset-deal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stat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share-deal</a:t>
            </a:r>
          </a:p>
        </p:txBody>
      </p:sp>
      <p:sp>
        <p:nvSpPr>
          <p:cNvPr id="18" name="Freeform: Shape 142">
            <a:extLst>
              <a:ext uri="{FF2B5EF4-FFF2-40B4-BE49-F238E27FC236}">
                <a16:creationId xmlns:a16="http://schemas.microsoft.com/office/drawing/2014/main" id="{AF933BA2-D40D-A47B-36FD-B17C65532F82}"/>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nvGrpSpPr>
          <p:cNvPr id="6" name="Gruppieren 5">
            <a:extLst>
              <a:ext uri="{FF2B5EF4-FFF2-40B4-BE49-F238E27FC236}">
                <a16:creationId xmlns:a16="http://schemas.microsoft.com/office/drawing/2014/main" id="{732BF283-86E5-5C1B-B17D-AF9B6A81B82D}"/>
              </a:ext>
            </a:extLst>
          </p:cNvPr>
          <p:cNvGrpSpPr/>
          <p:nvPr/>
        </p:nvGrpSpPr>
        <p:grpSpPr>
          <a:xfrm>
            <a:off x="2082811" y="2193666"/>
            <a:ext cx="1405717" cy="3985406"/>
            <a:chOff x="2462777" y="1904484"/>
            <a:chExt cx="1405717" cy="3985406"/>
          </a:xfrm>
        </p:grpSpPr>
        <p:grpSp>
          <p:nvGrpSpPr>
            <p:cNvPr id="7" name="Group 138">
              <a:extLst>
                <a:ext uri="{FF2B5EF4-FFF2-40B4-BE49-F238E27FC236}">
                  <a16:creationId xmlns:a16="http://schemas.microsoft.com/office/drawing/2014/main" id="{06DF270D-CFB3-4DC8-D5D0-3A5AE8498E18}"/>
                </a:ext>
              </a:extLst>
            </p:cNvPr>
            <p:cNvGrpSpPr/>
            <p:nvPr/>
          </p:nvGrpSpPr>
          <p:grpSpPr>
            <a:xfrm>
              <a:off x="2934725" y="1904484"/>
              <a:ext cx="461820" cy="461820"/>
              <a:chOff x="1236144" y="1532568"/>
              <a:chExt cx="834324" cy="834324"/>
            </a:xfrm>
          </p:grpSpPr>
          <p:sp>
            <p:nvSpPr>
              <p:cNvPr id="20" name="Freeform: Shape 139">
                <a:extLst>
                  <a:ext uri="{FF2B5EF4-FFF2-40B4-BE49-F238E27FC236}">
                    <a16:creationId xmlns:a16="http://schemas.microsoft.com/office/drawing/2014/main" id="{69FD4CCA-F6A3-B062-AABA-B9A33FDC7437}"/>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1" name="Freeform: Shape 140">
                <a:extLst>
                  <a:ext uri="{FF2B5EF4-FFF2-40B4-BE49-F238E27FC236}">
                    <a16:creationId xmlns:a16="http://schemas.microsoft.com/office/drawing/2014/main" id="{CB6F281C-347A-88A5-C425-0774F4E4FE17}"/>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2" name="Oval 157">
                <a:extLst>
                  <a:ext uri="{FF2B5EF4-FFF2-40B4-BE49-F238E27FC236}">
                    <a16:creationId xmlns:a16="http://schemas.microsoft.com/office/drawing/2014/main" id="{E06BACA3-549A-196C-EEA5-0FA36DDEF58B}"/>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23" name="Freeform: Shape 142">
                <a:extLst>
                  <a:ext uri="{FF2B5EF4-FFF2-40B4-BE49-F238E27FC236}">
                    <a16:creationId xmlns:a16="http://schemas.microsoft.com/office/drawing/2014/main" id="{27FAC9EA-0713-549C-049D-445F747B952E}"/>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8" name="Gruppieren 7">
              <a:extLst>
                <a:ext uri="{FF2B5EF4-FFF2-40B4-BE49-F238E27FC236}">
                  <a16:creationId xmlns:a16="http://schemas.microsoft.com/office/drawing/2014/main" id="{FFD7D534-1863-B09D-4FDF-BA2D438F5191}"/>
                </a:ext>
              </a:extLst>
            </p:cNvPr>
            <p:cNvGrpSpPr/>
            <p:nvPr/>
          </p:nvGrpSpPr>
          <p:grpSpPr>
            <a:xfrm>
              <a:off x="2462777" y="2379623"/>
              <a:ext cx="1405717" cy="3510267"/>
              <a:chOff x="2462777" y="2379623"/>
              <a:chExt cx="1405717" cy="3510267"/>
            </a:xfrm>
          </p:grpSpPr>
          <p:sp>
            <p:nvSpPr>
              <p:cNvPr id="11" name="Textfeld 10">
                <a:extLst>
                  <a:ext uri="{FF2B5EF4-FFF2-40B4-BE49-F238E27FC236}">
                    <a16:creationId xmlns:a16="http://schemas.microsoft.com/office/drawing/2014/main" id="{A272962D-89B9-86E1-2E0F-9B37D415BB02}"/>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2" name="Pfeil nach unten 91">
                <a:extLst>
                  <a:ext uri="{FF2B5EF4-FFF2-40B4-BE49-F238E27FC236}">
                    <a16:creationId xmlns:a16="http://schemas.microsoft.com/office/drawing/2014/main" id="{8FF88586-2309-433C-80C5-8A9B8B3F37CB}"/>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nvGrpSpPr>
              <p:cNvPr id="13" name="Group 138">
                <a:extLst>
                  <a:ext uri="{FF2B5EF4-FFF2-40B4-BE49-F238E27FC236}">
                    <a16:creationId xmlns:a16="http://schemas.microsoft.com/office/drawing/2014/main" id="{E4B3C2BC-76A4-24E5-1D90-AA126F4E4CC7}"/>
                  </a:ext>
                </a:extLst>
              </p:cNvPr>
              <p:cNvGrpSpPr/>
              <p:nvPr/>
            </p:nvGrpSpPr>
            <p:grpSpPr>
              <a:xfrm>
                <a:off x="3158154" y="3941620"/>
                <a:ext cx="3200" cy="4053"/>
                <a:chOff x="1650415" y="1908302"/>
                <a:chExt cx="5782" cy="7322"/>
              </a:xfrm>
            </p:grpSpPr>
            <p:sp>
              <p:nvSpPr>
                <p:cNvPr id="17" name="Freeform: Shape 139">
                  <a:extLst>
                    <a:ext uri="{FF2B5EF4-FFF2-40B4-BE49-F238E27FC236}">
                      <a16:creationId xmlns:a16="http://schemas.microsoft.com/office/drawing/2014/main" id="{76FE5377-3553-B274-B695-FC089C41A984}"/>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9" name="Freeform: Shape 140">
                  <a:extLst>
                    <a:ext uri="{FF2B5EF4-FFF2-40B4-BE49-F238E27FC236}">
                      <a16:creationId xmlns:a16="http://schemas.microsoft.com/office/drawing/2014/main" id="{7F6A535F-6404-A80C-81F1-AB75973EA825}"/>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14" name="Group 138">
                <a:extLst>
                  <a:ext uri="{FF2B5EF4-FFF2-40B4-BE49-F238E27FC236}">
                    <a16:creationId xmlns:a16="http://schemas.microsoft.com/office/drawing/2014/main" id="{53EECC92-2CA3-1370-F2F6-71EA0920C5EA}"/>
                  </a:ext>
                </a:extLst>
              </p:cNvPr>
              <p:cNvGrpSpPr/>
              <p:nvPr/>
            </p:nvGrpSpPr>
            <p:grpSpPr>
              <a:xfrm>
                <a:off x="3163895" y="5885837"/>
                <a:ext cx="3200" cy="4053"/>
                <a:chOff x="1650415" y="1908302"/>
                <a:chExt cx="5782" cy="7322"/>
              </a:xfrm>
            </p:grpSpPr>
            <p:sp>
              <p:nvSpPr>
                <p:cNvPr id="15" name="Freeform: Shape 139">
                  <a:extLst>
                    <a:ext uri="{FF2B5EF4-FFF2-40B4-BE49-F238E27FC236}">
                      <a16:creationId xmlns:a16="http://schemas.microsoft.com/office/drawing/2014/main" id="{6C5C06C9-03A9-229B-0C02-4EAAE0874C0E}"/>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6" name="Freeform: Shape 140">
                  <a:extLst>
                    <a:ext uri="{FF2B5EF4-FFF2-40B4-BE49-F238E27FC236}">
                      <a16:creationId xmlns:a16="http://schemas.microsoft.com/office/drawing/2014/main" id="{2DA09DB5-7892-85A8-F2A4-62E160A62576}"/>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grpSp>
      <p:sp>
        <p:nvSpPr>
          <p:cNvPr id="24" name="Rechteck 23">
            <a:extLst>
              <a:ext uri="{FF2B5EF4-FFF2-40B4-BE49-F238E27FC236}">
                <a16:creationId xmlns:a16="http://schemas.microsoft.com/office/drawing/2014/main" id="{0EF3181B-45DD-DBEF-D1A2-6A361828E6F9}"/>
              </a:ext>
            </a:extLst>
          </p:cNvPr>
          <p:cNvSpPr/>
          <p:nvPr/>
        </p:nvSpPr>
        <p:spPr>
          <a:xfrm>
            <a:off x="2239845" y="4034895"/>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25" name="Textplatzhalter 1">
            <a:extLst>
              <a:ext uri="{FF2B5EF4-FFF2-40B4-BE49-F238E27FC236}">
                <a16:creationId xmlns:a16="http://schemas.microsoft.com/office/drawing/2014/main" id="{4729716C-0B7C-9A31-57BF-CEB09AD61EC3}"/>
              </a:ext>
            </a:extLst>
          </p:cNvPr>
          <p:cNvSpPr txBox="1">
            <a:spLocks/>
          </p:cNvSpPr>
          <p:nvPr/>
        </p:nvSpPr>
        <p:spPr>
          <a:xfrm>
            <a:off x="555070" y="4113392"/>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26" name="Textplatzhalter 1">
            <a:extLst>
              <a:ext uri="{FF2B5EF4-FFF2-40B4-BE49-F238E27FC236}">
                <a16:creationId xmlns:a16="http://schemas.microsoft.com/office/drawing/2014/main" id="{46489D25-1655-F652-0D3D-2A620AECE355}"/>
              </a:ext>
            </a:extLst>
          </p:cNvPr>
          <p:cNvSpPr txBox="1">
            <a:spLocks/>
          </p:cNvSpPr>
          <p:nvPr/>
        </p:nvSpPr>
        <p:spPr>
          <a:xfrm>
            <a:off x="555070" y="2196341"/>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07607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122A1E-BC0B-BD7B-24BA-5A10779D3592}"/>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F2BE5AE1-BC00-EFDB-5802-BF12DBE84A1D}"/>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möglich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Lös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sset-deal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stat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share-deal</a:t>
            </a:r>
          </a:p>
        </p:txBody>
      </p:sp>
      <p:grpSp>
        <p:nvGrpSpPr>
          <p:cNvPr id="3" name="Gruppieren 2">
            <a:extLst>
              <a:ext uri="{FF2B5EF4-FFF2-40B4-BE49-F238E27FC236}">
                <a16:creationId xmlns:a16="http://schemas.microsoft.com/office/drawing/2014/main" id="{3CD10A1B-A59D-C0D8-B454-E502D4FE7991}"/>
              </a:ext>
            </a:extLst>
          </p:cNvPr>
          <p:cNvGrpSpPr/>
          <p:nvPr/>
        </p:nvGrpSpPr>
        <p:grpSpPr>
          <a:xfrm>
            <a:off x="2082811" y="2193666"/>
            <a:ext cx="1405717" cy="3985406"/>
            <a:chOff x="2462777" y="1904484"/>
            <a:chExt cx="1405717" cy="3985406"/>
          </a:xfrm>
        </p:grpSpPr>
        <p:grpSp>
          <p:nvGrpSpPr>
            <p:cNvPr id="102" name="Group 138">
              <a:extLst>
                <a:ext uri="{FF2B5EF4-FFF2-40B4-BE49-F238E27FC236}">
                  <a16:creationId xmlns:a16="http://schemas.microsoft.com/office/drawing/2014/main" id="{BD639F76-2E64-8108-3979-F909B8654823}"/>
                </a:ext>
              </a:extLst>
            </p:cNvPr>
            <p:cNvGrpSpPr/>
            <p:nvPr/>
          </p:nvGrpSpPr>
          <p:grpSpPr>
            <a:xfrm>
              <a:off x="2934725" y="1904484"/>
              <a:ext cx="461820" cy="461820"/>
              <a:chOff x="1236144" y="1532568"/>
              <a:chExt cx="834324" cy="834324"/>
            </a:xfrm>
          </p:grpSpPr>
          <p:sp>
            <p:nvSpPr>
              <p:cNvPr id="103" name="Freeform: Shape 139">
                <a:extLst>
                  <a:ext uri="{FF2B5EF4-FFF2-40B4-BE49-F238E27FC236}">
                    <a16:creationId xmlns:a16="http://schemas.microsoft.com/office/drawing/2014/main" id="{5001631C-7861-FDEE-9DD9-30566CD84984}"/>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4" name="Freeform: Shape 140">
                <a:extLst>
                  <a:ext uri="{FF2B5EF4-FFF2-40B4-BE49-F238E27FC236}">
                    <a16:creationId xmlns:a16="http://schemas.microsoft.com/office/drawing/2014/main" id="{6AFD297C-FF24-FB30-5A30-44C070D6AACC}"/>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5" name="Oval 157">
                <a:extLst>
                  <a:ext uri="{FF2B5EF4-FFF2-40B4-BE49-F238E27FC236}">
                    <a16:creationId xmlns:a16="http://schemas.microsoft.com/office/drawing/2014/main" id="{7EAEB6D3-5460-3D46-C6D8-C147FCC9824E}"/>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06" name="Freeform: Shape 142">
                <a:extLst>
                  <a:ext uri="{FF2B5EF4-FFF2-40B4-BE49-F238E27FC236}">
                    <a16:creationId xmlns:a16="http://schemas.microsoft.com/office/drawing/2014/main" id="{3A15730B-EB13-A4BE-0DE1-6741E4A66FA3}"/>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2" name="Gruppieren 1">
              <a:extLst>
                <a:ext uri="{FF2B5EF4-FFF2-40B4-BE49-F238E27FC236}">
                  <a16:creationId xmlns:a16="http://schemas.microsoft.com/office/drawing/2014/main" id="{34FE7FD8-894C-A249-1699-E4EDD2020D3C}"/>
                </a:ext>
              </a:extLst>
            </p:cNvPr>
            <p:cNvGrpSpPr/>
            <p:nvPr/>
          </p:nvGrpSpPr>
          <p:grpSpPr>
            <a:xfrm>
              <a:off x="2462777" y="2379623"/>
              <a:ext cx="1405717" cy="3510267"/>
              <a:chOff x="2462777" y="2379623"/>
              <a:chExt cx="1405717" cy="3510267"/>
            </a:xfrm>
          </p:grpSpPr>
          <p:sp>
            <p:nvSpPr>
              <p:cNvPr id="100" name="Textfeld 99">
                <a:extLst>
                  <a:ext uri="{FF2B5EF4-FFF2-40B4-BE49-F238E27FC236}">
                    <a16:creationId xmlns:a16="http://schemas.microsoft.com/office/drawing/2014/main" id="{8156FAF4-91AE-DC6D-D031-6EA3E73A65D8}"/>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07" name="Pfeil nach unten 91">
                <a:extLst>
                  <a:ext uri="{FF2B5EF4-FFF2-40B4-BE49-F238E27FC236}">
                    <a16:creationId xmlns:a16="http://schemas.microsoft.com/office/drawing/2014/main" id="{4272D54A-B0EF-4989-B82D-A0C9726F800D}"/>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nvGrpSpPr>
              <p:cNvPr id="108" name="Group 138">
                <a:extLst>
                  <a:ext uri="{FF2B5EF4-FFF2-40B4-BE49-F238E27FC236}">
                    <a16:creationId xmlns:a16="http://schemas.microsoft.com/office/drawing/2014/main" id="{DECA6AB9-4530-B151-B735-FCCEDF5EFE71}"/>
                  </a:ext>
                </a:extLst>
              </p:cNvPr>
              <p:cNvGrpSpPr/>
              <p:nvPr/>
            </p:nvGrpSpPr>
            <p:grpSpPr>
              <a:xfrm>
                <a:off x="3158154" y="3941620"/>
                <a:ext cx="3200" cy="4053"/>
                <a:chOff x="1650415" y="1908302"/>
                <a:chExt cx="5782" cy="7322"/>
              </a:xfrm>
            </p:grpSpPr>
            <p:sp>
              <p:nvSpPr>
                <p:cNvPr id="109" name="Freeform: Shape 139">
                  <a:extLst>
                    <a:ext uri="{FF2B5EF4-FFF2-40B4-BE49-F238E27FC236}">
                      <a16:creationId xmlns:a16="http://schemas.microsoft.com/office/drawing/2014/main" id="{7DEF0460-E8B1-02F2-6936-59B92787FC8D}"/>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0" name="Freeform: Shape 140">
                  <a:extLst>
                    <a:ext uri="{FF2B5EF4-FFF2-40B4-BE49-F238E27FC236}">
                      <a16:creationId xmlns:a16="http://schemas.microsoft.com/office/drawing/2014/main" id="{8368412C-873E-3BCA-7341-25F099471CE3}"/>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114" name="Group 138">
                <a:extLst>
                  <a:ext uri="{FF2B5EF4-FFF2-40B4-BE49-F238E27FC236}">
                    <a16:creationId xmlns:a16="http://schemas.microsoft.com/office/drawing/2014/main" id="{2DC8D415-CFAD-1578-2203-7A731EB2A734}"/>
                  </a:ext>
                </a:extLst>
              </p:cNvPr>
              <p:cNvGrpSpPr/>
              <p:nvPr/>
            </p:nvGrpSpPr>
            <p:grpSpPr>
              <a:xfrm>
                <a:off x="3163895" y="5885837"/>
                <a:ext cx="3200" cy="4053"/>
                <a:chOff x="1650415" y="1908302"/>
                <a:chExt cx="5782" cy="7322"/>
              </a:xfrm>
            </p:grpSpPr>
            <p:sp>
              <p:nvSpPr>
                <p:cNvPr id="115" name="Freeform: Shape 139">
                  <a:extLst>
                    <a:ext uri="{FF2B5EF4-FFF2-40B4-BE49-F238E27FC236}">
                      <a16:creationId xmlns:a16="http://schemas.microsoft.com/office/drawing/2014/main" id="{80C4F0C3-C8F8-C8DC-75B7-4C4068B75984}"/>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6" name="Freeform: Shape 140">
                  <a:extLst>
                    <a:ext uri="{FF2B5EF4-FFF2-40B4-BE49-F238E27FC236}">
                      <a16:creationId xmlns:a16="http://schemas.microsoft.com/office/drawing/2014/main" id="{8C55670A-6879-6D02-A80E-FF675F9AFABB}"/>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grpSp>
      <p:sp>
        <p:nvSpPr>
          <p:cNvPr id="4" name="Rechteck 3">
            <a:extLst>
              <a:ext uri="{FF2B5EF4-FFF2-40B4-BE49-F238E27FC236}">
                <a16:creationId xmlns:a16="http://schemas.microsoft.com/office/drawing/2014/main" id="{085345C2-A36F-B931-A20E-13ABB5A83D43}"/>
              </a:ext>
            </a:extLst>
          </p:cNvPr>
          <p:cNvSpPr/>
          <p:nvPr/>
        </p:nvSpPr>
        <p:spPr>
          <a:xfrm>
            <a:off x="2239845" y="4034895"/>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5" name="Ellipse 4">
            <a:extLst>
              <a:ext uri="{FF2B5EF4-FFF2-40B4-BE49-F238E27FC236}">
                <a16:creationId xmlns:a16="http://schemas.microsoft.com/office/drawing/2014/main" id="{B09C741E-95E9-95EB-0C0F-174BFCB0EA4F}"/>
              </a:ext>
            </a:extLst>
          </p:cNvPr>
          <p:cNvSpPr/>
          <p:nvPr/>
        </p:nvSpPr>
        <p:spPr>
          <a:xfrm>
            <a:off x="3899065" y="4563835"/>
            <a:ext cx="4212718" cy="1003187"/>
          </a:xfrm>
          <a:prstGeom prst="ellipse">
            <a:avLst/>
          </a:prstGeom>
          <a:solidFill>
            <a:srgbClr val="FBBA00"/>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Verkauf aller Aktiva und Passiva des Unternehmens durch GmbH ohne Pensionsverpflichtung </a:t>
            </a:r>
            <a:r>
              <a:rPr kumimoji="0" lang="de-DE" sz="1400" b="0" i="0" u="none" strike="noStrike" kern="0" cap="none" spc="0" normalizeH="0" baseline="0" noProof="0" dirty="0">
                <a:ln>
                  <a:noFill/>
                </a:ln>
                <a:solidFill>
                  <a:srgbClr val="000000"/>
                </a:solidFill>
                <a:effectLst/>
                <a:uLnTx/>
                <a:uFillTx/>
                <a:latin typeface="Arial" charset="0"/>
              </a:rPr>
              <a:t> </a:t>
            </a:r>
          </a:p>
        </p:txBody>
      </p:sp>
      <p:sp>
        <p:nvSpPr>
          <p:cNvPr id="9" name="Textplatzhalter 1">
            <a:extLst>
              <a:ext uri="{FF2B5EF4-FFF2-40B4-BE49-F238E27FC236}">
                <a16:creationId xmlns:a16="http://schemas.microsoft.com/office/drawing/2014/main" id="{2546EDB9-DD77-6BB5-8477-56B95E9B9CD3}"/>
              </a:ext>
            </a:extLst>
          </p:cNvPr>
          <p:cNvSpPr txBox="1">
            <a:spLocks/>
          </p:cNvSpPr>
          <p:nvPr/>
        </p:nvSpPr>
        <p:spPr>
          <a:xfrm>
            <a:off x="555070" y="4113392"/>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0" name="Textplatzhalter 1">
            <a:extLst>
              <a:ext uri="{FF2B5EF4-FFF2-40B4-BE49-F238E27FC236}">
                <a16:creationId xmlns:a16="http://schemas.microsoft.com/office/drawing/2014/main" id="{3B6B50DE-1406-DDD0-E970-F3B53EED8986}"/>
              </a:ext>
            </a:extLst>
          </p:cNvPr>
          <p:cNvSpPr txBox="1">
            <a:spLocks/>
          </p:cNvSpPr>
          <p:nvPr/>
        </p:nvSpPr>
        <p:spPr>
          <a:xfrm>
            <a:off x="555070" y="2196341"/>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3" name="Rechteck 12">
            <a:extLst>
              <a:ext uri="{FF2B5EF4-FFF2-40B4-BE49-F238E27FC236}">
                <a16:creationId xmlns:a16="http://schemas.microsoft.com/office/drawing/2014/main" id="{A4D9ABF1-F362-DD51-C9FF-DB50DACAB2F3}"/>
              </a:ext>
            </a:extLst>
          </p:cNvPr>
          <p:cNvSpPr/>
          <p:nvPr/>
        </p:nvSpPr>
        <p:spPr>
          <a:xfrm>
            <a:off x="7934386" y="4034894"/>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B-GmbH</a:t>
            </a:r>
          </a:p>
        </p:txBody>
      </p:sp>
      <p:sp>
        <p:nvSpPr>
          <p:cNvPr id="11" name="Nach oben gekrümmter Pfeil 26">
            <a:extLst>
              <a:ext uri="{FF2B5EF4-FFF2-40B4-BE49-F238E27FC236}">
                <a16:creationId xmlns:a16="http://schemas.microsoft.com/office/drawing/2014/main" id="{990ADAAD-A5C9-7895-FCA1-FCC47571FEB0}"/>
              </a:ext>
            </a:extLst>
          </p:cNvPr>
          <p:cNvSpPr/>
          <p:nvPr/>
        </p:nvSpPr>
        <p:spPr>
          <a:xfrm>
            <a:off x="3038016" y="4557618"/>
            <a:ext cx="6115968" cy="1121982"/>
          </a:xfrm>
          <a:prstGeom prst="curvedUp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4" name="Textplatzhalter 1">
            <a:extLst>
              <a:ext uri="{FF2B5EF4-FFF2-40B4-BE49-F238E27FC236}">
                <a16:creationId xmlns:a16="http://schemas.microsoft.com/office/drawing/2014/main" id="{ADDAA49E-9673-D3A2-7306-AFE2DE81A2B9}"/>
              </a:ext>
            </a:extLst>
          </p:cNvPr>
          <p:cNvSpPr txBox="1">
            <a:spLocks/>
          </p:cNvSpPr>
          <p:nvPr/>
        </p:nvSpPr>
        <p:spPr>
          <a:xfrm>
            <a:off x="10156270" y="4113391"/>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operativer</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Teil</a:t>
            </a:r>
            <a:endPar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r>
              <a:rPr lang="en-GB" dirty="0" err="1">
                <a:solidFill>
                  <a:srgbClr val="000000"/>
                </a:solidFill>
                <a:latin typeface="Segoe UI" panose="020B0502040204020203" pitchFamily="34" charset="0"/>
                <a:cs typeface="Segoe UI" panose="020B0502040204020203" pitchFamily="34" charset="0"/>
              </a:rPr>
              <a:t>Unternehmen</a:t>
            </a:r>
            <a:r>
              <a:rPr lang="en-GB" dirty="0">
                <a:solidFill>
                  <a:srgbClr val="000000"/>
                </a:solidFill>
                <a:latin typeface="Segoe UI" panose="020B0502040204020203" pitchFamily="34" charset="0"/>
                <a:cs typeface="Segoe UI" panose="020B0502040204020203" pitchFamily="34" charset="0"/>
              </a:rPr>
              <a:t> </a:t>
            </a:r>
            <a:r>
              <a:rPr lang="en-GB" u="sng" dirty="0" err="1">
                <a:solidFill>
                  <a:srgbClr val="000000"/>
                </a:solidFill>
                <a:latin typeface="Segoe UI" panose="020B0502040204020203" pitchFamily="34" charset="0"/>
                <a:cs typeface="Segoe UI" panose="020B0502040204020203" pitchFamily="34" charset="0"/>
              </a:rPr>
              <a:t>ohne</a:t>
            </a:r>
            <a:r>
              <a:rPr lang="en-GB" dirty="0">
                <a:solidFill>
                  <a:srgbClr val="000000"/>
                </a:solidFill>
                <a:latin typeface="Segoe UI" panose="020B0502040204020203" pitchFamily="34" charset="0"/>
                <a:cs typeface="Segoe UI" panose="020B0502040204020203" pitchFamily="34" charset="0"/>
              </a:rPr>
              <a:t> Pensions-</a:t>
            </a:r>
          </a:p>
          <a:p>
            <a:pPr marL="0" marR="0" lvl="0" indent="0" algn="l" defTabSz="914400" rtl="0" eaLnBrk="1" fontAlgn="auto" latinLnBrk="0" hangingPunct="1">
              <a:lnSpc>
                <a:spcPct val="100000"/>
              </a:lnSpc>
              <a:spcBef>
                <a:spcPts val="300"/>
              </a:spcBef>
              <a:spcAft>
                <a:spcPts val="0"/>
              </a:spcAft>
              <a:buClrTx/>
              <a:buSzTx/>
              <a:buFontTx/>
              <a:buNone/>
              <a:tabLst/>
              <a:defRPr/>
            </a:pPr>
            <a:r>
              <a:rPr lang="en-GB" noProof="0" dirty="0" err="1">
                <a:solidFill>
                  <a:srgbClr val="000000"/>
                </a:solidFill>
                <a:latin typeface="Segoe UI" panose="020B0502040204020203" pitchFamily="34" charset="0"/>
                <a:cs typeface="Segoe UI" panose="020B0502040204020203" pitchFamily="34" charset="0"/>
              </a:rPr>
              <a:t>v</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erpflichtung</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5" name="Oval 157">
            <a:extLst>
              <a:ext uri="{FF2B5EF4-FFF2-40B4-BE49-F238E27FC236}">
                <a16:creationId xmlns:a16="http://schemas.microsoft.com/office/drawing/2014/main" id="{17C9BB71-775F-DDC9-AD4C-AA5DCA8BD8A4}"/>
              </a:ext>
            </a:extLst>
          </p:cNvPr>
          <p:cNvSpPr/>
          <p:nvPr/>
        </p:nvSpPr>
        <p:spPr>
          <a:xfrm flipH="1">
            <a:off x="8572024" y="2153563"/>
            <a:ext cx="461820" cy="461820"/>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6" name="Textfeld 15">
            <a:extLst>
              <a:ext uri="{FF2B5EF4-FFF2-40B4-BE49-F238E27FC236}">
                <a16:creationId xmlns:a16="http://schemas.microsoft.com/office/drawing/2014/main" id="{8F43A77A-828B-5C51-7E8F-A6302308CA7D}"/>
              </a:ext>
            </a:extLst>
          </p:cNvPr>
          <p:cNvSpPr txBox="1"/>
          <p:nvPr/>
        </p:nvSpPr>
        <p:spPr>
          <a:xfrm>
            <a:off x="8100076" y="2628702"/>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B </a:t>
            </a:r>
          </a:p>
        </p:txBody>
      </p:sp>
      <p:sp>
        <p:nvSpPr>
          <p:cNvPr id="17" name="Pfeil nach unten 91">
            <a:extLst>
              <a:ext uri="{FF2B5EF4-FFF2-40B4-BE49-F238E27FC236}">
                <a16:creationId xmlns:a16="http://schemas.microsoft.com/office/drawing/2014/main" id="{2DDC5CED-DE5B-8971-0A3D-4EDE48684D50}"/>
              </a:ext>
            </a:extLst>
          </p:cNvPr>
          <p:cNvSpPr/>
          <p:nvPr/>
        </p:nvSpPr>
        <p:spPr>
          <a:xfrm>
            <a:off x="8646878" y="3054232"/>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8" name="Freeform: Shape 142">
            <a:extLst>
              <a:ext uri="{FF2B5EF4-FFF2-40B4-BE49-F238E27FC236}">
                <a16:creationId xmlns:a16="http://schemas.microsoft.com/office/drawing/2014/main" id="{5D52BC1D-8971-30DC-D8F6-0F18A0D81730}"/>
              </a:ext>
            </a:extLst>
          </p:cNvPr>
          <p:cNvSpPr/>
          <p:nvPr/>
        </p:nvSpPr>
        <p:spPr bwMode="auto">
          <a:xfrm>
            <a:off x="8703472" y="2241195"/>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9" name="Nach oben gekrümmter Pfeil 26">
            <a:extLst>
              <a:ext uri="{FF2B5EF4-FFF2-40B4-BE49-F238E27FC236}">
                <a16:creationId xmlns:a16="http://schemas.microsoft.com/office/drawing/2014/main" id="{D0113AF5-3011-6A68-9C72-F17D7D448022}"/>
              </a:ext>
            </a:extLst>
          </p:cNvPr>
          <p:cNvSpPr/>
          <p:nvPr/>
        </p:nvSpPr>
        <p:spPr>
          <a:xfrm rot="10800000">
            <a:off x="3238832" y="3170798"/>
            <a:ext cx="5089604" cy="864096"/>
          </a:xfrm>
          <a:prstGeom prst="curvedUp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0" name="Ellipse 19">
            <a:extLst>
              <a:ext uri="{FF2B5EF4-FFF2-40B4-BE49-F238E27FC236}">
                <a16:creationId xmlns:a16="http://schemas.microsoft.com/office/drawing/2014/main" id="{37E7E002-5901-64D8-8C57-B48B0729A3A3}"/>
              </a:ext>
            </a:extLst>
          </p:cNvPr>
          <p:cNvSpPr/>
          <p:nvPr/>
        </p:nvSpPr>
        <p:spPr>
          <a:xfrm>
            <a:off x="4274634" y="3310478"/>
            <a:ext cx="3206145" cy="557977"/>
          </a:xfrm>
          <a:prstGeom prst="ellipse">
            <a:avLst/>
          </a:prstGeom>
          <a:solidFill>
            <a:srgbClr val="FBBA00"/>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lang="de-DE" sz="1400" b="1" kern="0" dirty="0">
                <a:solidFill>
                  <a:srgbClr val="000000"/>
                </a:solidFill>
                <a:latin typeface="Arial" charset="0"/>
              </a:rPr>
              <a:t>Kaufpreis </a:t>
            </a:r>
            <a:endParaRPr kumimoji="0" lang="de-DE" sz="1400" b="0" i="0" u="none" strike="noStrike" kern="0" cap="none" spc="0" normalizeH="0" baseline="0" noProof="0" dirty="0">
              <a:ln>
                <a:noFill/>
              </a:ln>
              <a:solidFill>
                <a:srgbClr val="000000"/>
              </a:solidFill>
              <a:effectLst/>
              <a:uLnTx/>
              <a:uFillTx/>
              <a:latin typeface="Arial" charset="0"/>
            </a:endParaRPr>
          </a:p>
        </p:txBody>
      </p:sp>
      <p:sp>
        <p:nvSpPr>
          <p:cNvPr id="6" name="Oval 409">
            <a:extLst>
              <a:ext uri="{FF2B5EF4-FFF2-40B4-BE49-F238E27FC236}">
                <a16:creationId xmlns:a16="http://schemas.microsoft.com/office/drawing/2014/main" id="{F3CAE959-8C40-BF83-2B03-83F0A7B51B1C}"/>
              </a:ext>
            </a:extLst>
          </p:cNvPr>
          <p:cNvSpPr/>
          <p:nvPr/>
        </p:nvSpPr>
        <p:spPr>
          <a:xfrm>
            <a:off x="5738300" y="5593851"/>
            <a:ext cx="460104" cy="460104"/>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7" name="Graphic 108">
            <a:extLst>
              <a:ext uri="{FF2B5EF4-FFF2-40B4-BE49-F238E27FC236}">
                <a16:creationId xmlns:a16="http://schemas.microsoft.com/office/drawing/2014/main" id="{97D627FD-5DD2-74C0-B52E-29277C3D69D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27415" y="5701131"/>
            <a:ext cx="282175" cy="233675"/>
          </a:xfrm>
          <a:prstGeom prst="rect">
            <a:avLst/>
          </a:prstGeom>
          <a:solidFill>
            <a:srgbClr val="FBBA00"/>
          </a:solidFill>
        </p:spPr>
      </p:pic>
    </p:spTree>
    <p:extLst>
      <p:ext uri="{BB962C8B-B14F-4D97-AF65-F5344CB8AC3E}">
        <p14:creationId xmlns:p14="http://schemas.microsoft.com/office/powerpoint/2010/main" val="2092564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Bildplatzhalter 23"/>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a:stretch>
            <a:fillRect/>
          </a:stretch>
        </p:blipFill>
        <p:spPr/>
      </p:pic>
      <p:grpSp>
        <p:nvGrpSpPr>
          <p:cNvPr id="10" name="Gruppieren 9"/>
          <p:cNvGrpSpPr/>
          <p:nvPr/>
        </p:nvGrpSpPr>
        <p:grpSpPr>
          <a:xfrm>
            <a:off x="6430626" y="517813"/>
            <a:ext cx="2117190" cy="2117190"/>
            <a:chOff x="6336146" y="2200563"/>
            <a:chExt cx="1570181" cy="1570181"/>
          </a:xfrm>
          <a:solidFill>
            <a:srgbClr val="005977"/>
          </a:solidFill>
        </p:grpSpPr>
        <p:sp>
          <p:nvSpPr>
            <p:cNvPr id="5" name="Ellipse 4"/>
            <p:cNvSpPr/>
            <p:nvPr/>
          </p:nvSpPr>
          <p:spPr>
            <a:xfrm>
              <a:off x="6336146" y="2200563"/>
              <a:ext cx="1570181" cy="15701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dirty="0">
                <a:latin typeface="Segoe UI" panose="020B0502040204020203" pitchFamily="34" charset="0"/>
                <a:ea typeface="Segoe UI Black" panose="020B0A02040204020203" pitchFamily="34" charset="0"/>
                <a:cs typeface="Segoe UI" panose="020B0502040204020203" pitchFamily="34" charset="0"/>
              </a:endParaRPr>
            </a:p>
          </p:txBody>
        </p:sp>
        <p:sp>
          <p:nvSpPr>
            <p:cNvPr id="9" name="Textfeld 8"/>
            <p:cNvSpPr txBox="1"/>
            <p:nvPr/>
          </p:nvSpPr>
          <p:spPr>
            <a:xfrm>
              <a:off x="6405418" y="2734631"/>
              <a:ext cx="1431637" cy="479341"/>
            </a:xfrm>
            <a:prstGeom prst="rect">
              <a:avLst/>
            </a:prstGeom>
            <a:noFill/>
          </p:spPr>
          <p:txBody>
            <a:bodyPr wrap="square" rtlCol="0">
              <a:spAutoFit/>
            </a:bodyPr>
            <a:lstStyle/>
            <a:p>
              <a:pPr algn="ctr"/>
              <a:r>
                <a:rPr lang="de-DE" b="1" dirty="0">
                  <a:solidFill>
                    <a:schemeClr val="bg1"/>
                  </a:solidFill>
                  <a:latin typeface="Segoe UI" panose="020B0502040204020203" pitchFamily="34" charset="0"/>
                  <a:cs typeface="Segoe UI" panose="020B0502040204020203" pitchFamily="34" charset="0"/>
                </a:rPr>
                <a:t>ca. 300</a:t>
              </a:r>
              <a:br>
                <a:rPr lang="de-DE" b="1" dirty="0">
                  <a:solidFill>
                    <a:schemeClr val="bg1"/>
                  </a:solidFill>
                  <a:latin typeface="Segoe UI" panose="020B0502040204020203" pitchFamily="34" charset="0"/>
                  <a:cs typeface="Segoe UI" panose="020B0502040204020203" pitchFamily="34" charset="0"/>
                </a:rPr>
              </a:br>
              <a:r>
                <a:rPr lang="de-DE" b="1" dirty="0">
                  <a:solidFill>
                    <a:schemeClr val="bg1"/>
                  </a:solidFill>
                  <a:latin typeface="Segoe UI" panose="020B0502040204020203" pitchFamily="34" charset="0"/>
                  <a:cs typeface="Segoe UI" panose="020B0502040204020203" pitchFamily="34" charset="0"/>
                </a:rPr>
                <a:t>Mitarbeiter</a:t>
              </a:r>
            </a:p>
          </p:txBody>
        </p:sp>
      </p:grpSp>
      <p:grpSp>
        <p:nvGrpSpPr>
          <p:cNvPr id="11" name="Gruppieren 10"/>
          <p:cNvGrpSpPr/>
          <p:nvPr/>
        </p:nvGrpSpPr>
        <p:grpSpPr>
          <a:xfrm>
            <a:off x="9015772" y="517813"/>
            <a:ext cx="2116800" cy="2116800"/>
            <a:chOff x="6336146" y="2200563"/>
            <a:chExt cx="1570181" cy="1570181"/>
          </a:xfrm>
        </p:grpSpPr>
        <p:sp>
          <p:nvSpPr>
            <p:cNvPr id="12" name="Ellipse 11"/>
            <p:cNvSpPr/>
            <p:nvPr/>
          </p:nvSpPr>
          <p:spPr>
            <a:xfrm>
              <a:off x="6336146" y="2200563"/>
              <a:ext cx="1570181" cy="1570181"/>
            </a:xfrm>
            <a:prstGeom prst="ellipse">
              <a:avLst/>
            </a:prstGeom>
            <a:solidFill>
              <a:srgbClr val="005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dirty="0">
                <a:latin typeface="Segoe UI" panose="020B0502040204020203" pitchFamily="34" charset="0"/>
                <a:ea typeface="Segoe UI Black" panose="020B0A02040204020203" pitchFamily="34" charset="0"/>
                <a:cs typeface="Segoe UI" panose="020B0502040204020203" pitchFamily="34" charset="0"/>
              </a:endParaRPr>
            </a:p>
          </p:txBody>
        </p:sp>
        <p:sp>
          <p:nvSpPr>
            <p:cNvPr id="13" name="Textfeld 12"/>
            <p:cNvSpPr txBox="1"/>
            <p:nvPr/>
          </p:nvSpPr>
          <p:spPr>
            <a:xfrm>
              <a:off x="6405418" y="2830179"/>
              <a:ext cx="1431637" cy="273960"/>
            </a:xfrm>
            <a:prstGeom prst="rect">
              <a:avLst/>
            </a:prstGeom>
            <a:noFill/>
          </p:spPr>
          <p:txBody>
            <a:bodyPr wrap="square" rtlCol="0">
              <a:spAutoFit/>
            </a:bodyPr>
            <a:lstStyle/>
            <a:p>
              <a:pPr algn="ctr"/>
              <a:r>
                <a:rPr lang="de-DE" b="1" dirty="0">
                  <a:solidFill>
                    <a:schemeClr val="bg1"/>
                  </a:solidFill>
                  <a:latin typeface="Segoe UI" panose="020B0502040204020203" pitchFamily="34" charset="0"/>
                  <a:cs typeface="Segoe UI" panose="020B0502040204020203" pitchFamily="34" charset="0"/>
                </a:rPr>
                <a:t>9 Standorte</a:t>
              </a:r>
            </a:p>
          </p:txBody>
        </p:sp>
      </p:grpSp>
      <p:grpSp>
        <p:nvGrpSpPr>
          <p:cNvPr id="14" name="Gruppieren 13"/>
          <p:cNvGrpSpPr/>
          <p:nvPr/>
        </p:nvGrpSpPr>
        <p:grpSpPr>
          <a:xfrm>
            <a:off x="6431016" y="2901211"/>
            <a:ext cx="2116800" cy="2116800"/>
            <a:chOff x="6336146" y="2200563"/>
            <a:chExt cx="1570181" cy="1570181"/>
          </a:xfrm>
        </p:grpSpPr>
        <p:sp>
          <p:nvSpPr>
            <p:cNvPr id="15" name="Ellipse 14"/>
            <p:cNvSpPr/>
            <p:nvPr/>
          </p:nvSpPr>
          <p:spPr>
            <a:xfrm>
              <a:off x="6336146" y="2200563"/>
              <a:ext cx="1570181" cy="1570181"/>
            </a:xfrm>
            <a:prstGeom prst="ellipse">
              <a:avLst/>
            </a:prstGeom>
            <a:solidFill>
              <a:srgbClr val="005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dirty="0">
                <a:latin typeface="Segoe UI" panose="020B0502040204020203" pitchFamily="34" charset="0"/>
                <a:ea typeface="Segoe UI Black" panose="020B0A02040204020203" pitchFamily="34" charset="0"/>
                <a:cs typeface="Segoe UI" panose="020B0502040204020203" pitchFamily="34" charset="0"/>
              </a:endParaRPr>
            </a:p>
          </p:txBody>
        </p:sp>
        <p:sp>
          <p:nvSpPr>
            <p:cNvPr id="16" name="Textfeld 15"/>
            <p:cNvSpPr txBox="1"/>
            <p:nvPr/>
          </p:nvSpPr>
          <p:spPr>
            <a:xfrm>
              <a:off x="6405418" y="2775826"/>
              <a:ext cx="1431637" cy="646331"/>
            </a:xfrm>
            <a:prstGeom prst="rect">
              <a:avLst/>
            </a:prstGeom>
            <a:noFill/>
          </p:spPr>
          <p:txBody>
            <a:bodyPr wrap="square" rtlCol="0">
              <a:spAutoFit/>
            </a:bodyPr>
            <a:lstStyle/>
            <a:p>
              <a:pPr algn="ctr"/>
              <a:r>
                <a:rPr lang="de-DE" b="1" dirty="0">
                  <a:solidFill>
                    <a:schemeClr val="bg1"/>
                  </a:solidFill>
                  <a:latin typeface="Segoe UI" panose="020B0502040204020203" pitchFamily="34" charset="0"/>
                  <a:cs typeface="Segoe UI" panose="020B0502040204020203" pitchFamily="34" charset="0"/>
                </a:rPr>
                <a:t>50 Jahre Erfahrung</a:t>
              </a:r>
            </a:p>
          </p:txBody>
        </p:sp>
      </p:grpSp>
      <p:grpSp>
        <p:nvGrpSpPr>
          <p:cNvPr id="20" name="Gruppieren 19"/>
          <p:cNvGrpSpPr/>
          <p:nvPr/>
        </p:nvGrpSpPr>
        <p:grpSpPr>
          <a:xfrm>
            <a:off x="9028154" y="2901211"/>
            <a:ext cx="2116800" cy="2116800"/>
            <a:chOff x="6336145" y="2200563"/>
            <a:chExt cx="1579421" cy="1570181"/>
          </a:xfrm>
        </p:grpSpPr>
        <p:sp>
          <p:nvSpPr>
            <p:cNvPr id="21" name="Ellipse 20"/>
            <p:cNvSpPr/>
            <p:nvPr/>
          </p:nvSpPr>
          <p:spPr>
            <a:xfrm>
              <a:off x="6336146" y="2200563"/>
              <a:ext cx="1570181" cy="1570181"/>
            </a:xfrm>
            <a:prstGeom prst="ellipse">
              <a:avLst/>
            </a:prstGeom>
            <a:solidFill>
              <a:srgbClr val="005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dirty="0">
                <a:latin typeface="Segoe UI" panose="020B0502040204020203" pitchFamily="34" charset="0"/>
                <a:ea typeface="Segoe UI Black" panose="020B0A02040204020203" pitchFamily="34" charset="0"/>
                <a:cs typeface="Segoe UI" panose="020B0502040204020203" pitchFamily="34" charset="0"/>
              </a:endParaRPr>
            </a:p>
          </p:txBody>
        </p:sp>
        <p:sp>
          <p:nvSpPr>
            <p:cNvPr id="22" name="Textfeld 21"/>
            <p:cNvSpPr txBox="1"/>
            <p:nvPr/>
          </p:nvSpPr>
          <p:spPr>
            <a:xfrm>
              <a:off x="6336145" y="2745938"/>
              <a:ext cx="1579421" cy="479430"/>
            </a:xfrm>
            <a:prstGeom prst="rect">
              <a:avLst/>
            </a:prstGeom>
            <a:noFill/>
          </p:spPr>
          <p:txBody>
            <a:bodyPr wrap="square" rtlCol="0">
              <a:spAutoFit/>
            </a:bodyPr>
            <a:lstStyle/>
            <a:p>
              <a:pPr algn="ctr"/>
              <a:r>
                <a:rPr lang="de-DE" b="1" dirty="0">
                  <a:solidFill>
                    <a:schemeClr val="bg1"/>
                  </a:solidFill>
                  <a:latin typeface="Segoe UI" panose="020B0502040204020203" pitchFamily="34" charset="0"/>
                  <a:cs typeface="Segoe UI" panose="020B0502040204020203" pitchFamily="34" charset="0"/>
                </a:rPr>
                <a:t>weltweites </a:t>
              </a:r>
              <a:br>
                <a:rPr lang="de-DE" b="1" dirty="0">
                  <a:solidFill>
                    <a:schemeClr val="bg1"/>
                  </a:solidFill>
                  <a:latin typeface="Segoe UI" panose="020B0502040204020203" pitchFamily="34" charset="0"/>
                  <a:cs typeface="Segoe UI" panose="020B0502040204020203" pitchFamily="34" charset="0"/>
                </a:rPr>
              </a:br>
              <a:r>
                <a:rPr lang="de-DE" b="1" dirty="0">
                  <a:solidFill>
                    <a:schemeClr val="bg1"/>
                  </a:solidFill>
                  <a:latin typeface="Segoe UI" panose="020B0502040204020203" pitchFamily="34" charset="0"/>
                  <a:cs typeface="Segoe UI" panose="020B0502040204020203" pitchFamily="34" charset="0"/>
                </a:rPr>
                <a:t>HLB-Netzwerk</a:t>
              </a:r>
            </a:p>
          </p:txBody>
        </p:sp>
      </p:grpSp>
      <p:sp>
        <p:nvSpPr>
          <p:cNvPr id="17" name="Textfeld 16"/>
          <p:cNvSpPr txBox="1"/>
          <p:nvPr/>
        </p:nvSpPr>
        <p:spPr>
          <a:xfrm>
            <a:off x="6317283" y="6303390"/>
            <a:ext cx="5421745" cy="338554"/>
          </a:xfrm>
          <a:prstGeom prst="rect">
            <a:avLst/>
          </a:prstGeom>
          <a:noFill/>
        </p:spPr>
        <p:txBody>
          <a:bodyPr wrap="square" rtlCol="0">
            <a:spAutoFit/>
          </a:bodyPr>
          <a:lstStyle/>
          <a:p>
            <a:pPr algn="r"/>
            <a:r>
              <a:rPr lang="de-DE" sz="1600" b="1" dirty="0">
                <a:solidFill>
                  <a:srgbClr val="005977"/>
                </a:solidFill>
                <a:latin typeface="Segoe UI Black" panose="020B0A02040204020203" pitchFamily="34" charset="0"/>
                <a:ea typeface="Segoe UI Black" panose="020B0A02040204020203" pitchFamily="34" charset="0"/>
                <a:cs typeface="Segoe UI Black" panose="020B0A02040204020203" pitchFamily="34" charset="0"/>
              </a:rPr>
              <a:t>#DDP</a:t>
            </a:r>
          </a:p>
        </p:txBody>
      </p:sp>
      <p:grpSp>
        <p:nvGrpSpPr>
          <p:cNvPr id="18" name="Gruppieren 17"/>
          <p:cNvGrpSpPr/>
          <p:nvPr/>
        </p:nvGrpSpPr>
        <p:grpSpPr>
          <a:xfrm>
            <a:off x="6430608" y="518007"/>
            <a:ext cx="2117190" cy="2117190"/>
            <a:chOff x="6316101" y="2200852"/>
            <a:chExt cx="1570181" cy="1570181"/>
          </a:xfrm>
          <a:solidFill>
            <a:srgbClr val="005977"/>
          </a:solidFill>
        </p:grpSpPr>
        <p:sp>
          <p:nvSpPr>
            <p:cNvPr id="19" name="Ellipse 18"/>
            <p:cNvSpPr/>
            <p:nvPr/>
          </p:nvSpPr>
          <p:spPr>
            <a:xfrm>
              <a:off x="6316101" y="2200852"/>
              <a:ext cx="1570181" cy="15701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dirty="0">
                <a:latin typeface="Segoe UI" panose="020B0502040204020203" pitchFamily="34" charset="0"/>
                <a:ea typeface="Segoe UI Black" panose="020B0A02040204020203" pitchFamily="34" charset="0"/>
                <a:cs typeface="Segoe UI" panose="020B0502040204020203" pitchFamily="34" charset="0"/>
              </a:endParaRPr>
            </a:p>
          </p:txBody>
        </p:sp>
        <p:sp>
          <p:nvSpPr>
            <p:cNvPr id="23" name="Textfeld 22"/>
            <p:cNvSpPr txBox="1"/>
            <p:nvPr/>
          </p:nvSpPr>
          <p:spPr>
            <a:xfrm>
              <a:off x="6385375" y="2734920"/>
              <a:ext cx="1431637" cy="479341"/>
            </a:xfrm>
            <a:prstGeom prst="rect">
              <a:avLst/>
            </a:prstGeom>
            <a:noFill/>
          </p:spPr>
          <p:txBody>
            <a:bodyPr wrap="square" rtlCol="0">
              <a:spAutoFit/>
            </a:bodyPr>
            <a:lstStyle/>
            <a:p>
              <a:pPr algn="ctr"/>
              <a:r>
                <a:rPr lang="de-DE" sz="3600" b="1" dirty="0">
                  <a:solidFill>
                    <a:schemeClr val="bg1"/>
                  </a:solidFill>
                  <a:latin typeface="Segoe UI" panose="020B0502040204020203" pitchFamily="34" charset="0"/>
                  <a:cs typeface="Segoe UI" panose="020B0502040204020203" pitchFamily="34" charset="0"/>
                </a:rPr>
                <a:t>#1</a:t>
              </a:r>
            </a:p>
          </p:txBody>
        </p:sp>
      </p:grpSp>
      <p:grpSp>
        <p:nvGrpSpPr>
          <p:cNvPr id="25" name="Gruppieren 24"/>
          <p:cNvGrpSpPr/>
          <p:nvPr/>
        </p:nvGrpSpPr>
        <p:grpSpPr>
          <a:xfrm>
            <a:off x="9015381" y="517423"/>
            <a:ext cx="2117190" cy="2117190"/>
            <a:chOff x="6336146" y="2200563"/>
            <a:chExt cx="1570181" cy="1570181"/>
          </a:xfrm>
          <a:solidFill>
            <a:srgbClr val="005977"/>
          </a:solidFill>
        </p:grpSpPr>
        <p:sp>
          <p:nvSpPr>
            <p:cNvPr id="26" name="Ellipse 25"/>
            <p:cNvSpPr/>
            <p:nvPr/>
          </p:nvSpPr>
          <p:spPr>
            <a:xfrm>
              <a:off x="6336146" y="2200563"/>
              <a:ext cx="1570181" cy="15701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dirty="0">
                <a:latin typeface="Segoe UI" panose="020B0502040204020203" pitchFamily="34" charset="0"/>
                <a:ea typeface="Segoe UI Black" panose="020B0A02040204020203" pitchFamily="34" charset="0"/>
                <a:cs typeface="Segoe UI" panose="020B0502040204020203" pitchFamily="34" charset="0"/>
              </a:endParaRPr>
            </a:p>
          </p:txBody>
        </p:sp>
        <p:sp>
          <p:nvSpPr>
            <p:cNvPr id="27" name="Textfeld 26"/>
            <p:cNvSpPr txBox="1"/>
            <p:nvPr/>
          </p:nvSpPr>
          <p:spPr>
            <a:xfrm>
              <a:off x="6405418" y="2734631"/>
              <a:ext cx="1431637" cy="479341"/>
            </a:xfrm>
            <a:prstGeom prst="rect">
              <a:avLst/>
            </a:prstGeom>
            <a:noFill/>
          </p:spPr>
          <p:txBody>
            <a:bodyPr wrap="square" rtlCol="0">
              <a:spAutoFit/>
            </a:bodyPr>
            <a:lstStyle/>
            <a:p>
              <a:pPr algn="ctr"/>
              <a:r>
                <a:rPr lang="de-DE" sz="3600" b="1" dirty="0">
                  <a:solidFill>
                    <a:schemeClr val="bg1"/>
                  </a:solidFill>
                  <a:latin typeface="Segoe UI" panose="020B0502040204020203" pitchFamily="34" charset="0"/>
                  <a:cs typeface="Segoe UI" panose="020B0502040204020203" pitchFamily="34" charset="0"/>
                </a:rPr>
                <a:t>#2</a:t>
              </a:r>
            </a:p>
          </p:txBody>
        </p:sp>
      </p:grpSp>
      <p:grpSp>
        <p:nvGrpSpPr>
          <p:cNvPr id="28" name="Gruppieren 27"/>
          <p:cNvGrpSpPr/>
          <p:nvPr/>
        </p:nvGrpSpPr>
        <p:grpSpPr>
          <a:xfrm>
            <a:off x="6408524" y="2901211"/>
            <a:ext cx="2117190" cy="2117190"/>
            <a:chOff x="6336146" y="2200563"/>
            <a:chExt cx="1570181" cy="1570181"/>
          </a:xfrm>
          <a:solidFill>
            <a:srgbClr val="005977"/>
          </a:solidFill>
        </p:grpSpPr>
        <p:sp>
          <p:nvSpPr>
            <p:cNvPr id="29" name="Ellipse 28"/>
            <p:cNvSpPr/>
            <p:nvPr/>
          </p:nvSpPr>
          <p:spPr>
            <a:xfrm>
              <a:off x="6336146" y="2200563"/>
              <a:ext cx="1570181" cy="15701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dirty="0">
                <a:latin typeface="Segoe UI" panose="020B0502040204020203" pitchFamily="34" charset="0"/>
                <a:ea typeface="Segoe UI Black" panose="020B0A02040204020203" pitchFamily="34" charset="0"/>
                <a:cs typeface="Segoe UI" panose="020B0502040204020203" pitchFamily="34" charset="0"/>
              </a:endParaRPr>
            </a:p>
          </p:txBody>
        </p:sp>
        <p:sp>
          <p:nvSpPr>
            <p:cNvPr id="30" name="Textfeld 29"/>
            <p:cNvSpPr txBox="1"/>
            <p:nvPr/>
          </p:nvSpPr>
          <p:spPr>
            <a:xfrm>
              <a:off x="6405418" y="2734631"/>
              <a:ext cx="1431637" cy="479341"/>
            </a:xfrm>
            <a:prstGeom prst="rect">
              <a:avLst/>
            </a:prstGeom>
            <a:noFill/>
          </p:spPr>
          <p:txBody>
            <a:bodyPr wrap="square" rtlCol="0">
              <a:spAutoFit/>
            </a:bodyPr>
            <a:lstStyle/>
            <a:p>
              <a:pPr algn="ctr"/>
              <a:r>
                <a:rPr lang="de-DE" sz="3600" b="1" dirty="0">
                  <a:solidFill>
                    <a:schemeClr val="bg1"/>
                  </a:solidFill>
                  <a:latin typeface="Segoe UI" panose="020B0502040204020203" pitchFamily="34" charset="0"/>
                  <a:cs typeface="Segoe UI" panose="020B0502040204020203" pitchFamily="34" charset="0"/>
                </a:rPr>
                <a:t>#3</a:t>
              </a:r>
            </a:p>
          </p:txBody>
        </p:sp>
      </p:grpSp>
      <p:grpSp>
        <p:nvGrpSpPr>
          <p:cNvPr id="31" name="Gruppieren 30"/>
          <p:cNvGrpSpPr/>
          <p:nvPr/>
        </p:nvGrpSpPr>
        <p:grpSpPr>
          <a:xfrm>
            <a:off x="8992889" y="2901211"/>
            <a:ext cx="2117190" cy="2117190"/>
            <a:chOff x="6336146" y="2200563"/>
            <a:chExt cx="1570181" cy="1570181"/>
          </a:xfrm>
          <a:solidFill>
            <a:srgbClr val="005977"/>
          </a:solidFill>
        </p:grpSpPr>
        <p:sp>
          <p:nvSpPr>
            <p:cNvPr id="32" name="Ellipse 31"/>
            <p:cNvSpPr/>
            <p:nvPr/>
          </p:nvSpPr>
          <p:spPr>
            <a:xfrm>
              <a:off x="6336146" y="2200563"/>
              <a:ext cx="1570181" cy="15701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dirty="0">
                <a:latin typeface="Segoe UI" panose="020B0502040204020203" pitchFamily="34" charset="0"/>
                <a:ea typeface="Segoe UI Black" panose="020B0A02040204020203" pitchFamily="34" charset="0"/>
                <a:cs typeface="Segoe UI" panose="020B0502040204020203" pitchFamily="34" charset="0"/>
              </a:endParaRPr>
            </a:p>
          </p:txBody>
        </p:sp>
        <p:sp>
          <p:nvSpPr>
            <p:cNvPr id="33" name="Textfeld 32"/>
            <p:cNvSpPr txBox="1"/>
            <p:nvPr/>
          </p:nvSpPr>
          <p:spPr>
            <a:xfrm>
              <a:off x="6405418" y="2734631"/>
              <a:ext cx="1431637" cy="479341"/>
            </a:xfrm>
            <a:prstGeom prst="rect">
              <a:avLst/>
            </a:prstGeom>
            <a:noFill/>
          </p:spPr>
          <p:txBody>
            <a:bodyPr wrap="square" rtlCol="0">
              <a:spAutoFit/>
            </a:bodyPr>
            <a:lstStyle/>
            <a:p>
              <a:pPr algn="ctr"/>
              <a:r>
                <a:rPr lang="de-DE" sz="3600" b="1" dirty="0">
                  <a:solidFill>
                    <a:schemeClr val="bg1"/>
                  </a:solidFill>
                  <a:latin typeface="Segoe UI" panose="020B0502040204020203" pitchFamily="34" charset="0"/>
                  <a:cs typeface="Segoe UI" panose="020B0502040204020203" pitchFamily="34" charset="0"/>
                </a:rPr>
                <a:t>#4</a:t>
              </a:r>
            </a:p>
          </p:txBody>
        </p:sp>
      </p:grpSp>
    </p:spTree>
    <p:extLst>
      <p:ext uri="{BB962C8B-B14F-4D97-AF65-F5344CB8AC3E}">
        <p14:creationId xmlns:p14="http://schemas.microsoft.com/office/powerpoint/2010/main" val="3063310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xit" presetSubtype="0" fill="hold" nodeType="clickEffect">
                                  <p:stCondLst>
                                    <p:cond delay="0"/>
                                  </p:stCondLst>
                                  <p:childTnLst>
                                    <p:animEffect transition="out" filter="fade">
                                      <p:cBhvr>
                                        <p:cTn id="6" dur="1000"/>
                                        <p:tgtEl>
                                          <p:spTgt spid="18"/>
                                        </p:tgtEl>
                                      </p:cBhvr>
                                    </p:animEffect>
                                    <p:anim calcmode="lin" valueType="num">
                                      <p:cBhvr>
                                        <p:cTn id="7" dur="1000"/>
                                        <p:tgtEl>
                                          <p:spTgt spid="18"/>
                                        </p:tgtEl>
                                        <p:attrNameLst>
                                          <p:attrName>ppt_x</p:attrName>
                                        </p:attrNameLst>
                                      </p:cBhvr>
                                      <p:tavLst>
                                        <p:tav tm="0">
                                          <p:val>
                                            <p:strVal val="ppt_x"/>
                                          </p:val>
                                        </p:tav>
                                        <p:tav tm="100000">
                                          <p:val>
                                            <p:strVal val="ppt_x"/>
                                          </p:val>
                                        </p:tav>
                                      </p:tavLst>
                                    </p:anim>
                                    <p:anim calcmode="lin" valueType="num">
                                      <p:cBhvr>
                                        <p:cTn id="8" dur="1000"/>
                                        <p:tgtEl>
                                          <p:spTgt spid="18"/>
                                        </p:tgtEl>
                                        <p:attrNameLst>
                                          <p:attrName>ppt_y</p:attrName>
                                        </p:attrNameLst>
                                      </p:cBhvr>
                                      <p:tavLst>
                                        <p:tav tm="0">
                                          <p:val>
                                            <p:strVal val="ppt_y"/>
                                          </p:val>
                                        </p:tav>
                                        <p:tav tm="100000">
                                          <p:val>
                                            <p:strVal val="ppt_y-.1"/>
                                          </p:val>
                                        </p:tav>
                                      </p:tavLst>
                                    </p:anim>
                                    <p:set>
                                      <p:cBhvr>
                                        <p:cTn id="9" dur="1" fill="hold">
                                          <p:stCondLst>
                                            <p:cond delay="999"/>
                                          </p:stCondLst>
                                        </p:cTn>
                                        <p:tgtEl>
                                          <p:spTgt spid="18"/>
                                        </p:tgtEl>
                                        <p:attrNameLst>
                                          <p:attrName>style.visibility</p:attrName>
                                        </p:attrNameLst>
                                      </p:cBhvr>
                                      <p:to>
                                        <p:strVal val="hidden"/>
                                      </p:to>
                                    </p:set>
                                  </p:childTnLst>
                                </p:cTn>
                              </p:par>
                            </p:childTnLst>
                          </p:cTn>
                        </p:par>
                      </p:childTnLst>
                    </p:cTn>
                  </p:par>
                  <p:par>
                    <p:cTn id="10" fill="hold">
                      <p:stCondLst>
                        <p:cond delay="indefinite"/>
                      </p:stCondLst>
                      <p:childTnLst>
                        <p:par>
                          <p:cTn id="11" fill="hold">
                            <p:stCondLst>
                              <p:cond delay="0"/>
                            </p:stCondLst>
                            <p:childTnLst>
                              <p:par>
                                <p:cTn id="12" presetID="47" presetClass="exit" presetSubtype="0" fill="hold" nodeType="clickEffect">
                                  <p:stCondLst>
                                    <p:cond delay="0"/>
                                  </p:stCondLst>
                                  <p:childTnLst>
                                    <p:animEffect transition="out" filter="fade">
                                      <p:cBhvr>
                                        <p:cTn id="13" dur="1000"/>
                                        <p:tgtEl>
                                          <p:spTgt spid="25"/>
                                        </p:tgtEl>
                                      </p:cBhvr>
                                    </p:animEffect>
                                    <p:anim calcmode="lin" valueType="num">
                                      <p:cBhvr>
                                        <p:cTn id="14" dur="1000"/>
                                        <p:tgtEl>
                                          <p:spTgt spid="25"/>
                                        </p:tgtEl>
                                        <p:attrNameLst>
                                          <p:attrName>ppt_x</p:attrName>
                                        </p:attrNameLst>
                                      </p:cBhvr>
                                      <p:tavLst>
                                        <p:tav tm="0">
                                          <p:val>
                                            <p:strVal val="ppt_x"/>
                                          </p:val>
                                        </p:tav>
                                        <p:tav tm="100000">
                                          <p:val>
                                            <p:strVal val="ppt_x"/>
                                          </p:val>
                                        </p:tav>
                                      </p:tavLst>
                                    </p:anim>
                                    <p:anim calcmode="lin" valueType="num">
                                      <p:cBhvr>
                                        <p:cTn id="15" dur="1000"/>
                                        <p:tgtEl>
                                          <p:spTgt spid="25"/>
                                        </p:tgtEl>
                                        <p:attrNameLst>
                                          <p:attrName>ppt_y</p:attrName>
                                        </p:attrNameLst>
                                      </p:cBhvr>
                                      <p:tavLst>
                                        <p:tav tm="0">
                                          <p:val>
                                            <p:strVal val="ppt_y"/>
                                          </p:val>
                                        </p:tav>
                                        <p:tav tm="100000">
                                          <p:val>
                                            <p:strVal val="ppt_y-.1"/>
                                          </p:val>
                                        </p:tav>
                                      </p:tavLst>
                                    </p:anim>
                                    <p:set>
                                      <p:cBhvr>
                                        <p:cTn id="16" dur="1" fill="hold">
                                          <p:stCondLst>
                                            <p:cond delay="999"/>
                                          </p:stCondLst>
                                        </p:cTn>
                                        <p:tgtEl>
                                          <p:spTgt spid="25"/>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47" presetClass="exit" presetSubtype="0" fill="hold" nodeType="clickEffect">
                                  <p:stCondLst>
                                    <p:cond delay="0"/>
                                  </p:stCondLst>
                                  <p:childTnLst>
                                    <p:animEffect transition="out" filter="fade">
                                      <p:cBhvr>
                                        <p:cTn id="20" dur="1000"/>
                                        <p:tgtEl>
                                          <p:spTgt spid="28"/>
                                        </p:tgtEl>
                                      </p:cBhvr>
                                    </p:animEffect>
                                    <p:anim calcmode="lin" valueType="num">
                                      <p:cBhvr>
                                        <p:cTn id="21" dur="1000"/>
                                        <p:tgtEl>
                                          <p:spTgt spid="28"/>
                                        </p:tgtEl>
                                        <p:attrNameLst>
                                          <p:attrName>ppt_x</p:attrName>
                                        </p:attrNameLst>
                                      </p:cBhvr>
                                      <p:tavLst>
                                        <p:tav tm="0">
                                          <p:val>
                                            <p:strVal val="ppt_x"/>
                                          </p:val>
                                        </p:tav>
                                        <p:tav tm="100000">
                                          <p:val>
                                            <p:strVal val="ppt_x"/>
                                          </p:val>
                                        </p:tav>
                                      </p:tavLst>
                                    </p:anim>
                                    <p:anim calcmode="lin" valueType="num">
                                      <p:cBhvr>
                                        <p:cTn id="22" dur="1000"/>
                                        <p:tgtEl>
                                          <p:spTgt spid="28"/>
                                        </p:tgtEl>
                                        <p:attrNameLst>
                                          <p:attrName>ppt_y</p:attrName>
                                        </p:attrNameLst>
                                      </p:cBhvr>
                                      <p:tavLst>
                                        <p:tav tm="0">
                                          <p:val>
                                            <p:strVal val="ppt_y"/>
                                          </p:val>
                                        </p:tav>
                                        <p:tav tm="100000">
                                          <p:val>
                                            <p:strVal val="ppt_y-.1"/>
                                          </p:val>
                                        </p:tav>
                                      </p:tavLst>
                                    </p:anim>
                                    <p:set>
                                      <p:cBhvr>
                                        <p:cTn id="23" dur="1" fill="hold">
                                          <p:stCondLst>
                                            <p:cond delay="999"/>
                                          </p:stCondLst>
                                        </p:cTn>
                                        <p:tgtEl>
                                          <p:spTgt spid="28"/>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47" presetClass="exit" presetSubtype="0" fill="hold" nodeType="clickEffect">
                                  <p:stCondLst>
                                    <p:cond delay="0"/>
                                  </p:stCondLst>
                                  <p:childTnLst>
                                    <p:animEffect transition="out" filter="fade">
                                      <p:cBhvr>
                                        <p:cTn id="27" dur="1000"/>
                                        <p:tgtEl>
                                          <p:spTgt spid="31"/>
                                        </p:tgtEl>
                                      </p:cBhvr>
                                    </p:animEffect>
                                    <p:anim calcmode="lin" valueType="num">
                                      <p:cBhvr>
                                        <p:cTn id="28" dur="1000"/>
                                        <p:tgtEl>
                                          <p:spTgt spid="31"/>
                                        </p:tgtEl>
                                        <p:attrNameLst>
                                          <p:attrName>ppt_x</p:attrName>
                                        </p:attrNameLst>
                                      </p:cBhvr>
                                      <p:tavLst>
                                        <p:tav tm="0">
                                          <p:val>
                                            <p:strVal val="ppt_x"/>
                                          </p:val>
                                        </p:tav>
                                        <p:tav tm="100000">
                                          <p:val>
                                            <p:strVal val="ppt_x"/>
                                          </p:val>
                                        </p:tav>
                                      </p:tavLst>
                                    </p:anim>
                                    <p:anim calcmode="lin" valueType="num">
                                      <p:cBhvr>
                                        <p:cTn id="29" dur="1000"/>
                                        <p:tgtEl>
                                          <p:spTgt spid="31"/>
                                        </p:tgtEl>
                                        <p:attrNameLst>
                                          <p:attrName>ppt_y</p:attrName>
                                        </p:attrNameLst>
                                      </p:cBhvr>
                                      <p:tavLst>
                                        <p:tav tm="0">
                                          <p:val>
                                            <p:strVal val="ppt_y"/>
                                          </p:val>
                                        </p:tav>
                                        <p:tav tm="100000">
                                          <p:val>
                                            <p:strVal val="ppt_y-.1"/>
                                          </p:val>
                                        </p:tav>
                                      </p:tavLst>
                                    </p:anim>
                                    <p:set>
                                      <p:cBhvr>
                                        <p:cTn id="30" dur="1" fill="hold">
                                          <p:stCondLst>
                                            <p:cond delay="999"/>
                                          </p:stCondLst>
                                        </p:cTn>
                                        <p:tgtEl>
                                          <p:spTgt spid="3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54D337-257C-810C-A5C2-B2B770035B1F}"/>
            </a:ext>
          </a:extLst>
        </p:cNvPr>
        <p:cNvGrpSpPr/>
        <p:nvPr/>
      </p:nvGrpSpPr>
      <p:grpSpPr>
        <a:xfrm>
          <a:off x="0" y="0"/>
          <a:ext cx="0" cy="0"/>
          <a:chOff x="0" y="0"/>
          <a:chExt cx="0" cy="0"/>
        </a:xfrm>
      </p:grpSpPr>
      <p:sp>
        <p:nvSpPr>
          <p:cNvPr id="6" name="TextBox 18">
            <a:extLst>
              <a:ext uri="{FF2B5EF4-FFF2-40B4-BE49-F238E27FC236}">
                <a16:creationId xmlns:a16="http://schemas.microsoft.com/office/drawing/2014/main" id="{A8894389-4BDC-0818-A9DB-871E4E90A478}"/>
              </a:ext>
            </a:extLst>
          </p:cNvPr>
          <p:cNvSpPr txBox="1"/>
          <p:nvPr/>
        </p:nvSpPr>
        <p:spPr>
          <a:xfrm>
            <a:off x="896416" y="1021332"/>
            <a:ext cx="5513909" cy="584775"/>
          </a:xfrm>
          <a:prstGeom prst="rect">
            <a:avLst/>
          </a:prstGeom>
          <a:noFill/>
        </p:spPr>
        <p:txBody>
          <a:bodyPr wrap="square" rtlCol="0">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genda</a:t>
            </a:r>
          </a:p>
        </p:txBody>
      </p:sp>
      <p:graphicFrame>
        <p:nvGraphicFramePr>
          <p:cNvPr id="8" name="OT_AgendaTable">
            <a:extLst>
              <a:ext uri="{FF2B5EF4-FFF2-40B4-BE49-F238E27FC236}">
                <a16:creationId xmlns:a16="http://schemas.microsoft.com/office/drawing/2014/main" id="{177174D3-A8AC-F785-2A51-34F4A7F342AC}"/>
              </a:ext>
            </a:extLst>
          </p:cNvPr>
          <p:cNvGraphicFramePr>
            <a:graphicFrameLocks noGrp="1"/>
          </p:cNvGraphicFramePr>
          <p:nvPr>
            <p:custDataLst>
              <p:tags r:id="rId1"/>
            </p:custDataLst>
            <p:extLst>
              <p:ext uri="{D42A27DB-BD31-4B8C-83A1-F6EECF244321}">
                <p14:modId xmlns:p14="http://schemas.microsoft.com/office/powerpoint/2010/main" val="2726277692"/>
              </p:ext>
            </p:extLst>
          </p:nvPr>
        </p:nvGraphicFramePr>
        <p:xfrm>
          <a:off x="909551" y="1923728"/>
          <a:ext cx="9907131" cy="3386664"/>
        </p:xfrm>
        <a:graphic>
          <a:graphicData uri="http://schemas.openxmlformats.org/drawingml/2006/table">
            <a:tbl>
              <a:tblPr firstRow="1" bandRow="1">
                <a:tableStyleId>{2D5ABB26-0587-4C30-8999-92F81FD0307C}</a:tableStyleId>
              </a:tblPr>
              <a:tblGrid>
                <a:gridCol w="9907131">
                  <a:extLst>
                    <a:ext uri="{9D8B030D-6E8A-4147-A177-3AD203B41FA5}">
                      <a16:colId xmlns:a16="http://schemas.microsoft.com/office/drawing/2014/main" val="3315970368"/>
                    </a:ext>
                  </a:extLst>
                </a:gridCol>
              </a:tblGrid>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kern="1200" dirty="0">
                          <a:solidFill>
                            <a:schemeClr val="tx1"/>
                          </a:solidFill>
                          <a:latin typeface="Segoe UI" panose="020B0502040204020203" pitchFamily="34" charset="0"/>
                          <a:ea typeface="+mn-ea"/>
                          <a:cs typeface="Segoe UI" panose="020B0502040204020203" pitchFamily="34" charset="0"/>
                        </a:rPr>
                        <a:t>Bedeutung von Pensionszusagen beim Unternehmensverkauf </a:t>
                      </a:r>
                    </a:p>
                  </a:txBody>
                  <a:tcPr anchor="ctr">
                    <a:noFill/>
                  </a:tcPr>
                </a:tc>
                <a:extLst>
                  <a:ext uri="{0D108BD9-81ED-4DB2-BD59-A6C34878D82A}">
                    <a16:rowId xmlns:a16="http://schemas.microsoft.com/office/drawing/2014/main" val="3130548413"/>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Die „richtige“ Bewertung der Pensionsverpflichtung </a:t>
                      </a:r>
                    </a:p>
                  </a:txBody>
                  <a:tcPr anchor="ctr">
                    <a:noFill/>
                  </a:tcPr>
                </a:tc>
                <a:extLst>
                  <a:ext uri="{0D108BD9-81ED-4DB2-BD59-A6C34878D82A}">
                    <a16:rowId xmlns:a16="http://schemas.microsoft.com/office/drawing/2014/main" val="3106507590"/>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Folgen des vollständigen Verzichtes auf eine Pensionszusage </a:t>
                      </a:r>
                    </a:p>
                  </a:txBody>
                  <a:tcPr anchor="ctr">
                    <a:noFill/>
                  </a:tcPr>
                </a:tc>
                <a:extLst>
                  <a:ext uri="{0D108BD9-81ED-4DB2-BD59-A6C34878D82A}">
                    <a16:rowId xmlns:a16="http://schemas.microsoft.com/office/drawing/2014/main" val="541056519"/>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mögliche Lösung: </a:t>
                      </a:r>
                      <a:r>
                        <a:rPr lang="de-DE" sz="1800" b="0" dirty="0" err="1">
                          <a:solidFill>
                            <a:schemeClr val="tx1"/>
                          </a:solidFill>
                          <a:latin typeface="Segoe UI" panose="020B0502040204020203" pitchFamily="34" charset="0"/>
                          <a:cs typeface="Segoe UI" panose="020B0502040204020203" pitchFamily="34" charset="0"/>
                        </a:rPr>
                        <a:t>asset</a:t>
                      </a:r>
                      <a:r>
                        <a:rPr lang="de-DE" sz="1800" b="0" dirty="0">
                          <a:solidFill>
                            <a:schemeClr val="tx1"/>
                          </a:solidFill>
                          <a:latin typeface="Segoe UI" panose="020B0502040204020203" pitchFamily="34" charset="0"/>
                          <a:cs typeface="Segoe UI" panose="020B0502040204020203" pitchFamily="34" charset="0"/>
                        </a:rPr>
                        <a:t>-deal statt share-deal </a:t>
                      </a:r>
                    </a:p>
                  </a:txBody>
                  <a:tcPr anchor="ctr">
                    <a:noFill/>
                  </a:tcPr>
                </a:tc>
                <a:extLst>
                  <a:ext uri="{0D108BD9-81ED-4DB2-BD59-A6C34878D82A}">
                    <a16:rowId xmlns:a16="http://schemas.microsoft.com/office/drawing/2014/main" val="1873190663"/>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1" dirty="0">
                          <a:solidFill>
                            <a:schemeClr val="tx1"/>
                          </a:solidFill>
                          <a:latin typeface="Segoe UI" panose="020B0502040204020203" pitchFamily="34" charset="0"/>
                          <a:cs typeface="Segoe UI" panose="020B0502040204020203" pitchFamily="34" charset="0"/>
                        </a:rPr>
                        <a:t>„echte“ Auslagerung auf einen externen Versorgungsträger  </a:t>
                      </a:r>
                    </a:p>
                  </a:txBody>
                  <a:tcPr anchor="ctr">
                    <a:solidFill>
                      <a:srgbClr val="FBBA00"/>
                    </a:solidFill>
                  </a:tcPr>
                </a:tc>
                <a:extLst>
                  <a:ext uri="{0D108BD9-81ED-4DB2-BD59-A6C34878D82A}">
                    <a16:rowId xmlns:a16="http://schemas.microsoft.com/office/drawing/2014/main" val="847646844"/>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Übertragung auf eine „Rentner-GmbH“ / „Holding-Struktur“ </a:t>
                      </a:r>
                    </a:p>
                  </a:txBody>
                  <a:tcPr anchor="ctr">
                    <a:solidFill>
                      <a:schemeClr val="bg1"/>
                    </a:solidFill>
                  </a:tcPr>
                </a:tc>
                <a:extLst>
                  <a:ext uri="{0D108BD9-81ED-4DB2-BD59-A6C34878D82A}">
                    <a16:rowId xmlns:a16="http://schemas.microsoft.com/office/drawing/2014/main" val="353730752"/>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Teilverzicht / Verzicht auf den „</a:t>
                      </a:r>
                      <a:r>
                        <a:rPr lang="de-DE" sz="1800" b="0" dirty="0" err="1">
                          <a:solidFill>
                            <a:schemeClr val="tx1"/>
                          </a:solidFill>
                          <a:latin typeface="Segoe UI" panose="020B0502040204020203" pitchFamily="34" charset="0"/>
                          <a:cs typeface="Segoe UI" panose="020B0502040204020203" pitchFamily="34" charset="0"/>
                        </a:rPr>
                        <a:t>future</a:t>
                      </a:r>
                      <a:r>
                        <a:rPr lang="de-DE" sz="1800" b="0" dirty="0">
                          <a:solidFill>
                            <a:schemeClr val="tx1"/>
                          </a:solidFill>
                          <a:latin typeface="Segoe UI" panose="020B0502040204020203" pitchFamily="34" charset="0"/>
                          <a:cs typeface="Segoe UI" panose="020B0502040204020203" pitchFamily="34" charset="0"/>
                        </a:rPr>
                        <a:t>-service“ </a:t>
                      </a:r>
                    </a:p>
                  </a:txBody>
                  <a:tcPr anchor="ctr">
                    <a:solidFill>
                      <a:schemeClr val="bg1"/>
                    </a:solidFill>
                  </a:tcPr>
                </a:tc>
                <a:extLst>
                  <a:ext uri="{0D108BD9-81ED-4DB2-BD59-A6C34878D82A}">
                    <a16:rowId xmlns:a16="http://schemas.microsoft.com/office/drawing/2014/main" val="3390285067"/>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Dringende Empfehlung: Vereinbarung der </a:t>
                      </a:r>
                      <a:r>
                        <a:rPr lang="de-DE" sz="1800" b="0" i="1" dirty="0">
                          <a:solidFill>
                            <a:schemeClr val="tx1"/>
                          </a:solidFill>
                          <a:latin typeface="Segoe UI" panose="020B0502040204020203" pitchFamily="34" charset="0"/>
                          <a:cs typeface="Segoe UI" panose="020B0502040204020203" pitchFamily="34" charset="0"/>
                        </a:rPr>
                        <a:t>Möglichkeit</a:t>
                      </a:r>
                      <a:r>
                        <a:rPr lang="de-DE" sz="1800" b="0" dirty="0">
                          <a:solidFill>
                            <a:schemeClr val="tx1"/>
                          </a:solidFill>
                          <a:latin typeface="Segoe UI" panose="020B0502040204020203" pitchFamily="34" charset="0"/>
                          <a:cs typeface="Segoe UI" panose="020B0502040204020203" pitchFamily="34" charset="0"/>
                        </a:rPr>
                        <a:t> einer einmaligen Kapitalabfindung </a:t>
                      </a:r>
                    </a:p>
                  </a:txBody>
                  <a:tcPr anchor="ctr">
                    <a:solidFill>
                      <a:schemeClr val="bg1"/>
                    </a:solidFill>
                  </a:tcPr>
                </a:tc>
                <a:extLst>
                  <a:ext uri="{0D108BD9-81ED-4DB2-BD59-A6C34878D82A}">
                    <a16:rowId xmlns:a16="http://schemas.microsoft.com/office/drawing/2014/main" val="2691783076"/>
                  </a:ext>
                </a:extLst>
              </a:tr>
            </a:tbl>
          </a:graphicData>
        </a:graphic>
      </p:graphicFrame>
    </p:spTree>
    <p:extLst>
      <p:ext uri="{BB962C8B-B14F-4D97-AF65-F5344CB8AC3E}">
        <p14:creationId xmlns:p14="http://schemas.microsoft.com/office/powerpoint/2010/main" val="3156293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FC49EC-CD31-2151-D597-C5F64B90AFCC}"/>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FDF74AC6-7011-3940-EC3C-FA96FA2CBAAB}"/>
              </a:ext>
            </a:extLst>
          </p:cNvPr>
          <p:cNvSpPr txBox="1"/>
          <p:nvPr/>
        </p:nvSpPr>
        <p:spPr>
          <a:xfrm>
            <a:off x="1670424" y="1084321"/>
            <a:ext cx="8851152" cy="1077218"/>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cht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Auslager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n</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xternen</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Versorgungsträge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p>
        </p:txBody>
      </p:sp>
      <p:grpSp>
        <p:nvGrpSpPr>
          <p:cNvPr id="3" name="Gruppieren 2">
            <a:extLst>
              <a:ext uri="{FF2B5EF4-FFF2-40B4-BE49-F238E27FC236}">
                <a16:creationId xmlns:a16="http://schemas.microsoft.com/office/drawing/2014/main" id="{D4107047-9FE1-6E0A-5B4E-855A8443FEF6}"/>
              </a:ext>
            </a:extLst>
          </p:cNvPr>
          <p:cNvGrpSpPr/>
          <p:nvPr/>
        </p:nvGrpSpPr>
        <p:grpSpPr>
          <a:xfrm>
            <a:off x="2082811" y="2756377"/>
            <a:ext cx="1405717" cy="3985406"/>
            <a:chOff x="2462777" y="1904484"/>
            <a:chExt cx="1405717" cy="3985406"/>
          </a:xfrm>
        </p:grpSpPr>
        <p:grpSp>
          <p:nvGrpSpPr>
            <p:cNvPr id="102" name="Group 138">
              <a:extLst>
                <a:ext uri="{FF2B5EF4-FFF2-40B4-BE49-F238E27FC236}">
                  <a16:creationId xmlns:a16="http://schemas.microsoft.com/office/drawing/2014/main" id="{C9238B20-6E59-148A-1BE7-FD4AC3FAF00B}"/>
                </a:ext>
              </a:extLst>
            </p:cNvPr>
            <p:cNvGrpSpPr/>
            <p:nvPr/>
          </p:nvGrpSpPr>
          <p:grpSpPr>
            <a:xfrm>
              <a:off x="2934725" y="1904484"/>
              <a:ext cx="461820" cy="461820"/>
              <a:chOff x="1236144" y="1532568"/>
              <a:chExt cx="834324" cy="834324"/>
            </a:xfrm>
          </p:grpSpPr>
          <p:sp>
            <p:nvSpPr>
              <p:cNvPr id="103" name="Freeform: Shape 139">
                <a:extLst>
                  <a:ext uri="{FF2B5EF4-FFF2-40B4-BE49-F238E27FC236}">
                    <a16:creationId xmlns:a16="http://schemas.microsoft.com/office/drawing/2014/main" id="{47E19C9A-B521-5F7F-A514-0BBFB8F2D664}"/>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4" name="Freeform: Shape 140">
                <a:extLst>
                  <a:ext uri="{FF2B5EF4-FFF2-40B4-BE49-F238E27FC236}">
                    <a16:creationId xmlns:a16="http://schemas.microsoft.com/office/drawing/2014/main" id="{FE90DB82-EE5A-FF4C-F71E-9BD2CA3802C5}"/>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5" name="Oval 157">
                <a:extLst>
                  <a:ext uri="{FF2B5EF4-FFF2-40B4-BE49-F238E27FC236}">
                    <a16:creationId xmlns:a16="http://schemas.microsoft.com/office/drawing/2014/main" id="{28427216-2C99-FE24-3993-B91BBD00FD6B}"/>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06" name="Freeform: Shape 142">
                <a:extLst>
                  <a:ext uri="{FF2B5EF4-FFF2-40B4-BE49-F238E27FC236}">
                    <a16:creationId xmlns:a16="http://schemas.microsoft.com/office/drawing/2014/main" id="{80669D7B-5E44-9298-D6ED-3529A2304F1F}"/>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2" name="Gruppieren 1">
              <a:extLst>
                <a:ext uri="{FF2B5EF4-FFF2-40B4-BE49-F238E27FC236}">
                  <a16:creationId xmlns:a16="http://schemas.microsoft.com/office/drawing/2014/main" id="{4E232D71-7005-7109-3A66-0D1246263AC6}"/>
                </a:ext>
              </a:extLst>
            </p:cNvPr>
            <p:cNvGrpSpPr/>
            <p:nvPr/>
          </p:nvGrpSpPr>
          <p:grpSpPr>
            <a:xfrm>
              <a:off x="2462777" y="2379623"/>
              <a:ext cx="1405717" cy="3510267"/>
              <a:chOff x="2462777" y="2379623"/>
              <a:chExt cx="1405717" cy="3510267"/>
            </a:xfrm>
          </p:grpSpPr>
          <p:sp>
            <p:nvSpPr>
              <p:cNvPr id="100" name="Textfeld 99">
                <a:extLst>
                  <a:ext uri="{FF2B5EF4-FFF2-40B4-BE49-F238E27FC236}">
                    <a16:creationId xmlns:a16="http://schemas.microsoft.com/office/drawing/2014/main" id="{7A5A6415-EB24-30BF-5C82-40A0DD0F817A}"/>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07" name="Pfeil nach unten 91">
                <a:extLst>
                  <a:ext uri="{FF2B5EF4-FFF2-40B4-BE49-F238E27FC236}">
                    <a16:creationId xmlns:a16="http://schemas.microsoft.com/office/drawing/2014/main" id="{707EB982-F372-E5C3-6B96-BB5AB809F3EF}"/>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nvGrpSpPr>
              <p:cNvPr id="108" name="Group 138">
                <a:extLst>
                  <a:ext uri="{FF2B5EF4-FFF2-40B4-BE49-F238E27FC236}">
                    <a16:creationId xmlns:a16="http://schemas.microsoft.com/office/drawing/2014/main" id="{847D67B1-C0B5-2D5D-D3CB-9E2C3B6CC420}"/>
                  </a:ext>
                </a:extLst>
              </p:cNvPr>
              <p:cNvGrpSpPr/>
              <p:nvPr/>
            </p:nvGrpSpPr>
            <p:grpSpPr>
              <a:xfrm>
                <a:off x="3158154" y="3941620"/>
                <a:ext cx="3200" cy="4053"/>
                <a:chOff x="1650415" y="1908302"/>
                <a:chExt cx="5782" cy="7322"/>
              </a:xfrm>
            </p:grpSpPr>
            <p:sp>
              <p:nvSpPr>
                <p:cNvPr id="109" name="Freeform: Shape 139">
                  <a:extLst>
                    <a:ext uri="{FF2B5EF4-FFF2-40B4-BE49-F238E27FC236}">
                      <a16:creationId xmlns:a16="http://schemas.microsoft.com/office/drawing/2014/main" id="{3244A48C-13D2-462B-F70F-C57649F97B2B}"/>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0" name="Freeform: Shape 140">
                  <a:extLst>
                    <a:ext uri="{FF2B5EF4-FFF2-40B4-BE49-F238E27FC236}">
                      <a16:creationId xmlns:a16="http://schemas.microsoft.com/office/drawing/2014/main" id="{6FA089A7-712E-2235-8FC2-439B9CD2DF96}"/>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114" name="Group 138">
                <a:extLst>
                  <a:ext uri="{FF2B5EF4-FFF2-40B4-BE49-F238E27FC236}">
                    <a16:creationId xmlns:a16="http://schemas.microsoft.com/office/drawing/2014/main" id="{6CFE22CA-2363-0B41-D2F1-5A01FC27E924}"/>
                  </a:ext>
                </a:extLst>
              </p:cNvPr>
              <p:cNvGrpSpPr/>
              <p:nvPr/>
            </p:nvGrpSpPr>
            <p:grpSpPr>
              <a:xfrm>
                <a:off x="3163895" y="5885837"/>
                <a:ext cx="3200" cy="4053"/>
                <a:chOff x="1650415" y="1908302"/>
                <a:chExt cx="5782" cy="7322"/>
              </a:xfrm>
            </p:grpSpPr>
            <p:sp>
              <p:nvSpPr>
                <p:cNvPr id="115" name="Freeform: Shape 139">
                  <a:extLst>
                    <a:ext uri="{FF2B5EF4-FFF2-40B4-BE49-F238E27FC236}">
                      <a16:creationId xmlns:a16="http://schemas.microsoft.com/office/drawing/2014/main" id="{ED7499EA-5A9B-BAA0-6796-517A7D924814}"/>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6" name="Freeform: Shape 140">
                  <a:extLst>
                    <a:ext uri="{FF2B5EF4-FFF2-40B4-BE49-F238E27FC236}">
                      <a16:creationId xmlns:a16="http://schemas.microsoft.com/office/drawing/2014/main" id="{D4602563-9CA1-EDA2-051E-5496F9F4D24B}"/>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grpSp>
      <p:sp>
        <p:nvSpPr>
          <p:cNvPr id="4" name="Rechteck 3">
            <a:extLst>
              <a:ext uri="{FF2B5EF4-FFF2-40B4-BE49-F238E27FC236}">
                <a16:creationId xmlns:a16="http://schemas.microsoft.com/office/drawing/2014/main" id="{B9B7499D-FAB5-89EF-1C88-150488BFA806}"/>
              </a:ext>
            </a:extLst>
          </p:cNvPr>
          <p:cNvSpPr/>
          <p:nvPr/>
        </p:nvSpPr>
        <p:spPr>
          <a:xfrm>
            <a:off x="2239845" y="4597606"/>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9" name="Textplatzhalter 1">
            <a:extLst>
              <a:ext uri="{FF2B5EF4-FFF2-40B4-BE49-F238E27FC236}">
                <a16:creationId xmlns:a16="http://schemas.microsoft.com/office/drawing/2014/main" id="{6D77C944-BF93-0490-C7DD-DAF5E0D25247}"/>
              </a:ext>
            </a:extLst>
          </p:cNvPr>
          <p:cNvSpPr txBox="1">
            <a:spLocks/>
          </p:cNvSpPr>
          <p:nvPr/>
        </p:nvSpPr>
        <p:spPr>
          <a:xfrm>
            <a:off x="555070" y="4676103"/>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0" name="Textplatzhalter 1">
            <a:extLst>
              <a:ext uri="{FF2B5EF4-FFF2-40B4-BE49-F238E27FC236}">
                <a16:creationId xmlns:a16="http://schemas.microsoft.com/office/drawing/2014/main" id="{359C2739-5043-AAA9-4096-F66D4AC1DA33}"/>
              </a:ext>
            </a:extLst>
          </p:cNvPr>
          <p:cNvSpPr txBox="1">
            <a:spLocks/>
          </p:cNvSpPr>
          <p:nvPr/>
        </p:nvSpPr>
        <p:spPr>
          <a:xfrm>
            <a:off x="555070" y="2759052"/>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41652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5DE4A0-1393-1C06-8108-F201FDE8E4BD}"/>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858424E2-530A-342B-6816-98C0500C7869}"/>
              </a:ext>
            </a:extLst>
          </p:cNvPr>
          <p:cNvSpPr txBox="1"/>
          <p:nvPr/>
        </p:nvSpPr>
        <p:spPr>
          <a:xfrm>
            <a:off x="1670424" y="1084321"/>
            <a:ext cx="8851152" cy="1077218"/>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cht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Auslager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n</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xternen</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Versorgungsträge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p>
        </p:txBody>
      </p:sp>
      <p:grpSp>
        <p:nvGrpSpPr>
          <p:cNvPr id="3" name="Gruppieren 2">
            <a:extLst>
              <a:ext uri="{FF2B5EF4-FFF2-40B4-BE49-F238E27FC236}">
                <a16:creationId xmlns:a16="http://schemas.microsoft.com/office/drawing/2014/main" id="{7A99CC98-6961-31DF-DFB0-AD4486037D95}"/>
              </a:ext>
            </a:extLst>
          </p:cNvPr>
          <p:cNvGrpSpPr/>
          <p:nvPr/>
        </p:nvGrpSpPr>
        <p:grpSpPr>
          <a:xfrm>
            <a:off x="2082811" y="2756377"/>
            <a:ext cx="5729594" cy="3985406"/>
            <a:chOff x="2462777" y="1904484"/>
            <a:chExt cx="5729594" cy="3985406"/>
          </a:xfrm>
        </p:grpSpPr>
        <p:grpSp>
          <p:nvGrpSpPr>
            <p:cNvPr id="102" name="Group 138">
              <a:extLst>
                <a:ext uri="{FF2B5EF4-FFF2-40B4-BE49-F238E27FC236}">
                  <a16:creationId xmlns:a16="http://schemas.microsoft.com/office/drawing/2014/main" id="{8AAEB932-A0FC-A86A-E284-05A34510AACA}"/>
                </a:ext>
              </a:extLst>
            </p:cNvPr>
            <p:cNvGrpSpPr/>
            <p:nvPr/>
          </p:nvGrpSpPr>
          <p:grpSpPr>
            <a:xfrm>
              <a:off x="2934725" y="1904484"/>
              <a:ext cx="461820" cy="461820"/>
              <a:chOff x="1236144" y="1532568"/>
              <a:chExt cx="834324" cy="834324"/>
            </a:xfrm>
          </p:grpSpPr>
          <p:sp>
            <p:nvSpPr>
              <p:cNvPr id="103" name="Freeform: Shape 139">
                <a:extLst>
                  <a:ext uri="{FF2B5EF4-FFF2-40B4-BE49-F238E27FC236}">
                    <a16:creationId xmlns:a16="http://schemas.microsoft.com/office/drawing/2014/main" id="{AEB72413-E9CC-CBB4-2C84-0D283276D303}"/>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4" name="Freeform: Shape 140">
                <a:extLst>
                  <a:ext uri="{FF2B5EF4-FFF2-40B4-BE49-F238E27FC236}">
                    <a16:creationId xmlns:a16="http://schemas.microsoft.com/office/drawing/2014/main" id="{39BD6E2F-BBEA-91B8-7571-E1D2B90D7004}"/>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5" name="Oval 157">
                <a:extLst>
                  <a:ext uri="{FF2B5EF4-FFF2-40B4-BE49-F238E27FC236}">
                    <a16:creationId xmlns:a16="http://schemas.microsoft.com/office/drawing/2014/main" id="{46E95D42-3A00-88AF-D606-968454C42ACA}"/>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06" name="Freeform: Shape 142">
                <a:extLst>
                  <a:ext uri="{FF2B5EF4-FFF2-40B4-BE49-F238E27FC236}">
                    <a16:creationId xmlns:a16="http://schemas.microsoft.com/office/drawing/2014/main" id="{C2C39BCD-4794-B90D-4076-B5A0FC8AC58D}"/>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2" name="Gruppieren 1">
              <a:extLst>
                <a:ext uri="{FF2B5EF4-FFF2-40B4-BE49-F238E27FC236}">
                  <a16:creationId xmlns:a16="http://schemas.microsoft.com/office/drawing/2014/main" id="{90B23FA2-E1A7-0BC0-27A7-27341E22AABC}"/>
                </a:ext>
              </a:extLst>
            </p:cNvPr>
            <p:cNvGrpSpPr/>
            <p:nvPr/>
          </p:nvGrpSpPr>
          <p:grpSpPr>
            <a:xfrm>
              <a:off x="2462777" y="2379623"/>
              <a:ext cx="5729594" cy="3510267"/>
              <a:chOff x="2462777" y="2379623"/>
              <a:chExt cx="5729594" cy="3510267"/>
            </a:xfrm>
          </p:grpSpPr>
          <p:sp>
            <p:nvSpPr>
              <p:cNvPr id="100" name="Textfeld 99">
                <a:extLst>
                  <a:ext uri="{FF2B5EF4-FFF2-40B4-BE49-F238E27FC236}">
                    <a16:creationId xmlns:a16="http://schemas.microsoft.com/office/drawing/2014/main" id="{E207D46A-77A2-DE24-F359-958D8F87804D}"/>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07" name="Pfeil nach unten 91">
                <a:extLst>
                  <a:ext uri="{FF2B5EF4-FFF2-40B4-BE49-F238E27FC236}">
                    <a16:creationId xmlns:a16="http://schemas.microsoft.com/office/drawing/2014/main" id="{F3B8C42B-450E-D2F9-1474-96D8EE356BC3}"/>
                  </a:ext>
                </a:extLst>
              </p:cNvPr>
              <p:cNvSpPr/>
              <p:nvPr/>
            </p:nvSpPr>
            <p:spPr>
              <a:xfrm rot="17536605">
                <a:off x="5732575" y="876209"/>
                <a:ext cx="533052" cy="4386540"/>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nvGrpSpPr>
              <p:cNvPr id="108" name="Group 138">
                <a:extLst>
                  <a:ext uri="{FF2B5EF4-FFF2-40B4-BE49-F238E27FC236}">
                    <a16:creationId xmlns:a16="http://schemas.microsoft.com/office/drawing/2014/main" id="{0D976AB6-A885-FC20-8023-95B873693586}"/>
                  </a:ext>
                </a:extLst>
              </p:cNvPr>
              <p:cNvGrpSpPr/>
              <p:nvPr/>
            </p:nvGrpSpPr>
            <p:grpSpPr>
              <a:xfrm>
                <a:off x="3158154" y="3941620"/>
                <a:ext cx="3200" cy="4053"/>
                <a:chOff x="1650415" y="1908302"/>
                <a:chExt cx="5782" cy="7322"/>
              </a:xfrm>
            </p:grpSpPr>
            <p:sp>
              <p:nvSpPr>
                <p:cNvPr id="109" name="Freeform: Shape 139">
                  <a:extLst>
                    <a:ext uri="{FF2B5EF4-FFF2-40B4-BE49-F238E27FC236}">
                      <a16:creationId xmlns:a16="http://schemas.microsoft.com/office/drawing/2014/main" id="{33C345D4-25DF-CCAD-7F29-0AA8BA04F9D3}"/>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0" name="Freeform: Shape 140">
                  <a:extLst>
                    <a:ext uri="{FF2B5EF4-FFF2-40B4-BE49-F238E27FC236}">
                      <a16:creationId xmlns:a16="http://schemas.microsoft.com/office/drawing/2014/main" id="{A3118AB9-776C-5864-CE58-FAEE371A74A1}"/>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114" name="Group 138">
                <a:extLst>
                  <a:ext uri="{FF2B5EF4-FFF2-40B4-BE49-F238E27FC236}">
                    <a16:creationId xmlns:a16="http://schemas.microsoft.com/office/drawing/2014/main" id="{05B388E2-9088-36AD-99A7-DAEA8A70DC54}"/>
                  </a:ext>
                </a:extLst>
              </p:cNvPr>
              <p:cNvGrpSpPr/>
              <p:nvPr/>
            </p:nvGrpSpPr>
            <p:grpSpPr>
              <a:xfrm>
                <a:off x="3163895" y="5885837"/>
                <a:ext cx="3200" cy="4053"/>
                <a:chOff x="1650415" y="1908302"/>
                <a:chExt cx="5782" cy="7322"/>
              </a:xfrm>
            </p:grpSpPr>
            <p:sp>
              <p:nvSpPr>
                <p:cNvPr id="115" name="Freeform: Shape 139">
                  <a:extLst>
                    <a:ext uri="{FF2B5EF4-FFF2-40B4-BE49-F238E27FC236}">
                      <a16:creationId xmlns:a16="http://schemas.microsoft.com/office/drawing/2014/main" id="{81BB795F-E8C0-FA7B-0580-B9642747B060}"/>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6" name="Freeform: Shape 140">
                  <a:extLst>
                    <a:ext uri="{FF2B5EF4-FFF2-40B4-BE49-F238E27FC236}">
                      <a16:creationId xmlns:a16="http://schemas.microsoft.com/office/drawing/2014/main" id="{3FB2EFC3-4BDC-E2C6-752A-801FCE0B0A6E}"/>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grpSp>
      <p:sp>
        <p:nvSpPr>
          <p:cNvPr id="4" name="Rechteck 3">
            <a:extLst>
              <a:ext uri="{FF2B5EF4-FFF2-40B4-BE49-F238E27FC236}">
                <a16:creationId xmlns:a16="http://schemas.microsoft.com/office/drawing/2014/main" id="{34718BFA-8F57-0F14-2B48-9FDEED6CF9BC}"/>
              </a:ext>
            </a:extLst>
          </p:cNvPr>
          <p:cNvSpPr/>
          <p:nvPr/>
        </p:nvSpPr>
        <p:spPr>
          <a:xfrm>
            <a:off x="2239845" y="4597606"/>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5" name="Ellipse 4">
            <a:extLst>
              <a:ext uri="{FF2B5EF4-FFF2-40B4-BE49-F238E27FC236}">
                <a16:creationId xmlns:a16="http://schemas.microsoft.com/office/drawing/2014/main" id="{72759ABB-980C-405C-7BF5-1EA402DE3575}"/>
              </a:ext>
            </a:extLst>
          </p:cNvPr>
          <p:cNvSpPr/>
          <p:nvPr/>
        </p:nvSpPr>
        <p:spPr>
          <a:xfrm>
            <a:off x="3869328" y="5285803"/>
            <a:ext cx="4212718" cy="791034"/>
          </a:xfrm>
          <a:prstGeom prst="ellipse">
            <a:avLst/>
          </a:prstGeom>
          <a:solidFill>
            <a:srgbClr val="FBBA00"/>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Übertragung </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Pensionsverpflichtung </a:t>
            </a:r>
            <a:endParaRPr kumimoji="0" lang="de-DE" sz="1400" b="0" i="0" u="none" strike="noStrike" kern="0" cap="none" spc="0" normalizeH="0" baseline="0" noProof="0" dirty="0">
              <a:ln>
                <a:noFill/>
              </a:ln>
              <a:solidFill>
                <a:srgbClr val="000000"/>
              </a:solidFill>
              <a:effectLst/>
              <a:uLnTx/>
              <a:uFillTx/>
              <a:latin typeface="Arial" charset="0"/>
            </a:endParaRPr>
          </a:p>
        </p:txBody>
      </p:sp>
      <p:sp>
        <p:nvSpPr>
          <p:cNvPr id="9" name="Textplatzhalter 1">
            <a:extLst>
              <a:ext uri="{FF2B5EF4-FFF2-40B4-BE49-F238E27FC236}">
                <a16:creationId xmlns:a16="http://schemas.microsoft.com/office/drawing/2014/main" id="{ED2635A4-4AE2-BCBB-5CE3-89E997C63CC4}"/>
              </a:ext>
            </a:extLst>
          </p:cNvPr>
          <p:cNvSpPr txBox="1">
            <a:spLocks/>
          </p:cNvSpPr>
          <p:nvPr/>
        </p:nvSpPr>
        <p:spPr>
          <a:xfrm>
            <a:off x="9795660" y="4676103"/>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0" name="Textplatzhalter 1">
            <a:extLst>
              <a:ext uri="{FF2B5EF4-FFF2-40B4-BE49-F238E27FC236}">
                <a16:creationId xmlns:a16="http://schemas.microsoft.com/office/drawing/2014/main" id="{FD7D7C2E-A02E-4627-46A8-9BD8ECE1C380}"/>
              </a:ext>
            </a:extLst>
          </p:cNvPr>
          <p:cNvSpPr txBox="1">
            <a:spLocks/>
          </p:cNvSpPr>
          <p:nvPr/>
        </p:nvSpPr>
        <p:spPr>
          <a:xfrm>
            <a:off x="555070" y="2759052"/>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3" name="Rechteck 12">
            <a:extLst>
              <a:ext uri="{FF2B5EF4-FFF2-40B4-BE49-F238E27FC236}">
                <a16:creationId xmlns:a16="http://schemas.microsoft.com/office/drawing/2014/main" id="{EB01F073-A766-717C-5F94-D3F9D7B2D3BD}"/>
              </a:ext>
            </a:extLst>
          </p:cNvPr>
          <p:cNvSpPr/>
          <p:nvPr/>
        </p:nvSpPr>
        <p:spPr>
          <a:xfrm>
            <a:off x="7934386" y="4597605"/>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externer Dritter</a:t>
            </a:r>
          </a:p>
        </p:txBody>
      </p:sp>
      <p:sp>
        <p:nvSpPr>
          <p:cNvPr id="11" name="Nach oben gekrümmter Pfeil 26">
            <a:extLst>
              <a:ext uri="{FF2B5EF4-FFF2-40B4-BE49-F238E27FC236}">
                <a16:creationId xmlns:a16="http://schemas.microsoft.com/office/drawing/2014/main" id="{454A8A3B-64FB-C9E1-10C1-45F4597AD7D9}"/>
              </a:ext>
            </a:extLst>
          </p:cNvPr>
          <p:cNvSpPr/>
          <p:nvPr/>
        </p:nvSpPr>
        <p:spPr>
          <a:xfrm>
            <a:off x="3038016" y="5120329"/>
            <a:ext cx="6115968" cy="1121982"/>
          </a:xfrm>
          <a:prstGeom prst="curvedUp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8" name="Freeform: Shape 142">
            <a:extLst>
              <a:ext uri="{FF2B5EF4-FFF2-40B4-BE49-F238E27FC236}">
                <a16:creationId xmlns:a16="http://schemas.microsoft.com/office/drawing/2014/main" id="{98D5A382-9451-7A81-AF20-33FD3212704C}"/>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Pfeil nach unten 91">
            <a:extLst>
              <a:ext uri="{FF2B5EF4-FFF2-40B4-BE49-F238E27FC236}">
                <a16:creationId xmlns:a16="http://schemas.microsoft.com/office/drawing/2014/main" id="{9CDC9157-3DDC-C2EC-4F0C-499FF85A2DAD}"/>
              </a:ext>
            </a:extLst>
          </p:cNvPr>
          <p:cNvSpPr/>
          <p:nvPr/>
        </p:nvSpPr>
        <p:spPr>
          <a:xfrm>
            <a:off x="2629613" y="3657046"/>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Tree>
    <p:extLst>
      <p:ext uri="{BB962C8B-B14F-4D97-AF65-F5344CB8AC3E}">
        <p14:creationId xmlns:p14="http://schemas.microsoft.com/office/powerpoint/2010/main" val="2871899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DDA3A9-F7C0-B7FD-D122-5F2DC12B0E5B}"/>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4B46052F-009F-7A86-F10A-FAD9BF416C64}"/>
              </a:ext>
            </a:extLst>
          </p:cNvPr>
          <p:cNvSpPr txBox="1"/>
          <p:nvPr/>
        </p:nvSpPr>
        <p:spPr>
          <a:xfrm>
            <a:off x="1670424" y="1084321"/>
            <a:ext cx="8851152" cy="1077218"/>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cht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Auslager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n</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xternen</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Versorgungsträge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p>
        </p:txBody>
      </p:sp>
      <p:sp>
        <p:nvSpPr>
          <p:cNvPr id="18" name="Freeform: Shape 142">
            <a:extLst>
              <a:ext uri="{FF2B5EF4-FFF2-40B4-BE49-F238E27FC236}">
                <a16:creationId xmlns:a16="http://schemas.microsoft.com/office/drawing/2014/main" id="{3812ECA4-C69B-00F1-91F9-B88AD2CDEE71}"/>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03ACE06F-F403-8B82-BAD6-3B11E91F6461}"/>
              </a:ext>
            </a:extLst>
          </p:cNvPr>
          <p:cNvSpPr txBox="1"/>
          <p:nvPr/>
        </p:nvSpPr>
        <p:spPr>
          <a:xfrm>
            <a:off x="1487314" y="2224047"/>
            <a:ext cx="8647285" cy="1991186"/>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rPr>
              <a:t>nur mit Zustimmung des Pensionsberechtigten möglich </a:t>
            </a:r>
            <a:r>
              <a:rPr lang="de-DE" sz="1400" dirty="0">
                <a:latin typeface="Segoe UI" panose="020B0502040204020203" pitchFamily="34" charset="0"/>
                <a:cs typeface="Segoe UI" panose="020B0502040204020203" pitchFamily="34" charset="0"/>
                <a:sym typeface="Wingdings" panose="05000000000000000000" pitchFamily="2" charset="2"/>
              </a:rPr>
              <a:t> Problem eines „fiktiven“ Zuflusses von Arbeitslohn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Häufig aber steuerneutrale Übertragung möglich und erst ratierliche Steuerpflicht im Auszahlungsfall der Pension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Übertragungen z.B. auf Pensionsfonds, Pensionskasse, Unterstützungskasse oder (Lebens-)Versicherung</a:t>
            </a:r>
          </a:p>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p:txBody>
      </p:sp>
      <p:sp>
        <p:nvSpPr>
          <p:cNvPr id="8" name="Plus Sign 6">
            <a:extLst>
              <a:ext uri="{FF2B5EF4-FFF2-40B4-BE49-F238E27FC236}">
                <a16:creationId xmlns:a16="http://schemas.microsoft.com/office/drawing/2014/main" id="{7E8C128C-C88F-5D22-6B32-102813FBA38F}"/>
              </a:ext>
            </a:extLst>
          </p:cNvPr>
          <p:cNvSpPr/>
          <p:nvPr/>
        </p:nvSpPr>
        <p:spPr bwMode="auto">
          <a:xfrm>
            <a:off x="1096689" y="4447839"/>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Tree>
    <p:extLst>
      <p:ext uri="{BB962C8B-B14F-4D97-AF65-F5344CB8AC3E}">
        <p14:creationId xmlns:p14="http://schemas.microsoft.com/office/powerpoint/2010/main" val="3701108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par>
                                <p:cTn id="18" presetID="1" presetClass="entr" presetSubtype="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4FA17D-6841-75EC-AA6B-C12C71A2F45D}"/>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8B444E93-9747-7011-1C08-91C355EBE994}"/>
              </a:ext>
            </a:extLst>
          </p:cNvPr>
          <p:cNvSpPr txBox="1"/>
          <p:nvPr/>
        </p:nvSpPr>
        <p:spPr>
          <a:xfrm>
            <a:off x="1670424" y="1084321"/>
            <a:ext cx="8851152" cy="1077218"/>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cht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Auslager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n</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xternen</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Versorgungsträge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p>
        </p:txBody>
      </p:sp>
      <p:sp>
        <p:nvSpPr>
          <p:cNvPr id="18" name="Freeform: Shape 142">
            <a:extLst>
              <a:ext uri="{FF2B5EF4-FFF2-40B4-BE49-F238E27FC236}">
                <a16:creationId xmlns:a16="http://schemas.microsoft.com/office/drawing/2014/main" id="{1D21C697-29FA-134E-44AA-935ABCB0EAC6}"/>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EB308892-8A1C-EC99-6430-36DF290D919B}"/>
              </a:ext>
            </a:extLst>
          </p:cNvPr>
          <p:cNvSpPr txBox="1"/>
          <p:nvPr/>
        </p:nvSpPr>
        <p:spPr>
          <a:xfrm>
            <a:off x="1487314" y="2224047"/>
            <a:ext cx="8647285" cy="3283848"/>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Gesamte Verwaltung wird durch externen Dritten übernommen</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In der Bilanz ist keine Pensionszusage mehr enthalten </a:t>
            </a:r>
          </a:p>
          <a:p>
            <a:pPr marL="285750" indent="-285750">
              <a:lnSpc>
                <a:spcPct val="150000"/>
              </a:lnSpc>
              <a:buFont typeface="Arial" panose="020B0604020202020204" pitchFamily="34" charset="0"/>
              <a:buChar char="•"/>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teure“ Lösung, Prämie häufig über 30 % höher als der handelsrechtliche Rückstellungswert</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Barreserven notwendig, da Prämie sofort bezahlt werden muss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Übertragung auf externen Versorgungsträger </a:t>
            </a:r>
            <a:r>
              <a:rPr lang="de-DE" sz="1400" u="sng" dirty="0">
                <a:latin typeface="Segoe UI" panose="020B0502040204020203" pitchFamily="34" charset="0"/>
                <a:cs typeface="Segoe UI" panose="020B0502040204020203" pitchFamily="34" charset="0"/>
                <a:sym typeface="Wingdings" panose="05000000000000000000" pitchFamily="2" charset="2"/>
              </a:rPr>
              <a:t>ohne</a:t>
            </a:r>
            <a:r>
              <a:rPr lang="de-DE" sz="1400" dirty="0">
                <a:latin typeface="Segoe UI" panose="020B0502040204020203" pitchFamily="34" charset="0"/>
                <a:cs typeface="Segoe UI" panose="020B0502040204020203" pitchFamily="34" charset="0"/>
                <a:sym typeface="Wingdings" panose="05000000000000000000" pitchFamily="2" charset="2"/>
              </a:rPr>
              <a:t> befreiende Wirkung für die GmbH</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Steuerneutralität beim Berechtigten führt zu einer Verteilung der Prämie, die über die steuerliche Rückstellung hinaus geht, auf zehn Jahre (kein „Sofortabzug“ des übersteigenden Aufwands) </a:t>
            </a:r>
          </a:p>
          <a:p>
            <a:pPr marL="285750" indent="-285750">
              <a:lnSpc>
                <a:spcPct val="150000"/>
              </a:lnSpc>
              <a:buFont typeface="Arial" panose="020B0604020202020204" pitchFamily="34" charset="0"/>
              <a:buChar char="•"/>
            </a:pPr>
            <a:endParaRPr lang="de-DE" sz="1400" dirty="0">
              <a:latin typeface="Segoe UI" panose="020B0502040204020203" pitchFamily="34" charset="0"/>
              <a:cs typeface="Segoe UI" panose="020B0502040204020203" pitchFamily="34" charset="0"/>
            </a:endParaRPr>
          </a:p>
        </p:txBody>
      </p:sp>
      <p:sp>
        <p:nvSpPr>
          <p:cNvPr id="4" name="Oval 409">
            <a:extLst>
              <a:ext uri="{FF2B5EF4-FFF2-40B4-BE49-F238E27FC236}">
                <a16:creationId xmlns:a16="http://schemas.microsoft.com/office/drawing/2014/main" id="{793904AA-4276-7B48-CF57-A9480E5376FF}"/>
              </a:ext>
            </a:extLst>
          </p:cNvPr>
          <p:cNvSpPr/>
          <p:nvPr/>
        </p:nvSpPr>
        <p:spPr>
          <a:xfrm>
            <a:off x="1025228" y="4102239"/>
            <a:ext cx="345600" cy="345600"/>
          </a:xfrm>
          <a:prstGeom prst="ellipse">
            <a:avLst/>
          </a:prstGeom>
          <a:solidFill>
            <a:srgbClr val="F1607C"/>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5" name="Minus Sign 9">
            <a:extLst>
              <a:ext uri="{FF2B5EF4-FFF2-40B4-BE49-F238E27FC236}">
                <a16:creationId xmlns:a16="http://schemas.microsoft.com/office/drawing/2014/main" id="{3C5A5964-EF9C-9892-401F-5A0FECA387E0}"/>
              </a:ext>
            </a:extLst>
          </p:cNvPr>
          <p:cNvSpPr/>
          <p:nvPr/>
        </p:nvSpPr>
        <p:spPr bwMode="auto">
          <a:xfrm>
            <a:off x="1055466" y="4130375"/>
            <a:ext cx="274139" cy="274139"/>
          </a:xfrm>
          <a:prstGeom prst="mathMinus">
            <a:avLst/>
          </a:prstGeom>
          <a:solidFill>
            <a:srgbClr val="F1607C"/>
          </a:solid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7" name="Oval 448">
            <a:extLst>
              <a:ext uri="{FF2B5EF4-FFF2-40B4-BE49-F238E27FC236}">
                <a16:creationId xmlns:a16="http://schemas.microsoft.com/office/drawing/2014/main" id="{5B5CA7CE-E265-4D0E-0670-B95E88C7F559}"/>
              </a:ext>
            </a:extLst>
          </p:cNvPr>
          <p:cNvSpPr/>
          <p:nvPr/>
        </p:nvSpPr>
        <p:spPr>
          <a:xfrm>
            <a:off x="1060958" y="2803906"/>
            <a:ext cx="345600" cy="345600"/>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8" name="Plus Sign 6">
            <a:extLst>
              <a:ext uri="{FF2B5EF4-FFF2-40B4-BE49-F238E27FC236}">
                <a16:creationId xmlns:a16="http://schemas.microsoft.com/office/drawing/2014/main" id="{C47D1C33-596B-DD4A-4004-0F939DC21A28}"/>
              </a:ext>
            </a:extLst>
          </p:cNvPr>
          <p:cNvSpPr/>
          <p:nvPr/>
        </p:nvSpPr>
        <p:spPr bwMode="auto">
          <a:xfrm>
            <a:off x="1080766" y="2844232"/>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Tree>
    <p:extLst>
      <p:ext uri="{BB962C8B-B14F-4D97-AF65-F5344CB8AC3E}">
        <p14:creationId xmlns:p14="http://schemas.microsoft.com/office/powerpoint/2010/main" val="846467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Effect transition="in" filter="fade">
                                      <p:cBhvr>
                                        <p:cTn id="13" dur="500"/>
                                        <p:tgtEl>
                                          <p:spTgt spid="6">
                                            <p:txEl>
                                              <p:pRg st="1" end="1"/>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6">
                                            <p:txEl>
                                              <p:pRg st="2" end="2"/>
                                            </p:txEl>
                                          </p:spTgt>
                                        </p:tgtEl>
                                        <p:attrNameLst>
                                          <p:attrName>style.visibility</p:attrName>
                                        </p:attrNameLst>
                                      </p:cBhvr>
                                      <p:to>
                                        <p:strVal val="visible"/>
                                      </p:to>
                                    </p:set>
                                    <p:animEffect transition="in" filter="fade">
                                      <p:cBhvr>
                                        <p:cTn id="18" dur="500"/>
                                        <p:tgtEl>
                                          <p:spTgt spid="6">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6">
                                            <p:txEl>
                                              <p:pRg st="4" end="4"/>
                                            </p:txEl>
                                          </p:spTgt>
                                        </p:tgtEl>
                                        <p:attrNameLst>
                                          <p:attrName>style.visibility</p:attrName>
                                        </p:attrNameLst>
                                      </p:cBhvr>
                                      <p:to>
                                        <p:strVal val="visible"/>
                                      </p:to>
                                    </p:set>
                                    <p:animEffect transition="in" filter="fade">
                                      <p:cBhvr>
                                        <p:cTn id="29" dur="500"/>
                                        <p:tgtEl>
                                          <p:spTgt spid="6">
                                            <p:txEl>
                                              <p:pRg st="4" end="4"/>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6">
                                            <p:txEl>
                                              <p:pRg st="5" end="5"/>
                                            </p:txEl>
                                          </p:spTgt>
                                        </p:tgtEl>
                                        <p:attrNameLst>
                                          <p:attrName>style.visibility</p:attrName>
                                        </p:attrNameLst>
                                      </p:cBhvr>
                                      <p:to>
                                        <p:strVal val="visible"/>
                                      </p:to>
                                    </p:set>
                                    <p:animEffect transition="in" filter="fade">
                                      <p:cBhvr>
                                        <p:cTn id="34" dur="500"/>
                                        <p:tgtEl>
                                          <p:spTgt spid="6">
                                            <p:txEl>
                                              <p:pRg st="5" end="5"/>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6">
                                            <p:txEl>
                                              <p:pRg st="6" end="6"/>
                                            </p:txEl>
                                          </p:spTgt>
                                        </p:tgtEl>
                                        <p:attrNameLst>
                                          <p:attrName>style.visibility</p:attrName>
                                        </p:attrNameLst>
                                      </p:cBhvr>
                                      <p:to>
                                        <p:strVal val="visible"/>
                                      </p:to>
                                    </p:set>
                                    <p:animEffect transition="in" filter="fade">
                                      <p:cBhvr>
                                        <p:cTn id="39" dur="500"/>
                                        <p:tgtEl>
                                          <p:spTgt spid="6">
                                            <p:txEl>
                                              <p:pRg st="6" end="6"/>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6">
                                            <p:txEl>
                                              <p:pRg st="7" end="7"/>
                                            </p:txEl>
                                          </p:spTgt>
                                        </p:tgtEl>
                                        <p:attrNameLst>
                                          <p:attrName>style.visibility</p:attrName>
                                        </p:attrNameLst>
                                      </p:cBhvr>
                                      <p:to>
                                        <p:strVal val="visible"/>
                                      </p:to>
                                    </p:set>
                                    <p:animEffect transition="in" filter="fade">
                                      <p:cBhvr>
                                        <p:cTn id="44"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7E3A5E-4BC6-B2E3-B26B-6AE823D0563C}"/>
            </a:ext>
          </a:extLst>
        </p:cNvPr>
        <p:cNvGrpSpPr/>
        <p:nvPr/>
      </p:nvGrpSpPr>
      <p:grpSpPr>
        <a:xfrm>
          <a:off x="0" y="0"/>
          <a:ext cx="0" cy="0"/>
          <a:chOff x="0" y="0"/>
          <a:chExt cx="0" cy="0"/>
        </a:xfrm>
      </p:grpSpPr>
      <p:sp>
        <p:nvSpPr>
          <p:cNvPr id="6" name="TextBox 18">
            <a:extLst>
              <a:ext uri="{FF2B5EF4-FFF2-40B4-BE49-F238E27FC236}">
                <a16:creationId xmlns:a16="http://schemas.microsoft.com/office/drawing/2014/main" id="{3CB3C1F7-E902-59DC-DBE0-87F6848DA8B9}"/>
              </a:ext>
            </a:extLst>
          </p:cNvPr>
          <p:cNvSpPr txBox="1"/>
          <p:nvPr/>
        </p:nvSpPr>
        <p:spPr>
          <a:xfrm>
            <a:off x="896416" y="1021332"/>
            <a:ext cx="5513909" cy="584775"/>
          </a:xfrm>
          <a:prstGeom prst="rect">
            <a:avLst/>
          </a:prstGeom>
          <a:noFill/>
        </p:spPr>
        <p:txBody>
          <a:bodyPr wrap="square" rtlCol="0">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genda</a:t>
            </a:r>
          </a:p>
        </p:txBody>
      </p:sp>
      <p:graphicFrame>
        <p:nvGraphicFramePr>
          <p:cNvPr id="8" name="OT_AgendaTable">
            <a:extLst>
              <a:ext uri="{FF2B5EF4-FFF2-40B4-BE49-F238E27FC236}">
                <a16:creationId xmlns:a16="http://schemas.microsoft.com/office/drawing/2014/main" id="{4978B634-1BF2-BBD5-A3FB-880D8A371CC0}"/>
              </a:ext>
            </a:extLst>
          </p:cNvPr>
          <p:cNvGraphicFramePr>
            <a:graphicFrameLocks noGrp="1"/>
          </p:cNvGraphicFramePr>
          <p:nvPr>
            <p:custDataLst>
              <p:tags r:id="rId1"/>
            </p:custDataLst>
            <p:extLst>
              <p:ext uri="{D42A27DB-BD31-4B8C-83A1-F6EECF244321}">
                <p14:modId xmlns:p14="http://schemas.microsoft.com/office/powerpoint/2010/main" val="3938795128"/>
              </p:ext>
            </p:extLst>
          </p:nvPr>
        </p:nvGraphicFramePr>
        <p:xfrm>
          <a:off x="909551" y="1923728"/>
          <a:ext cx="9907131" cy="3386664"/>
        </p:xfrm>
        <a:graphic>
          <a:graphicData uri="http://schemas.openxmlformats.org/drawingml/2006/table">
            <a:tbl>
              <a:tblPr firstRow="1" bandRow="1">
                <a:tableStyleId>{2D5ABB26-0587-4C30-8999-92F81FD0307C}</a:tableStyleId>
              </a:tblPr>
              <a:tblGrid>
                <a:gridCol w="9907131">
                  <a:extLst>
                    <a:ext uri="{9D8B030D-6E8A-4147-A177-3AD203B41FA5}">
                      <a16:colId xmlns:a16="http://schemas.microsoft.com/office/drawing/2014/main" val="3315970368"/>
                    </a:ext>
                  </a:extLst>
                </a:gridCol>
              </a:tblGrid>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kern="1200" dirty="0">
                          <a:solidFill>
                            <a:schemeClr val="tx1"/>
                          </a:solidFill>
                          <a:latin typeface="Segoe UI" panose="020B0502040204020203" pitchFamily="34" charset="0"/>
                          <a:ea typeface="+mn-ea"/>
                          <a:cs typeface="Segoe UI" panose="020B0502040204020203" pitchFamily="34" charset="0"/>
                        </a:rPr>
                        <a:t>Bedeutung von Pensionszusagen beim Unternehmensverkauf </a:t>
                      </a:r>
                    </a:p>
                  </a:txBody>
                  <a:tcPr anchor="ctr">
                    <a:noFill/>
                  </a:tcPr>
                </a:tc>
                <a:extLst>
                  <a:ext uri="{0D108BD9-81ED-4DB2-BD59-A6C34878D82A}">
                    <a16:rowId xmlns:a16="http://schemas.microsoft.com/office/drawing/2014/main" val="3130548413"/>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Die „richtige“ Bewertung der Pensionsverpflichtung </a:t>
                      </a:r>
                    </a:p>
                  </a:txBody>
                  <a:tcPr anchor="ctr">
                    <a:noFill/>
                  </a:tcPr>
                </a:tc>
                <a:extLst>
                  <a:ext uri="{0D108BD9-81ED-4DB2-BD59-A6C34878D82A}">
                    <a16:rowId xmlns:a16="http://schemas.microsoft.com/office/drawing/2014/main" val="3106507590"/>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Folgen des vollständigen Verzichtes auf eine Pensionszusage </a:t>
                      </a:r>
                    </a:p>
                  </a:txBody>
                  <a:tcPr anchor="ctr">
                    <a:noFill/>
                  </a:tcPr>
                </a:tc>
                <a:extLst>
                  <a:ext uri="{0D108BD9-81ED-4DB2-BD59-A6C34878D82A}">
                    <a16:rowId xmlns:a16="http://schemas.microsoft.com/office/drawing/2014/main" val="541056519"/>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mögliche Lösung: </a:t>
                      </a:r>
                      <a:r>
                        <a:rPr lang="de-DE" sz="1800" b="0" dirty="0" err="1">
                          <a:solidFill>
                            <a:schemeClr val="tx1"/>
                          </a:solidFill>
                          <a:latin typeface="Segoe UI" panose="020B0502040204020203" pitchFamily="34" charset="0"/>
                          <a:cs typeface="Segoe UI" panose="020B0502040204020203" pitchFamily="34" charset="0"/>
                        </a:rPr>
                        <a:t>asset</a:t>
                      </a:r>
                      <a:r>
                        <a:rPr lang="de-DE" sz="1800" b="0" dirty="0">
                          <a:solidFill>
                            <a:schemeClr val="tx1"/>
                          </a:solidFill>
                          <a:latin typeface="Segoe UI" panose="020B0502040204020203" pitchFamily="34" charset="0"/>
                          <a:cs typeface="Segoe UI" panose="020B0502040204020203" pitchFamily="34" charset="0"/>
                        </a:rPr>
                        <a:t>-deal statt share-deal </a:t>
                      </a:r>
                    </a:p>
                  </a:txBody>
                  <a:tcPr anchor="ctr">
                    <a:noFill/>
                  </a:tcPr>
                </a:tc>
                <a:extLst>
                  <a:ext uri="{0D108BD9-81ED-4DB2-BD59-A6C34878D82A}">
                    <a16:rowId xmlns:a16="http://schemas.microsoft.com/office/drawing/2014/main" val="1873190663"/>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echte“ Auslagerung auf einen externen Versorgungsträger  </a:t>
                      </a:r>
                    </a:p>
                  </a:txBody>
                  <a:tcPr anchor="ctr">
                    <a:noFill/>
                  </a:tcPr>
                </a:tc>
                <a:extLst>
                  <a:ext uri="{0D108BD9-81ED-4DB2-BD59-A6C34878D82A}">
                    <a16:rowId xmlns:a16="http://schemas.microsoft.com/office/drawing/2014/main" val="847646844"/>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1" kern="1200" dirty="0">
                          <a:solidFill>
                            <a:schemeClr val="tx1"/>
                          </a:solidFill>
                          <a:highlight>
                            <a:srgbClr val="FBBA00"/>
                          </a:highlight>
                          <a:latin typeface="Segoe UI" panose="020B0502040204020203" pitchFamily="34" charset="0"/>
                          <a:ea typeface="+mn-ea"/>
                          <a:cs typeface="Segoe UI" panose="020B0502040204020203" pitchFamily="34" charset="0"/>
                        </a:rPr>
                        <a:t>Übertragung auf eine „Rentner-GmbH“ / „Holding-Struktur“ </a:t>
                      </a:r>
                    </a:p>
                  </a:txBody>
                  <a:tcPr anchor="ctr">
                    <a:solidFill>
                      <a:srgbClr val="FBBA00"/>
                    </a:solidFill>
                  </a:tcPr>
                </a:tc>
                <a:extLst>
                  <a:ext uri="{0D108BD9-81ED-4DB2-BD59-A6C34878D82A}">
                    <a16:rowId xmlns:a16="http://schemas.microsoft.com/office/drawing/2014/main" val="353730752"/>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Teilverzicht / Verzicht auf den „</a:t>
                      </a:r>
                      <a:r>
                        <a:rPr lang="de-DE" sz="1800" b="0" dirty="0" err="1">
                          <a:solidFill>
                            <a:schemeClr val="tx1"/>
                          </a:solidFill>
                          <a:latin typeface="Segoe UI" panose="020B0502040204020203" pitchFamily="34" charset="0"/>
                          <a:cs typeface="Segoe UI" panose="020B0502040204020203" pitchFamily="34" charset="0"/>
                        </a:rPr>
                        <a:t>future</a:t>
                      </a:r>
                      <a:r>
                        <a:rPr lang="de-DE" sz="1800" b="0" dirty="0">
                          <a:solidFill>
                            <a:schemeClr val="tx1"/>
                          </a:solidFill>
                          <a:latin typeface="Segoe UI" panose="020B0502040204020203" pitchFamily="34" charset="0"/>
                          <a:cs typeface="Segoe UI" panose="020B0502040204020203" pitchFamily="34" charset="0"/>
                        </a:rPr>
                        <a:t>-service“ </a:t>
                      </a:r>
                    </a:p>
                  </a:txBody>
                  <a:tcPr anchor="ctr">
                    <a:solidFill>
                      <a:schemeClr val="bg1"/>
                    </a:solidFill>
                  </a:tcPr>
                </a:tc>
                <a:extLst>
                  <a:ext uri="{0D108BD9-81ED-4DB2-BD59-A6C34878D82A}">
                    <a16:rowId xmlns:a16="http://schemas.microsoft.com/office/drawing/2014/main" val="3390285067"/>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Dringende Empfehlung: Vereinbarung der </a:t>
                      </a:r>
                      <a:r>
                        <a:rPr lang="de-DE" sz="1800" b="0" i="1" dirty="0">
                          <a:solidFill>
                            <a:schemeClr val="tx1"/>
                          </a:solidFill>
                          <a:latin typeface="Segoe UI" panose="020B0502040204020203" pitchFamily="34" charset="0"/>
                          <a:cs typeface="Segoe UI" panose="020B0502040204020203" pitchFamily="34" charset="0"/>
                        </a:rPr>
                        <a:t>Möglichkeit</a:t>
                      </a:r>
                      <a:r>
                        <a:rPr lang="de-DE" sz="1800" b="0" dirty="0">
                          <a:solidFill>
                            <a:schemeClr val="tx1"/>
                          </a:solidFill>
                          <a:latin typeface="Segoe UI" panose="020B0502040204020203" pitchFamily="34" charset="0"/>
                          <a:cs typeface="Segoe UI" panose="020B0502040204020203" pitchFamily="34" charset="0"/>
                        </a:rPr>
                        <a:t> einer einmaligen Kapitalabfindung </a:t>
                      </a:r>
                    </a:p>
                  </a:txBody>
                  <a:tcPr anchor="ctr">
                    <a:solidFill>
                      <a:schemeClr val="bg1"/>
                    </a:solidFill>
                  </a:tcPr>
                </a:tc>
                <a:extLst>
                  <a:ext uri="{0D108BD9-81ED-4DB2-BD59-A6C34878D82A}">
                    <a16:rowId xmlns:a16="http://schemas.microsoft.com/office/drawing/2014/main" val="2691783076"/>
                  </a:ext>
                </a:extLst>
              </a:tr>
            </a:tbl>
          </a:graphicData>
        </a:graphic>
      </p:graphicFrame>
    </p:spTree>
    <p:extLst>
      <p:ext uri="{BB962C8B-B14F-4D97-AF65-F5344CB8AC3E}">
        <p14:creationId xmlns:p14="http://schemas.microsoft.com/office/powerpoint/2010/main" val="3447450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37FE14-A12A-BD4D-8E44-089125C7A405}"/>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1E223AF1-9D58-B402-8116-4EFF7CE36EA4}"/>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Übertrag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Rentner-GmbH”</a:t>
            </a:r>
          </a:p>
        </p:txBody>
      </p:sp>
      <p:sp>
        <p:nvSpPr>
          <p:cNvPr id="18" name="Freeform: Shape 142">
            <a:extLst>
              <a:ext uri="{FF2B5EF4-FFF2-40B4-BE49-F238E27FC236}">
                <a16:creationId xmlns:a16="http://schemas.microsoft.com/office/drawing/2014/main" id="{9509B661-E51B-9801-7EDA-095F2F141B5A}"/>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C4388FB7-2F47-2D85-6CBC-EAE9D3C6A993}"/>
              </a:ext>
            </a:extLst>
          </p:cNvPr>
          <p:cNvSpPr txBox="1"/>
          <p:nvPr/>
        </p:nvSpPr>
        <p:spPr>
          <a:xfrm>
            <a:off x="1487314" y="2224047"/>
            <a:ext cx="8647285" cy="3283848"/>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rPr>
              <a:t>Beispiel </a:t>
            </a:r>
            <a:endParaRPr lang="de-DE" sz="1400" dirty="0">
              <a:latin typeface="Segoe UI" panose="020B0502040204020203" pitchFamily="34" charset="0"/>
              <a:cs typeface="Segoe UI" panose="020B0502040204020203" pitchFamily="34" charset="0"/>
              <a:sym typeface="Wingdings" panose="05000000000000000000" pitchFamily="2" charset="2"/>
            </a:endParaRP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A ist alleiniger Gesellschafter-Geschäftsführer der A-GmbH; diese hat A eine Pensionszusage erteilt, die voll werthaltig ist. Die A-GmbH soll ohne Pensionsverpflichtung übertragen werden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Die A-GmbH hat eine Pensionsrückstellung von T€ 300 in der Steuerbilanz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Ein angemessener Ausgleichsbetrag für die Pensionsverpflichtung beträgt T€ 400</a:t>
            </a:r>
          </a:p>
          <a:p>
            <a:pPr marL="285750" indent="-285750">
              <a:lnSpc>
                <a:spcPct val="150000"/>
              </a:lnSpc>
              <a:buFont typeface="Arial" panose="020B0604020202020204" pitchFamily="34" charset="0"/>
              <a:buChar char="•"/>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r>
              <a:rPr lang="de-DE" sz="1400" dirty="0">
                <a:latin typeface="Segoe UI" panose="020B0502040204020203" pitchFamily="34" charset="0"/>
                <a:cs typeface="Segoe UI" panose="020B0502040204020203" pitchFamily="34" charset="0"/>
              </a:rPr>
              <a:t>Lösung:</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rPr>
              <a:t>A gründet eine neue B-GmbH, die die Pensionsverpflichtung gegen Übertragung von T€ 400 übernimmt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rPr>
              <a:t>Anschließend verkauft A die A-GmbH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rPr>
              <a:t>Die B-GmbH wird behalten, diese zahlt in der Rentenphase ratierlich die Pension aus </a:t>
            </a:r>
          </a:p>
        </p:txBody>
      </p:sp>
      <p:sp>
        <p:nvSpPr>
          <p:cNvPr id="8" name="Plus Sign 6">
            <a:extLst>
              <a:ext uri="{FF2B5EF4-FFF2-40B4-BE49-F238E27FC236}">
                <a16:creationId xmlns:a16="http://schemas.microsoft.com/office/drawing/2014/main" id="{B84F9CCF-520F-BEF5-B3FB-E6F94C552792}"/>
              </a:ext>
            </a:extLst>
          </p:cNvPr>
          <p:cNvSpPr/>
          <p:nvPr/>
        </p:nvSpPr>
        <p:spPr bwMode="auto">
          <a:xfrm>
            <a:off x="1096689" y="4447839"/>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Tree>
    <p:extLst>
      <p:ext uri="{BB962C8B-B14F-4D97-AF65-F5344CB8AC3E}">
        <p14:creationId xmlns:p14="http://schemas.microsoft.com/office/powerpoint/2010/main" val="147355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Effect transition="in" filter="fade">
                                      <p:cBhvr>
                                        <p:cTn id="27" dur="500"/>
                                        <p:tgtEl>
                                          <p:spTgt spid="6">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6" end="6"/>
                                            </p:txEl>
                                          </p:spTgt>
                                        </p:tgtEl>
                                        <p:attrNameLst>
                                          <p:attrName>style.visibility</p:attrName>
                                        </p:attrNameLst>
                                      </p:cBhvr>
                                      <p:to>
                                        <p:strVal val="visible"/>
                                      </p:to>
                                    </p:set>
                                    <p:animEffect transition="in" filter="fade">
                                      <p:cBhvr>
                                        <p:cTn id="32" dur="500"/>
                                        <p:tgtEl>
                                          <p:spTgt spid="6">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
                                            <p:txEl>
                                              <p:pRg st="7" end="7"/>
                                            </p:txEl>
                                          </p:spTgt>
                                        </p:tgtEl>
                                        <p:attrNameLst>
                                          <p:attrName>style.visibility</p:attrName>
                                        </p:attrNameLst>
                                      </p:cBhvr>
                                      <p:to>
                                        <p:strVal val="visible"/>
                                      </p:to>
                                    </p:set>
                                    <p:animEffect transition="in" filter="fade">
                                      <p:cBhvr>
                                        <p:cTn id="37" dur="500"/>
                                        <p:tgtEl>
                                          <p:spTgt spid="6">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
                                            <p:txEl>
                                              <p:pRg st="8" end="8"/>
                                            </p:txEl>
                                          </p:spTgt>
                                        </p:tgtEl>
                                        <p:attrNameLst>
                                          <p:attrName>style.visibility</p:attrName>
                                        </p:attrNameLst>
                                      </p:cBhvr>
                                      <p:to>
                                        <p:strVal val="visible"/>
                                      </p:to>
                                    </p:set>
                                    <p:animEffect transition="in" filter="fade">
                                      <p:cBhvr>
                                        <p:cTn id="42" dur="50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79BB0C-EDB9-778D-5B88-BE3746DEBC83}"/>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E2325B47-25B7-ABB2-1B2D-44F2B2F39605}"/>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Übertrag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Rentner-GmbH”</a:t>
            </a:r>
          </a:p>
        </p:txBody>
      </p:sp>
      <p:sp>
        <p:nvSpPr>
          <p:cNvPr id="18" name="Freeform: Shape 142">
            <a:extLst>
              <a:ext uri="{FF2B5EF4-FFF2-40B4-BE49-F238E27FC236}">
                <a16:creationId xmlns:a16="http://schemas.microsoft.com/office/drawing/2014/main" id="{CB85AEFC-4266-470C-2B1F-6AF28D17EA2A}"/>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D51C738E-F538-2629-C973-A7B97F2F63E0}"/>
              </a:ext>
            </a:extLst>
          </p:cNvPr>
          <p:cNvSpPr txBox="1"/>
          <p:nvPr/>
        </p:nvSpPr>
        <p:spPr>
          <a:xfrm>
            <a:off x="1487314" y="2228840"/>
            <a:ext cx="8647285"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endParaRPr lang="de-DE" sz="1400" dirty="0">
              <a:latin typeface="Segoe UI" panose="020B0502040204020203" pitchFamily="34" charset="0"/>
              <a:cs typeface="Segoe UI" panose="020B0502040204020203" pitchFamily="34" charset="0"/>
            </a:endParaRPr>
          </a:p>
        </p:txBody>
      </p:sp>
      <p:sp>
        <p:nvSpPr>
          <p:cNvPr id="8" name="Plus Sign 6">
            <a:extLst>
              <a:ext uri="{FF2B5EF4-FFF2-40B4-BE49-F238E27FC236}">
                <a16:creationId xmlns:a16="http://schemas.microsoft.com/office/drawing/2014/main" id="{49C5EE57-D16B-0932-A320-A30737B6E79F}"/>
              </a:ext>
            </a:extLst>
          </p:cNvPr>
          <p:cNvSpPr/>
          <p:nvPr/>
        </p:nvSpPr>
        <p:spPr bwMode="auto">
          <a:xfrm>
            <a:off x="1096689" y="4447839"/>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 name="Rechteck 1">
            <a:extLst>
              <a:ext uri="{FF2B5EF4-FFF2-40B4-BE49-F238E27FC236}">
                <a16:creationId xmlns:a16="http://schemas.microsoft.com/office/drawing/2014/main" id="{F847B98A-BF84-C6BF-F178-39303E2D569D}"/>
              </a:ext>
            </a:extLst>
          </p:cNvPr>
          <p:cNvSpPr/>
          <p:nvPr/>
        </p:nvSpPr>
        <p:spPr>
          <a:xfrm>
            <a:off x="2239845" y="4597606"/>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3" name="Textplatzhalter 1">
            <a:extLst>
              <a:ext uri="{FF2B5EF4-FFF2-40B4-BE49-F238E27FC236}">
                <a16:creationId xmlns:a16="http://schemas.microsoft.com/office/drawing/2014/main" id="{490C6BF8-89A2-AF85-29EF-3A445C7D205B}"/>
              </a:ext>
            </a:extLst>
          </p:cNvPr>
          <p:cNvSpPr txBox="1">
            <a:spLocks/>
          </p:cNvSpPr>
          <p:nvPr/>
        </p:nvSpPr>
        <p:spPr>
          <a:xfrm>
            <a:off x="555070" y="4676103"/>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4" name="Textplatzhalter 1">
            <a:extLst>
              <a:ext uri="{FF2B5EF4-FFF2-40B4-BE49-F238E27FC236}">
                <a16:creationId xmlns:a16="http://schemas.microsoft.com/office/drawing/2014/main" id="{8389A64F-BDA1-3B7B-1917-EBD371009981}"/>
              </a:ext>
            </a:extLst>
          </p:cNvPr>
          <p:cNvSpPr txBox="1">
            <a:spLocks/>
          </p:cNvSpPr>
          <p:nvPr/>
        </p:nvSpPr>
        <p:spPr>
          <a:xfrm>
            <a:off x="555070" y="2759052"/>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5" name="Gruppieren 4">
            <a:extLst>
              <a:ext uri="{FF2B5EF4-FFF2-40B4-BE49-F238E27FC236}">
                <a16:creationId xmlns:a16="http://schemas.microsoft.com/office/drawing/2014/main" id="{E531A67C-B50A-772F-DD1C-DA6DA277FDC2}"/>
              </a:ext>
            </a:extLst>
          </p:cNvPr>
          <p:cNvGrpSpPr/>
          <p:nvPr/>
        </p:nvGrpSpPr>
        <p:grpSpPr>
          <a:xfrm>
            <a:off x="2235211" y="2908777"/>
            <a:ext cx="1405717" cy="3985406"/>
            <a:chOff x="2462777" y="1904484"/>
            <a:chExt cx="1405717" cy="3985406"/>
          </a:xfrm>
        </p:grpSpPr>
        <p:grpSp>
          <p:nvGrpSpPr>
            <p:cNvPr id="7" name="Group 138">
              <a:extLst>
                <a:ext uri="{FF2B5EF4-FFF2-40B4-BE49-F238E27FC236}">
                  <a16:creationId xmlns:a16="http://schemas.microsoft.com/office/drawing/2014/main" id="{97532FE8-35CF-3C06-BCA0-FE8842FA06EB}"/>
                </a:ext>
              </a:extLst>
            </p:cNvPr>
            <p:cNvGrpSpPr/>
            <p:nvPr/>
          </p:nvGrpSpPr>
          <p:grpSpPr>
            <a:xfrm>
              <a:off x="2934725" y="1904484"/>
              <a:ext cx="461820" cy="461820"/>
              <a:chOff x="1236144" y="1532568"/>
              <a:chExt cx="834324" cy="834324"/>
            </a:xfrm>
          </p:grpSpPr>
          <p:sp>
            <p:nvSpPr>
              <p:cNvPr id="20" name="Freeform: Shape 139">
                <a:extLst>
                  <a:ext uri="{FF2B5EF4-FFF2-40B4-BE49-F238E27FC236}">
                    <a16:creationId xmlns:a16="http://schemas.microsoft.com/office/drawing/2014/main" id="{61C78B68-DF70-E1FA-A476-EA33071C8DAE}"/>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1" name="Freeform: Shape 140">
                <a:extLst>
                  <a:ext uri="{FF2B5EF4-FFF2-40B4-BE49-F238E27FC236}">
                    <a16:creationId xmlns:a16="http://schemas.microsoft.com/office/drawing/2014/main" id="{7E3AB942-6B2A-FEB1-DE84-009CC3563BE9}"/>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2" name="Oval 157">
                <a:extLst>
                  <a:ext uri="{FF2B5EF4-FFF2-40B4-BE49-F238E27FC236}">
                    <a16:creationId xmlns:a16="http://schemas.microsoft.com/office/drawing/2014/main" id="{0ACD6B9C-9851-5E98-0F0A-4BA2C5949EB4}"/>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23" name="Freeform: Shape 142">
                <a:extLst>
                  <a:ext uri="{FF2B5EF4-FFF2-40B4-BE49-F238E27FC236}">
                    <a16:creationId xmlns:a16="http://schemas.microsoft.com/office/drawing/2014/main" id="{4C83BC54-B5E9-E2A2-1515-B1B8C07C64D7}"/>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9" name="Gruppieren 8">
              <a:extLst>
                <a:ext uri="{FF2B5EF4-FFF2-40B4-BE49-F238E27FC236}">
                  <a16:creationId xmlns:a16="http://schemas.microsoft.com/office/drawing/2014/main" id="{3C07AF46-F0E8-326B-E567-C38515088070}"/>
                </a:ext>
              </a:extLst>
            </p:cNvPr>
            <p:cNvGrpSpPr/>
            <p:nvPr/>
          </p:nvGrpSpPr>
          <p:grpSpPr>
            <a:xfrm>
              <a:off x="2462777" y="2379623"/>
              <a:ext cx="1405717" cy="3510267"/>
              <a:chOff x="2462777" y="2379623"/>
              <a:chExt cx="1405717" cy="3510267"/>
            </a:xfrm>
          </p:grpSpPr>
          <p:sp>
            <p:nvSpPr>
              <p:cNvPr id="10" name="Textfeld 9">
                <a:extLst>
                  <a:ext uri="{FF2B5EF4-FFF2-40B4-BE49-F238E27FC236}">
                    <a16:creationId xmlns:a16="http://schemas.microsoft.com/office/drawing/2014/main" id="{538D0BB2-753F-02E1-F654-EE66810B29CD}"/>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1" name="Pfeil nach unten 91">
                <a:extLst>
                  <a:ext uri="{FF2B5EF4-FFF2-40B4-BE49-F238E27FC236}">
                    <a16:creationId xmlns:a16="http://schemas.microsoft.com/office/drawing/2014/main" id="{24598D9C-C0C0-828F-D1EC-F8E8E23D616A}"/>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7" name="Freeform: Shape 139">
                <a:extLst>
                  <a:ext uri="{FF2B5EF4-FFF2-40B4-BE49-F238E27FC236}">
                    <a16:creationId xmlns:a16="http://schemas.microsoft.com/office/drawing/2014/main" id="{87792BAF-0FD5-005B-BABD-C57F84E621DB}"/>
                  </a:ext>
                </a:extLst>
              </p:cNvPr>
              <p:cNvSpPr/>
              <p:nvPr/>
            </p:nvSpPr>
            <p:spPr bwMode="auto">
              <a:xfrm>
                <a:off x="3158154" y="3941620"/>
                <a:ext cx="3200" cy="4053"/>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nvGrpSpPr>
              <p:cNvPr id="13" name="Group 138">
                <a:extLst>
                  <a:ext uri="{FF2B5EF4-FFF2-40B4-BE49-F238E27FC236}">
                    <a16:creationId xmlns:a16="http://schemas.microsoft.com/office/drawing/2014/main" id="{D5D97ACF-89EA-4967-D4A5-DB93A936CA8D}"/>
                  </a:ext>
                </a:extLst>
              </p:cNvPr>
              <p:cNvGrpSpPr/>
              <p:nvPr/>
            </p:nvGrpSpPr>
            <p:grpSpPr>
              <a:xfrm>
                <a:off x="3163895" y="5885837"/>
                <a:ext cx="3200" cy="4053"/>
                <a:chOff x="1650415" y="1908302"/>
                <a:chExt cx="5782" cy="7322"/>
              </a:xfrm>
            </p:grpSpPr>
            <p:sp>
              <p:nvSpPr>
                <p:cNvPr id="14" name="Freeform: Shape 139">
                  <a:extLst>
                    <a:ext uri="{FF2B5EF4-FFF2-40B4-BE49-F238E27FC236}">
                      <a16:creationId xmlns:a16="http://schemas.microsoft.com/office/drawing/2014/main" id="{FA0148A2-E742-9173-78E0-457D633C5BE0}"/>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5" name="Freeform: Shape 140">
                  <a:extLst>
                    <a:ext uri="{FF2B5EF4-FFF2-40B4-BE49-F238E27FC236}">
                      <a16:creationId xmlns:a16="http://schemas.microsoft.com/office/drawing/2014/main" id="{751B1407-8B46-BFC4-A932-36C5E43393D7}"/>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grpSp>
      <p:grpSp>
        <p:nvGrpSpPr>
          <p:cNvPr id="26" name="Gruppieren 25">
            <a:extLst>
              <a:ext uri="{FF2B5EF4-FFF2-40B4-BE49-F238E27FC236}">
                <a16:creationId xmlns:a16="http://schemas.microsoft.com/office/drawing/2014/main" id="{63768219-1613-9C9A-1D50-2D98AA707540}"/>
              </a:ext>
            </a:extLst>
          </p:cNvPr>
          <p:cNvGrpSpPr/>
          <p:nvPr/>
        </p:nvGrpSpPr>
        <p:grpSpPr>
          <a:xfrm>
            <a:off x="2778188" y="2964378"/>
            <a:ext cx="8942" cy="3777405"/>
            <a:chOff x="3158154" y="2112485"/>
            <a:chExt cx="8942" cy="3777405"/>
          </a:xfrm>
        </p:grpSpPr>
        <p:grpSp>
          <p:nvGrpSpPr>
            <p:cNvPr id="27" name="Group 138">
              <a:extLst>
                <a:ext uri="{FF2B5EF4-FFF2-40B4-BE49-F238E27FC236}">
                  <a16:creationId xmlns:a16="http://schemas.microsoft.com/office/drawing/2014/main" id="{9716EDAC-9CE3-0D40-E775-E757189264B5}"/>
                </a:ext>
              </a:extLst>
            </p:cNvPr>
            <p:cNvGrpSpPr/>
            <p:nvPr/>
          </p:nvGrpSpPr>
          <p:grpSpPr>
            <a:xfrm>
              <a:off x="3163896" y="2112485"/>
              <a:ext cx="3200" cy="4053"/>
              <a:chOff x="1650415" y="1908302"/>
              <a:chExt cx="5782" cy="7322"/>
            </a:xfrm>
          </p:grpSpPr>
          <p:sp>
            <p:nvSpPr>
              <p:cNvPr id="38" name="Freeform: Shape 139">
                <a:extLst>
                  <a:ext uri="{FF2B5EF4-FFF2-40B4-BE49-F238E27FC236}">
                    <a16:creationId xmlns:a16="http://schemas.microsoft.com/office/drawing/2014/main" id="{A0E12B75-14A0-3070-33AB-2268C250DE2D}"/>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39" name="Freeform: Shape 140">
                <a:extLst>
                  <a:ext uri="{FF2B5EF4-FFF2-40B4-BE49-F238E27FC236}">
                    <a16:creationId xmlns:a16="http://schemas.microsoft.com/office/drawing/2014/main" id="{6773ADD1-C942-ED2E-DAB5-DA06858386F0}"/>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28" name="Gruppieren 27">
              <a:extLst>
                <a:ext uri="{FF2B5EF4-FFF2-40B4-BE49-F238E27FC236}">
                  <a16:creationId xmlns:a16="http://schemas.microsoft.com/office/drawing/2014/main" id="{27863CDB-A7B4-6D00-8D47-559193AA7B54}"/>
                </a:ext>
              </a:extLst>
            </p:cNvPr>
            <p:cNvGrpSpPr/>
            <p:nvPr/>
          </p:nvGrpSpPr>
          <p:grpSpPr>
            <a:xfrm>
              <a:off x="3158154" y="3941620"/>
              <a:ext cx="8941" cy="1948270"/>
              <a:chOff x="3158154" y="3941620"/>
              <a:chExt cx="8941" cy="1948270"/>
            </a:xfrm>
          </p:grpSpPr>
          <p:grpSp>
            <p:nvGrpSpPr>
              <p:cNvPr id="31" name="Group 138">
                <a:extLst>
                  <a:ext uri="{FF2B5EF4-FFF2-40B4-BE49-F238E27FC236}">
                    <a16:creationId xmlns:a16="http://schemas.microsoft.com/office/drawing/2014/main" id="{F702669A-3C18-BFE2-2F0B-FB1C2A94E622}"/>
                  </a:ext>
                </a:extLst>
              </p:cNvPr>
              <p:cNvGrpSpPr/>
              <p:nvPr/>
            </p:nvGrpSpPr>
            <p:grpSpPr>
              <a:xfrm>
                <a:off x="3158154" y="3941620"/>
                <a:ext cx="3200" cy="4053"/>
                <a:chOff x="1650415" y="1908302"/>
                <a:chExt cx="5782" cy="7322"/>
              </a:xfrm>
            </p:grpSpPr>
            <p:sp>
              <p:nvSpPr>
                <p:cNvPr id="36" name="Freeform: Shape 139">
                  <a:extLst>
                    <a:ext uri="{FF2B5EF4-FFF2-40B4-BE49-F238E27FC236}">
                      <a16:creationId xmlns:a16="http://schemas.microsoft.com/office/drawing/2014/main" id="{305E855B-9773-B43D-14A4-3FAA9B2DF47C}"/>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37" name="Freeform: Shape 140">
                  <a:extLst>
                    <a:ext uri="{FF2B5EF4-FFF2-40B4-BE49-F238E27FC236}">
                      <a16:creationId xmlns:a16="http://schemas.microsoft.com/office/drawing/2014/main" id="{3DDB9B0D-1DD4-845A-4F7F-469203CF134A}"/>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32" name="Group 138">
                <a:extLst>
                  <a:ext uri="{FF2B5EF4-FFF2-40B4-BE49-F238E27FC236}">
                    <a16:creationId xmlns:a16="http://schemas.microsoft.com/office/drawing/2014/main" id="{8BD9C894-1305-30E6-2305-6F8D6DB3DE15}"/>
                  </a:ext>
                </a:extLst>
              </p:cNvPr>
              <p:cNvGrpSpPr/>
              <p:nvPr/>
            </p:nvGrpSpPr>
            <p:grpSpPr>
              <a:xfrm>
                <a:off x="3163895" y="5885837"/>
                <a:ext cx="3200" cy="4053"/>
                <a:chOff x="1650415" y="1908302"/>
                <a:chExt cx="5782" cy="7322"/>
              </a:xfrm>
            </p:grpSpPr>
            <p:sp>
              <p:nvSpPr>
                <p:cNvPr id="33" name="Freeform: Shape 139">
                  <a:extLst>
                    <a:ext uri="{FF2B5EF4-FFF2-40B4-BE49-F238E27FC236}">
                      <a16:creationId xmlns:a16="http://schemas.microsoft.com/office/drawing/2014/main" id="{04853E00-88D5-0056-433E-0A2DEA20194B}"/>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34" name="Freeform: Shape 140">
                  <a:extLst>
                    <a:ext uri="{FF2B5EF4-FFF2-40B4-BE49-F238E27FC236}">
                      <a16:creationId xmlns:a16="http://schemas.microsoft.com/office/drawing/2014/main" id="{78A10BFB-011A-6B01-DF82-3C512757B0DB}"/>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grpSp>
    </p:spTree>
    <p:extLst>
      <p:ext uri="{BB962C8B-B14F-4D97-AF65-F5344CB8AC3E}">
        <p14:creationId xmlns:p14="http://schemas.microsoft.com/office/powerpoint/2010/main" val="1834664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23DBFB-90B4-EA2D-301A-9A8042145752}"/>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C5147AC8-A70B-2AE5-177F-34841899870E}"/>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Übertrag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Rentner-GmbH”</a:t>
            </a:r>
          </a:p>
        </p:txBody>
      </p:sp>
      <p:sp>
        <p:nvSpPr>
          <p:cNvPr id="18" name="Freeform: Shape 142">
            <a:extLst>
              <a:ext uri="{FF2B5EF4-FFF2-40B4-BE49-F238E27FC236}">
                <a16:creationId xmlns:a16="http://schemas.microsoft.com/office/drawing/2014/main" id="{DD098398-4231-8AF7-EE6F-7FA8740FD906}"/>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279D8B07-8D19-A1E9-1E2E-125B07903DEC}"/>
              </a:ext>
            </a:extLst>
          </p:cNvPr>
          <p:cNvSpPr txBox="1"/>
          <p:nvPr/>
        </p:nvSpPr>
        <p:spPr>
          <a:xfrm>
            <a:off x="1487314" y="2228840"/>
            <a:ext cx="8647285"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endParaRPr lang="de-DE" sz="1400" dirty="0">
              <a:latin typeface="Segoe UI" panose="020B0502040204020203" pitchFamily="34" charset="0"/>
              <a:cs typeface="Segoe UI" panose="020B0502040204020203" pitchFamily="34" charset="0"/>
            </a:endParaRPr>
          </a:p>
        </p:txBody>
      </p:sp>
      <p:sp>
        <p:nvSpPr>
          <p:cNvPr id="8" name="Plus Sign 6">
            <a:extLst>
              <a:ext uri="{FF2B5EF4-FFF2-40B4-BE49-F238E27FC236}">
                <a16:creationId xmlns:a16="http://schemas.microsoft.com/office/drawing/2014/main" id="{56A742BA-D5ED-A91A-6B7A-A2BB7455DE08}"/>
              </a:ext>
            </a:extLst>
          </p:cNvPr>
          <p:cNvSpPr/>
          <p:nvPr/>
        </p:nvSpPr>
        <p:spPr bwMode="auto">
          <a:xfrm>
            <a:off x="1096689" y="4447839"/>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 name="Rechteck 1">
            <a:extLst>
              <a:ext uri="{FF2B5EF4-FFF2-40B4-BE49-F238E27FC236}">
                <a16:creationId xmlns:a16="http://schemas.microsoft.com/office/drawing/2014/main" id="{7A5DAD92-0BDE-EEFC-F0CB-48EE0202D196}"/>
              </a:ext>
            </a:extLst>
          </p:cNvPr>
          <p:cNvSpPr/>
          <p:nvPr/>
        </p:nvSpPr>
        <p:spPr>
          <a:xfrm>
            <a:off x="2239845" y="4597606"/>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3" name="Textplatzhalter 1">
            <a:extLst>
              <a:ext uri="{FF2B5EF4-FFF2-40B4-BE49-F238E27FC236}">
                <a16:creationId xmlns:a16="http://schemas.microsoft.com/office/drawing/2014/main" id="{DEC82801-2A96-3B3A-AD74-A09B929FD1E4}"/>
              </a:ext>
            </a:extLst>
          </p:cNvPr>
          <p:cNvSpPr txBox="1">
            <a:spLocks/>
          </p:cNvSpPr>
          <p:nvPr/>
        </p:nvSpPr>
        <p:spPr>
          <a:xfrm>
            <a:off x="555070" y="4676103"/>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4" name="Textplatzhalter 1">
            <a:extLst>
              <a:ext uri="{FF2B5EF4-FFF2-40B4-BE49-F238E27FC236}">
                <a16:creationId xmlns:a16="http://schemas.microsoft.com/office/drawing/2014/main" id="{FEDA87CE-4EBB-C147-A146-12CBA6B59048}"/>
              </a:ext>
            </a:extLst>
          </p:cNvPr>
          <p:cNvSpPr txBox="1">
            <a:spLocks/>
          </p:cNvSpPr>
          <p:nvPr/>
        </p:nvSpPr>
        <p:spPr>
          <a:xfrm>
            <a:off x="555070" y="2759052"/>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5" name="Gruppieren 4">
            <a:extLst>
              <a:ext uri="{FF2B5EF4-FFF2-40B4-BE49-F238E27FC236}">
                <a16:creationId xmlns:a16="http://schemas.microsoft.com/office/drawing/2014/main" id="{6FD1D63F-AB7E-66A9-3BD8-C20C41BD78D5}"/>
              </a:ext>
            </a:extLst>
          </p:cNvPr>
          <p:cNvGrpSpPr/>
          <p:nvPr/>
        </p:nvGrpSpPr>
        <p:grpSpPr>
          <a:xfrm>
            <a:off x="2235211" y="2908777"/>
            <a:ext cx="1405717" cy="3985406"/>
            <a:chOff x="2462777" y="1904484"/>
            <a:chExt cx="1405717" cy="3985406"/>
          </a:xfrm>
        </p:grpSpPr>
        <p:grpSp>
          <p:nvGrpSpPr>
            <p:cNvPr id="7" name="Group 138">
              <a:extLst>
                <a:ext uri="{FF2B5EF4-FFF2-40B4-BE49-F238E27FC236}">
                  <a16:creationId xmlns:a16="http://schemas.microsoft.com/office/drawing/2014/main" id="{FB52EF64-C708-7F5D-B213-EAECDA247415}"/>
                </a:ext>
              </a:extLst>
            </p:cNvPr>
            <p:cNvGrpSpPr/>
            <p:nvPr/>
          </p:nvGrpSpPr>
          <p:grpSpPr>
            <a:xfrm>
              <a:off x="2934725" y="1904484"/>
              <a:ext cx="461820" cy="461820"/>
              <a:chOff x="1236144" y="1532568"/>
              <a:chExt cx="834324" cy="834324"/>
            </a:xfrm>
          </p:grpSpPr>
          <p:sp>
            <p:nvSpPr>
              <p:cNvPr id="20" name="Freeform: Shape 139">
                <a:extLst>
                  <a:ext uri="{FF2B5EF4-FFF2-40B4-BE49-F238E27FC236}">
                    <a16:creationId xmlns:a16="http://schemas.microsoft.com/office/drawing/2014/main" id="{9DF6862A-DE5C-9DF1-A9ED-EB85CADAF635}"/>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1" name="Freeform: Shape 140">
                <a:extLst>
                  <a:ext uri="{FF2B5EF4-FFF2-40B4-BE49-F238E27FC236}">
                    <a16:creationId xmlns:a16="http://schemas.microsoft.com/office/drawing/2014/main" id="{02F65CFA-F920-A788-FECE-E7D9FC24BCAD}"/>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2" name="Oval 157">
                <a:extLst>
                  <a:ext uri="{FF2B5EF4-FFF2-40B4-BE49-F238E27FC236}">
                    <a16:creationId xmlns:a16="http://schemas.microsoft.com/office/drawing/2014/main" id="{224925DC-9D4C-1E30-A5E3-9F20273E3B69}"/>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23" name="Freeform: Shape 142">
                <a:extLst>
                  <a:ext uri="{FF2B5EF4-FFF2-40B4-BE49-F238E27FC236}">
                    <a16:creationId xmlns:a16="http://schemas.microsoft.com/office/drawing/2014/main" id="{6B2E3C6E-AD52-05DB-BC89-78B5C3A3579E}"/>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9" name="Gruppieren 8">
              <a:extLst>
                <a:ext uri="{FF2B5EF4-FFF2-40B4-BE49-F238E27FC236}">
                  <a16:creationId xmlns:a16="http://schemas.microsoft.com/office/drawing/2014/main" id="{2953D1EF-4725-33D2-0C74-DF88C8A13775}"/>
                </a:ext>
              </a:extLst>
            </p:cNvPr>
            <p:cNvGrpSpPr/>
            <p:nvPr/>
          </p:nvGrpSpPr>
          <p:grpSpPr>
            <a:xfrm>
              <a:off x="2462777" y="2379623"/>
              <a:ext cx="1405717" cy="3510267"/>
              <a:chOff x="2462777" y="2379623"/>
              <a:chExt cx="1405717" cy="3510267"/>
            </a:xfrm>
          </p:grpSpPr>
          <p:sp>
            <p:nvSpPr>
              <p:cNvPr id="10" name="Textfeld 9">
                <a:extLst>
                  <a:ext uri="{FF2B5EF4-FFF2-40B4-BE49-F238E27FC236}">
                    <a16:creationId xmlns:a16="http://schemas.microsoft.com/office/drawing/2014/main" id="{30BA34DC-F3E5-63D2-1936-FDB202F41517}"/>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1" name="Pfeil nach unten 91">
                <a:extLst>
                  <a:ext uri="{FF2B5EF4-FFF2-40B4-BE49-F238E27FC236}">
                    <a16:creationId xmlns:a16="http://schemas.microsoft.com/office/drawing/2014/main" id="{D7EA4D80-60B4-1EC5-D02B-E0F4DC2A03EF}"/>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nvGrpSpPr>
              <p:cNvPr id="12" name="Group 138">
                <a:extLst>
                  <a:ext uri="{FF2B5EF4-FFF2-40B4-BE49-F238E27FC236}">
                    <a16:creationId xmlns:a16="http://schemas.microsoft.com/office/drawing/2014/main" id="{37B7E980-27D8-7795-EE0D-E54514FAE301}"/>
                  </a:ext>
                </a:extLst>
              </p:cNvPr>
              <p:cNvGrpSpPr/>
              <p:nvPr/>
            </p:nvGrpSpPr>
            <p:grpSpPr>
              <a:xfrm>
                <a:off x="3158154" y="3941620"/>
                <a:ext cx="3200" cy="4053"/>
                <a:chOff x="1650415" y="1908302"/>
                <a:chExt cx="5782" cy="7322"/>
              </a:xfrm>
            </p:grpSpPr>
            <p:sp>
              <p:nvSpPr>
                <p:cNvPr id="17" name="Freeform: Shape 139">
                  <a:extLst>
                    <a:ext uri="{FF2B5EF4-FFF2-40B4-BE49-F238E27FC236}">
                      <a16:creationId xmlns:a16="http://schemas.microsoft.com/office/drawing/2014/main" id="{9593BD48-68B3-081C-AAA4-4F292DF2576B}"/>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9" name="Freeform: Shape 140">
                  <a:extLst>
                    <a:ext uri="{FF2B5EF4-FFF2-40B4-BE49-F238E27FC236}">
                      <a16:creationId xmlns:a16="http://schemas.microsoft.com/office/drawing/2014/main" id="{7F81C6EA-415C-7FB2-2B68-A41A5F5E5348}"/>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13" name="Group 138">
                <a:extLst>
                  <a:ext uri="{FF2B5EF4-FFF2-40B4-BE49-F238E27FC236}">
                    <a16:creationId xmlns:a16="http://schemas.microsoft.com/office/drawing/2014/main" id="{6F48BA1E-AE6B-D2B2-C280-A4E8B1BAD5B5}"/>
                  </a:ext>
                </a:extLst>
              </p:cNvPr>
              <p:cNvGrpSpPr/>
              <p:nvPr/>
            </p:nvGrpSpPr>
            <p:grpSpPr>
              <a:xfrm>
                <a:off x="3163895" y="5885837"/>
                <a:ext cx="3200" cy="4053"/>
                <a:chOff x="1650415" y="1908302"/>
                <a:chExt cx="5782" cy="7322"/>
              </a:xfrm>
            </p:grpSpPr>
            <p:sp>
              <p:nvSpPr>
                <p:cNvPr id="14" name="Freeform: Shape 139">
                  <a:extLst>
                    <a:ext uri="{FF2B5EF4-FFF2-40B4-BE49-F238E27FC236}">
                      <a16:creationId xmlns:a16="http://schemas.microsoft.com/office/drawing/2014/main" id="{AC67CBAD-955E-3E9A-BB16-C1A8DB85768F}"/>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5" name="Freeform: Shape 140">
                  <a:extLst>
                    <a:ext uri="{FF2B5EF4-FFF2-40B4-BE49-F238E27FC236}">
                      <a16:creationId xmlns:a16="http://schemas.microsoft.com/office/drawing/2014/main" id="{DDE38C7C-4AD2-B62B-BC98-4F370E27772D}"/>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grpSp>
      <p:grpSp>
        <p:nvGrpSpPr>
          <p:cNvPr id="26" name="Gruppieren 25">
            <a:extLst>
              <a:ext uri="{FF2B5EF4-FFF2-40B4-BE49-F238E27FC236}">
                <a16:creationId xmlns:a16="http://schemas.microsoft.com/office/drawing/2014/main" id="{42CFE0EC-B97E-78C5-0CCD-2C6D02E7B397}"/>
              </a:ext>
            </a:extLst>
          </p:cNvPr>
          <p:cNvGrpSpPr/>
          <p:nvPr/>
        </p:nvGrpSpPr>
        <p:grpSpPr>
          <a:xfrm>
            <a:off x="2778188" y="2964378"/>
            <a:ext cx="8942" cy="3777405"/>
            <a:chOff x="3158154" y="2112485"/>
            <a:chExt cx="8942" cy="3777405"/>
          </a:xfrm>
        </p:grpSpPr>
        <p:grpSp>
          <p:nvGrpSpPr>
            <p:cNvPr id="27" name="Group 138">
              <a:extLst>
                <a:ext uri="{FF2B5EF4-FFF2-40B4-BE49-F238E27FC236}">
                  <a16:creationId xmlns:a16="http://schemas.microsoft.com/office/drawing/2014/main" id="{106D06BF-B3D9-E250-14C7-19E5F482ED1E}"/>
                </a:ext>
              </a:extLst>
            </p:cNvPr>
            <p:cNvGrpSpPr/>
            <p:nvPr/>
          </p:nvGrpSpPr>
          <p:grpSpPr>
            <a:xfrm>
              <a:off x="3163896" y="2112485"/>
              <a:ext cx="3200" cy="4053"/>
              <a:chOff x="1650415" y="1908302"/>
              <a:chExt cx="5782" cy="7322"/>
            </a:xfrm>
          </p:grpSpPr>
          <p:sp>
            <p:nvSpPr>
              <p:cNvPr id="38" name="Freeform: Shape 139">
                <a:extLst>
                  <a:ext uri="{FF2B5EF4-FFF2-40B4-BE49-F238E27FC236}">
                    <a16:creationId xmlns:a16="http://schemas.microsoft.com/office/drawing/2014/main" id="{A30124FA-311A-2D10-2C8E-A994C071B01C}"/>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39" name="Freeform: Shape 140">
                <a:extLst>
                  <a:ext uri="{FF2B5EF4-FFF2-40B4-BE49-F238E27FC236}">
                    <a16:creationId xmlns:a16="http://schemas.microsoft.com/office/drawing/2014/main" id="{C930F6FC-D0B5-1192-D728-55DDDB61DC57}"/>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28" name="Gruppieren 27">
              <a:extLst>
                <a:ext uri="{FF2B5EF4-FFF2-40B4-BE49-F238E27FC236}">
                  <a16:creationId xmlns:a16="http://schemas.microsoft.com/office/drawing/2014/main" id="{E7CAC2FB-0CEA-1B16-BACE-F535EFA43E13}"/>
                </a:ext>
              </a:extLst>
            </p:cNvPr>
            <p:cNvGrpSpPr/>
            <p:nvPr/>
          </p:nvGrpSpPr>
          <p:grpSpPr>
            <a:xfrm>
              <a:off x="3158154" y="3941620"/>
              <a:ext cx="8941" cy="1948270"/>
              <a:chOff x="3158154" y="3941620"/>
              <a:chExt cx="8941" cy="1948270"/>
            </a:xfrm>
          </p:grpSpPr>
          <p:grpSp>
            <p:nvGrpSpPr>
              <p:cNvPr id="31" name="Group 138">
                <a:extLst>
                  <a:ext uri="{FF2B5EF4-FFF2-40B4-BE49-F238E27FC236}">
                    <a16:creationId xmlns:a16="http://schemas.microsoft.com/office/drawing/2014/main" id="{1A40B24F-7FFE-F971-9950-7C421B6BCE99}"/>
                  </a:ext>
                </a:extLst>
              </p:cNvPr>
              <p:cNvGrpSpPr/>
              <p:nvPr/>
            </p:nvGrpSpPr>
            <p:grpSpPr>
              <a:xfrm>
                <a:off x="3158154" y="3941620"/>
                <a:ext cx="3200" cy="4053"/>
                <a:chOff x="1650415" y="1908302"/>
                <a:chExt cx="5782" cy="7322"/>
              </a:xfrm>
            </p:grpSpPr>
            <p:sp>
              <p:nvSpPr>
                <p:cNvPr id="36" name="Freeform: Shape 139">
                  <a:extLst>
                    <a:ext uri="{FF2B5EF4-FFF2-40B4-BE49-F238E27FC236}">
                      <a16:creationId xmlns:a16="http://schemas.microsoft.com/office/drawing/2014/main" id="{9E8E80B6-4B4B-DCB4-2BB2-D5A25092B40D}"/>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37" name="Freeform: Shape 140">
                  <a:extLst>
                    <a:ext uri="{FF2B5EF4-FFF2-40B4-BE49-F238E27FC236}">
                      <a16:creationId xmlns:a16="http://schemas.microsoft.com/office/drawing/2014/main" id="{20FF09E0-0F80-1CB0-DC0D-3E1831CB1546}"/>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32" name="Group 138">
                <a:extLst>
                  <a:ext uri="{FF2B5EF4-FFF2-40B4-BE49-F238E27FC236}">
                    <a16:creationId xmlns:a16="http://schemas.microsoft.com/office/drawing/2014/main" id="{832CFC25-96A2-8A4B-3809-A8BA85759961}"/>
                  </a:ext>
                </a:extLst>
              </p:cNvPr>
              <p:cNvGrpSpPr/>
              <p:nvPr/>
            </p:nvGrpSpPr>
            <p:grpSpPr>
              <a:xfrm>
                <a:off x="3163895" y="5885837"/>
                <a:ext cx="3200" cy="4053"/>
                <a:chOff x="1650415" y="1908302"/>
                <a:chExt cx="5782" cy="7322"/>
              </a:xfrm>
            </p:grpSpPr>
            <p:sp>
              <p:nvSpPr>
                <p:cNvPr id="33" name="Freeform: Shape 139">
                  <a:extLst>
                    <a:ext uri="{FF2B5EF4-FFF2-40B4-BE49-F238E27FC236}">
                      <a16:creationId xmlns:a16="http://schemas.microsoft.com/office/drawing/2014/main" id="{3BCAB258-D8FE-7DD5-7E61-15D36E7C13BE}"/>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34" name="Freeform: Shape 140">
                  <a:extLst>
                    <a:ext uri="{FF2B5EF4-FFF2-40B4-BE49-F238E27FC236}">
                      <a16:creationId xmlns:a16="http://schemas.microsoft.com/office/drawing/2014/main" id="{C771B963-3CCB-89AA-F5AC-12D192BEA9D7}"/>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grpSp>
      <p:sp>
        <p:nvSpPr>
          <p:cNvPr id="45" name="Rechteck 44">
            <a:extLst>
              <a:ext uri="{FF2B5EF4-FFF2-40B4-BE49-F238E27FC236}">
                <a16:creationId xmlns:a16="http://schemas.microsoft.com/office/drawing/2014/main" id="{F896B50F-BCD2-94A6-353B-E23DD21C980B}"/>
              </a:ext>
            </a:extLst>
          </p:cNvPr>
          <p:cNvSpPr/>
          <p:nvPr/>
        </p:nvSpPr>
        <p:spPr>
          <a:xfrm>
            <a:off x="7916522" y="4597606"/>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lang="de-DE" sz="1400" b="1" kern="0" dirty="0">
                <a:solidFill>
                  <a:srgbClr val="000000"/>
                </a:solidFill>
                <a:latin typeface="Arial" charset="0"/>
              </a:rPr>
              <a:t>B</a:t>
            </a:r>
            <a:r>
              <a:rPr kumimoji="0" lang="de-DE" sz="1400" b="1" i="0" u="none" strike="noStrike" kern="0" cap="none" spc="0" normalizeH="0" baseline="0" noProof="0" dirty="0">
                <a:ln>
                  <a:noFill/>
                </a:ln>
                <a:solidFill>
                  <a:srgbClr val="000000"/>
                </a:solidFill>
                <a:effectLst/>
                <a:uLnTx/>
                <a:uFillTx/>
                <a:latin typeface="Arial" charset="0"/>
              </a:rPr>
              <a:t>-GmbH</a:t>
            </a:r>
          </a:p>
        </p:txBody>
      </p:sp>
      <p:sp>
        <p:nvSpPr>
          <p:cNvPr id="48" name="Pfeil nach unten 91">
            <a:extLst>
              <a:ext uri="{FF2B5EF4-FFF2-40B4-BE49-F238E27FC236}">
                <a16:creationId xmlns:a16="http://schemas.microsoft.com/office/drawing/2014/main" id="{BF5225BE-3ECB-C038-F033-63DE34501870}"/>
              </a:ext>
            </a:extLst>
          </p:cNvPr>
          <p:cNvSpPr/>
          <p:nvPr/>
        </p:nvSpPr>
        <p:spPr>
          <a:xfrm rot="17227272">
            <a:off x="5452411" y="1476703"/>
            <a:ext cx="290777" cy="4904335"/>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Tree>
    <p:extLst>
      <p:ext uri="{BB962C8B-B14F-4D97-AF65-F5344CB8AC3E}">
        <p14:creationId xmlns:p14="http://schemas.microsoft.com/office/powerpoint/2010/main" val="654040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B8022C-CCB6-8CBC-5AD4-9FBED95DB270}"/>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63B116BE-13F1-2BA6-A11A-D6DA2D26EABC}"/>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Übertrag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Rentner-GmbH”</a:t>
            </a:r>
          </a:p>
        </p:txBody>
      </p:sp>
      <p:sp>
        <p:nvSpPr>
          <p:cNvPr id="18" name="Freeform: Shape 142">
            <a:extLst>
              <a:ext uri="{FF2B5EF4-FFF2-40B4-BE49-F238E27FC236}">
                <a16:creationId xmlns:a16="http://schemas.microsoft.com/office/drawing/2014/main" id="{E64F70C1-5560-ED1D-9143-257F8095C35D}"/>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0FCE718C-A2B4-6A01-692B-9E74F976DCC8}"/>
              </a:ext>
            </a:extLst>
          </p:cNvPr>
          <p:cNvSpPr txBox="1"/>
          <p:nvPr/>
        </p:nvSpPr>
        <p:spPr>
          <a:xfrm>
            <a:off x="1487314" y="2228840"/>
            <a:ext cx="8647285"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endParaRPr lang="de-DE" sz="1400" dirty="0">
              <a:latin typeface="Segoe UI" panose="020B0502040204020203" pitchFamily="34" charset="0"/>
              <a:cs typeface="Segoe UI" panose="020B0502040204020203" pitchFamily="34" charset="0"/>
            </a:endParaRPr>
          </a:p>
        </p:txBody>
      </p:sp>
      <p:sp>
        <p:nvSpPr>
          <p:cNvPr id="8" name="Plus Sign 6">
            <a:extLst>
              <a:ext uri="{FF2B5EF4-FFF2-40B4-BE49-F238E27FC236}">
                <a16:creationId xmlns:a16="http://schemas.microsoft.com/office/drawing/2014/main" id="{C5AE6FEC-48CD-99ED-DDC5-F140B50C292A}"/>
              </a:ext>
            </a:extLst>
          </p:cNvPr>
          <p:cNvSpPr/>
          <p:nvPr/>
        </p:nvSpPr>
        <p:spPr bwMode="auto">
          <a:xfrm>
            <a:off x="1096689" y="4447839"/>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 name="Rechteck 1">
            <a:extLst>
              <a:ext uri="{FF2B5EF4-FFF2-40B4-BE49-F238E27FC236}">
                <a16:creationId xmlns:a16="http://schemas.microsoft.com/office/drawing/2014/main" id="{9F1D9D31-D03A-2D09-27E7-D146C3B4E574}"/>
              </a:ext>
            </a:extLst>
          </p:cNvPr>
          <p:cNvSpPr/>
          <p:nvPr/>
        </p:nvSpPr>
        <p:spPr>
          <a:xfrm>
            <a:off x="2239845" y="4597606"/>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3" name="Textplatzhalter 1">
            <a:extLst>
              <a:ext uri="{FF2B5EF4-FFF2-40B4-BE49-F238E27FC236}">
                <a16:creationId xmlns:a16="http://schemas.microsoft.com/office/drawing/2014/main" id="{A2376848-3EB5-B4B2-FD1B-12A3A9A3E8E3}"/>
              </a:ext>
            </a:extLst>
          </p:cNvPr>
          <p:cNvSpPr txBox="1">
            <a:spLocks/>
          </p:cNvSpPr>
          <p:nvPr/>
        </p:nvSpPr>
        <p:spPr>
          <a:xfrm>
            <a:off x="555070" y="4676103"/>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4" name="Textplatzhalter 1">
            <a:extLst>
              <a:ext uri="{FF2B5EF4-FFF2-40B4-BE49-F238E27FC236}">
                <a16:creationId xmlns:a16="http://schemas.microsoft.com/office/drawing/2014/main" id="{A0F930FB-A818-73F5-BEDA-8A7E0A50C7A2}"/>
              </a:ext>
            </a:extLst>
          </p:cNvPr>
          <p:cNvSpPr txBox="1">
            <a:spLocks/>
          </p:cNvSpPr>
          <p:nvPr/>
        </p:nvSpPr>
        <p:spPr>
          <a:xfrm>
            <a:off x="555070" y="2759052"/>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5" name="Gruppieren 4">
            <a:extLst>
              <a:ext uri="{FF2B5EF4-FFF2-40B4-BE49-F238E27FC236}">
                <a16:creationId xmlns:a16="http://schemas.microsoft.com/office/drawing/2014/main" id="{0D8D2DF3-CED1-EBD1-94B3-76CFA23F57C6}"/>
              </a:ext>
            </a:extLst>
          </p:cNvPr>
          <p:cNvGrpSpPr/>
          <p:nvPr/>
        </p:nvGrpSpPr>
        <p:grpSpPr>
          <a:xfrm>
            <a:off x="2235211" y="2908777"/>
            <a:ext cx="1405717" cy="3985406"/>
            <a:chOff x="2462777" y="1904484"/>
            <a:chExt cx="1405717" cy="3985406"/>
          </a:xfrm>
        </p:grpSpPr>
        <p:grpSp>
          <p:nvGrpSpPr>
            <p:cNvPr id="7" name="Group 138">
              <a:extLst>
                <a:ext uri="{FF2B5EF4-FFF2-40B4-BE49-F238E27FC236}">
                  <a16:creationId xmlns:a16="http://schemas.microsoft.com/office/drawing/2014/main" id="{21791922-9E4F-C02F-0D36-85B9A4D1737B}"/>
                </a:ext>
              </a:extLst>
            </p:cNvPr>
            <p:cNvGrpSpPr/>
            <p:nvPr/>
          </p:nvGrpSpPr>
          <p:grpSpPr>
            <a:xfrm>
              <a:off x="2934725" y="1904484"/>
              <a:ext cx="461820" cy="461820"/>
              <a:chOff x="1236144" y="1532568"/>
              <a:chExt cx="834324" cy="834324"/>
            </a:xfrm>
          </p:grpSpPr>
          <p:sp>
            <p:nvSpPr>
              <p:cNvPr id="20" name="Freeform: Shape 139">
                <a:extLst>
                  <a:ext uri="{FF2B5EF4-FFF2-40B4-BE49-F238E27FC236}">
                    <a16:creationId xmlns:a16="http://schemas.microsoft.com/office/drawing/2014/main" id="{C1A852E2-874E-44D8-C534-B55DD36AE4D3}"/>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1" name="Freeform: Shape 140">
                <a:extLst>
                  <a:ext uri="{FF2B5EF4-FFF2-40B4-BE49-F238E27FC236}">
                    <a16:creationId xmlns:a16="http://schemas.microsoft.com/office/drawing/2014/main" id="{C3D9323A-8CAB-8974-F76C-667A1FA46859}"/>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2" name="Oval 157">
                <a:extLst>
                  <a:ext uri="{FF2B5EF4-FFF2-40B4-BE49-F238E27FC236}">
                    <a16:creationId xmlns:a16="http://schemas.microsoft.com/office/drawing/2014/main" id="{AE9AE58B-1D6D-5C5C-8658-0E696C96843B}"/>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23" name="Freeform: Shape 142">
                <a:extLst>
                  <a:ext uri="{FF2B5EF4-FFF2-40B4-BE49-F238E27FC236}">
                    <a16:creationId xmlns:a16="http://schemas.microsoft.com/office/drawing/2014/main" id="{0A1A7AF1-F4A4-DFF7-96C6-47D1FCDE7015}"/>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9" name="Gruppieren 8">
              <a:extLst>
                <a:ext uri="{FF2B5EF4-FFF2-40B4-BE49-F238E27FC236}">
                  <a16:creationId xmlns:a16="http://schemas.microsoft.com/office/drawing/2014/main" id="{DB017452-3009-C4CC-4572-F4FDE7EC1C73}"/>
                </a:ext>
              </a:extLst>
            </p:cNvPr>
            <p:cNvGrpSpPr/>
            <p:nvPr/>
          </p:nvGrpSpPr>
          <p:grpSpPr>
            <a:xfrm>
              <a:off x="2462777" y="2379623"/>
              <a:ext cx="1405717" cy="3510267"/>
              <a:chOff x="2462777" y="2379623"/>
              <a:chExt cx="1405717" cy="3510267"/>
            </a:xfrm>
          </p:grpSpPr>
          <p:sp>
            <p:nvSpPr>
              <p:cNvPr id="10" name="Textfeld 9">
                <a:extLst>
                  <a:ext uri="{FF2B5EF4-FFF2-40B4-BE49-F238E27FC236}">
                    <a16:creationId xmlns:a16="http://schemas.microsoft.com/office/drawing/2014/main" id="{CE84BF7F-EE91-8117-350C-394E29E2DC5E}"/>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1" name="Pfeil nach unten 91">
                <a:extLst>
                  <a:ext uri="{FF2B5EF4-FFF2-40B4-BE49-F238E27FC236}">
                    <a16:creationId xmlns:a16="http://schemas.microsoft.com/office/drawing/2014/main" id="{AB9C14BD-3FA1-EAEC-6D20-CFA5E335F675}"/>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nvGrpSpPr>
              <p:cNvPr id="12" name="Group 138">
                <a:extLst>
                  <a:ext uri="{FF2B5EF4-FFF2-40B4-BE49-F238E27FC236}">
                    <a16:creationId xmlns:a16="http://schemas.microsoft.com/office/drawing/2014/main" id="{2E63B6CD-1250-3B33-84B5-63A3C6D82DA1}"/>
                  </a:ext>
                </a:extLst>
              </p:cNvPr>
              <p:cNvGrpSpPr/>
              <p:nvPr/>
            </p:nvGrpSpPr>
            <p:grpSpPr>
              <a:xfrm>
                <a:off x="3158154" y="3941620"/>
                <a:ext cx="3200" cy="4053"/>
                <a:chOff x="1650415" y="1908302"/>
                <a:chExt cx="5782" cy="7322"/>
              </a:xfrm>
            </p:grpSpPr>
            <p:sp>
              <p:nvSpPr>
                <p:cNvPr id="17" name="Freeform: Shape 139">
                  <a:extLst>
                    <a:ext uri="{FF2B5EF4-FFF2-40B4-BE49-F238E27FC236}">
                      <a16:creationId xmlns:a16="http://schemas.microsoft.com/office/drawing/2014/main" id="{0FF5AE9A-2FE8-C520-4E73-DFDDF8436537}"/>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9" name="Freeform: Shape 140">
                  <a:extLst>
                    <a:ext uri="{FF2B5EF4-FFF2-40B4-BE49-F238E27FC236}">
                      <a16:creationId xmlns:a16="http://schemas.microsoft.com/office/drawing/2014/main" id="{BAA2F0ED-40B7-CB79-7578-D6B6B0372E1A}"/>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sp>
            <p:nvSpPr>
              <p:cNvPr id="14" name="Freeform: Shape 139">
                <a:extLst>
                  <a:ext uri="{FF2B5EF4-FFF2-40B4-BE49-F238E27FC236}">
                    <a16:creationId xmlns:a16="http://schemas.microsoft.com/office/drawing/2014/main" id="{7D779DA1-87EB-756A-482F-E3A7E905E656}"/>
                  </a:ext>
                </a:extLst>
              </p:cNvPr>
              <p:cNvSpPr/>
              <p:nvPr/>
            </p:nvSpPr>
            <p:spPr bwMode="auto">
              <a:xfrm>
                <a:off x="3163895" y="5885837"/>
                <a:ext cx="3200" cy="4053"/>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grpSp>
        <p:nvGrpSpPr>
          <p:cNvPr id="26" name="Gruppieren 25">
            <a:extLst>
              <a:ext uri="{FF2B5EF4-FFF2-40B4-BE49-F238E27FC236}">
                <a16:creationId xmlns:a16="http://schemas.microsoft.com/office/drawing/2014/main" id="{1E30783E-D294-0D14-E156-E05834E314EC}"/>
              </a:ext>
            </a:extLst>
          </p:cNvPr>
          <p:cNvGrpSpPr/>
          <p:nvPr/>
        </p:nvGrpSpPr>
        <p:grpSpPr>
          <a:xfrm>
            <a:off x="2778188" y="2964378"/>
            <a:ext cx="8942" cy="3777405"/>
            <a:chOff x="3158154" y="2112485"/>
            <a:chExt cx="8942" cy="3777405"/>
          </a:xfrm>
        </p:grpSpPr>
        <p:grpSp>
          <p:nvGrpSpPr>
            <p:cNvPr id="27" name="Group 138">
              <a:extLst>
                <a:ext uri="{FF2B5EF4-FFF2-40B4-BE49-F238E27FC236}">
                  <a16:creationId xmlns:a16="http://schemas.microsoft.com/office/drawing/2014/main" id="{356694B4-9D97-7FD6-51D4-CAA8914347C8}"/>
                </a:ext>
              </a:extLst>
            </p:cNvPr>
            <p:cNvGrpSpPr/>
            <p:nvPr/>
          </p:nvGrpSpPr>
          <p:grpSpPr>
            <a:xfrm>
              <a:off x="3163896" y="2112485"/>
              <a:ext cx="3200" cy="4053"/>
              <a:chOff x="1650415" y="1908302"/>
              <a:chExt cx="5782" cy="7322"/>
            </a:xfrm>
          </p:grpSpPr>
          <p:sp>
            <p:nvSpPr>
              <p:cNvPr id="38" name="Freeform: Shape 139">
                <a:extLst>
                  <a:ext uri="{FF2B5EF4-FFF2-40B4-BE49-F238E27FC236}">
                    <a16:creationId xmlns:a16="http://schemas.microsoft.com/office/drawing/2014/main" id="{41A116D2-91E3-4070-D5D4-50320E6B72AE}"/>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39" name="Freeform: Shape 140">
                <a:extLst>
                  <a:ext uri="{FF2B5EF4-FFF2-40B4-BE49-F238E27FC236}">
                    <a16:creationId xmlns:a16="http://schemas.microsoft.com/office/drawing/2014/main" id="{494199EB-7B1B-09ED-8ACE-06EC0FAE3062}"/>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28" name="Gruppieren 27">
              <a:extLst>
                <a:ext uri="{FF2B5EF4-FFF2-40B4-BE49-F238E27FC236}">
                  <a16:creationId xmlns:a16="http://schemas.microsoft.com/office/drawing/2014/main" id="{0EA419C8-38CA-0DF9-20C2-247B813223CC}"/>
                </a:ext>
              </a:extLst>
            </p:cNvPr>
            <p:cNvGrpSpPr/>
            <p:nvPr/>
          </p:nvGrpSpPr>
          <p:grpSpPr>
            <a:xfrm>
              <a:off x="3158154" y="3941620"/>
              <a:ext cx="8941" cy="1948270"/>
              <a:chOff x="3158154" y="3941620"/>
              <a:chExt cx="8941" cy="1948270"/>
            </a:xfrm>
          </p:grpSpPr>
          <p:grpSp>
            <p:nvGrpSpPr>
              <p:cNvPr id="31" name="Group 138">
                <a:extLst>
                  <a:ext uri="{FF2B5EF4-FFF2-40B4-BE49-F238E27FC236}">
                    <a16:creationId xmlns:a16="http://schemas.microsoft.com/office/drawing/2014/main" id="{7120AA35-B484-ED07-1722-217CC04D007A}"/>
                  </a:ext>
                </a:extLst>
              </p:cNvPr>
              <p:cNvGrpSpPr/>
              <p:nvPr/>
            </p:nvGrpSpPr>
            <p:grpSpPr>
              <a:xfrm>
                <a:off x="3158154" y="3941620"/>
                <a:ext cx="3200" cy="4053"/>
                <a:chOff x="1650415" y="1908302"/>
                <a:chExt cx="5782" cy="7322"/>
              </a:xfrm>
            </p:grpSpPr>
            <p:sp>
              <p:nvSpPr>
                <p:cNvPr id="36" name="Freeform: Shape 139">
                  <a:extLst>
                    <a:ext uri="{FF2B5EF4-FFF2-40B4-BE49-F238E27FC236}">
                      <a16:creationId xmlns:a16="http://schemas.microsoft.com/office/drawing/2014/main" id="{C3571939-8860-E673-341A-019949F136FC}"/>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37" name="Freeform: Shape 140">
                  <a:extLst>
                    <a:ext uri="{FF2B5EF4-FFF2-40B4-BE49-F238E27FC236}">
                      <a16:creationId xmlns:a16="http://schemas.microsoft.com/office/drawing/2014/main" id="{4EECED17-A25A-F7C9-79FE-2A4DD8D12B34}"/>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sp>
            <p:nvSpPr>
              <p:cNvPr id="33" name="Freeform: Shape 139">
                <a:extLst>
                  <a:ext uri="{FF2B5EF4-FFF2-40B4-BE49-F238E27FC236}">
                    <a16:creationId xmlns:a16="http://schemas.microsoft.com/office/drawing/2014/main" id="{856C1C08-F413-BAA9-A37B-C1323800AD21}"/>
                  </a:ext>
                </a:extLst>
              </p:cNvPr>
              <p:cNvSpPr/>
              <p:nvPr/>
            </p:nvSpPr>
            <p:spPr bwMode="auto">
              <a:xfrm>
                <a:off x="3163895" y="5885837"/>
                <a:ext cx="3200" cy="4053"/>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sp>
        <p:nvSpPr>
          <p:cNvPr id="42" name="Ellipse 41">
            <a:extLst>
              <a:ext uri="{FF2B5EF4-FFF2-40B4-BE49-F238E27FC236}">
                <a16:creationId xmlns:a16="http://schemas.microsoft.com/office/drawing/2014/main" id="{371B0265-D706-AE56-286D-74E9AF33AAB9}"/>
              </a:ext>
            </a:extLst>
          </p:cNvPr>
          <p:cNvSpPr/>
          <p:nvPr/>
        </p:nvSpPr>
        <p:spPr>
          <a:xfrm>
            <a:off x="3869328" y="5285803"/>
            <a:ext cx="4212718" cy="791034"/>
          </a:xfrm>
          <a:prstGeom prst="ellipse">
            <a:avLst/>
          </a:prstGeom>
          <a:solidFill>
            <a:srgbClr val="FBBA00"/>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Übertragung </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Pensionsverpflichtung </a:t>
            </a:r>
            <a:endParaRPr kumimoji="0" lang="de-DE" sz="1400" b="0" i="0" u="none" strike="noStrike" kern="0" cap="none" spc="0" normalizeH="0" baseline="0" noProof="0" dirty="0">
              <a:ln>
                <a:noFill/>
              </a:ln>
              <a:solidFill>
                <a:srgbClr val="000000"/>
              </a:solidFill>
              <a:effectLst/>
              <a:uLnTx/>
              <a:uFillTx/>
              <a:latin typeface="Arial" charset="0"/>
            </a:endParaRPr>
          </a:p>
        </p:txBody>
      </p:sp>
      <p:sp>
        <p:nvSpPr>
          <p:cNvPr id="45" name="Rechteck 44">
            <a:extLst>
              <a:ext uri="{FF2B5EF4-FFF2-40B4-BE49-F238E27FC236}">
                <a16:creationId xmlns:a16="http://schemas.microsoft.com/office/drawing/2014/main" id="{0D34656E-1BD7-D418-98CC-1A497AAAD6C3}"/>
              </a:ext>
            </a:extLst>
          </p:cNvPr>
          <p:cNvSpPr/>
          <p:nvPr/>
        </p:nvSpPr>
        <p:spPr>
          <a:xfrm>
            <a:off x="7916522" y="4597606"/>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lang="de-DE" sz="1400" b="1" kern="0" dirty="0">
                <a:solidFill>
                  <a:srgbClr val="000000"/>
                </a:solidFill>
                <a:latin typeface="Arial" charset="0"/>
              </a:rPr>
              <a:t>B</a:t>
            </a:r>
            <a:r>
              <a:rPr kumimoji="0" lang="de-DE" sz="1400" b="1" i="0" u="none" strike="noStrike" kern="0" cap="none" spc="0" normalizeH="0" baseline="0" noProof="0" dirty="0">
                <a:ln>
                  <a:noFill/>
                </a:ln>
                <a:solidFill>
                  <a:srgbClr val="000000"/>
                </a:solidFill>
                <a:effectLst/>
                <a:uLnTx/>
                <a:uFillTx/>
                <a:latin typeface="Arial" charset="0"/>
              </a:rPr>
              <a:t>-GmbH</a:t>
            </a:r>
          </a:p>
        </p:txBody>
      </p:sp>
      <p:sp>
        <p:nvSpPr>
          <p:cNvPr id="44" name="Nach oben gekrümmter Pfeil 26">
            <a:extLst>
              <a:ext uri="{FF2B5EF4-FFF2-40B4-BE49-F238E27FC236}">
                <a16:creationId xmlns:a16="http://schemas.microsoft.com/office/drawing/2014/main" id="{D18D6FF7-6DFE-4244-7517-39B81F93E695}"/>
              </a:ext>
            </a:extLst>
          </p:cNvPr>
          <p:cNvSpPr/>
          <p:nvPr/>
        </p:nvSpPr>
        <p:spPr>
          <a:xfrm>
            <a:off x="3038016" y="5120329"/>
            <a:ext cx="6115968" cy="1121982"/>
          </a:xfrm>
          <a:prstGeom prst="curvedUp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48" name="Pfeil nach unten 91">
            <a:extLst>
              <a:ext uri="{FF2B5EF4-FFF2-40B4-BE49-F238E27FC236}">
                <a16:creationId xmlns:a16="http://schemas.microsoft.com/office/drawing/2014/main" id="{E40DF2DC-DFE5-60FF-D43B-C0254AF59792}"/>
              </a:ext>
            </a:extLst>
          </p:cNvPr>
          <p:cNvSpPr/>
          <p:nvPr/>
        </p:nvSpPr>
        <p:spPr>
          <a:xfrm rot="17227272">
            <a:off x="5452411" y="1476703"/>
            <a:ext cx="290777" cy="4904335"/>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49" name="Oval 551">
            <a:extLst>
              <a:ext uri="{FF2B5EF4-FFF2-40B4-BE49-F238E27FC236}">
                <a16:creationId xmlns:a16="http://schemas.microsoft.com/office/drawing/2014/main" id="{7522D2B1-69BF-0970-0147-B043F8C5C1B9}"/>
              </a:ext>
            </a:extLst>
          </p:cNvPr>
          <p:cNvSpPr/>
          <p:nvPr/>
        </p:nvSpPr>
        <p:spPr>
          <a:xfrm>
            <a:off x="5937334" y="6281313"/>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50" name="Graphic 315">
            <a:extLst>
              <a:ext uri="{FF2B5EF4-FFF2-40B4-BE49-F238E27FC236}">
                <a16:creationId xmlns:a16="http://schemas.microsoft.com/office/drawing/2014/main" id="{E71E274F-09D4-6109-CF43-C3201A0236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60632" y="6364551"/>
            <a:ext cx="208971" cy="291688"/>
          </a:xfrm>
          <a:prstGeom prst="rect">
            <a:avLst/>
          </a:prstGeom>
          <a:solidFill>
            <a:srgbClr val="FBBA00"/>
          </a:solidFill>
        </p:spPr>
      </p:pic>
      <p:sp>
        <p:nvSpPr>
          <p:cNvPr id="51" name="7 CuadroTexto">
            <a:extLst>
              <a:ext uri="{FF2B5EF4-FFF2-40B4-BE49-F238E27FC236}">
                <a16:creationId xmlns:a16="http://schemas.microsoft.com/office/drawing/2014/main" id="{07C0BC86-7C6E-1D69-1344-6635820FB03D}"/>
              </a:ext>
            </a:extLst>
          </p:cNvPr>
          <p:cNvSpPr txBox="1"/>
          <p:nvPr/>
        </p:nvSpPr>
        <p:spPr>
          <a:xfrm>
            <a:off x="6326226" y="6308881"/>
            <a:ext cx="8647285" cy="375359"/>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T€ 400 </a:t>
            </a:r>
            <a:endParaRPr lang="de-DE"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205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Bildplatzhalter 23"/>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a:stretch>
            <a:fillRect/>
          </a:stretch>
        </p:blipFill>
        <p:spPr/>
      </p:pic>
      <p:grpSp>
        <p:nvGrpSpPr>
          <p:cNvPr id="10" name="Gruppieren 9"/>
          <p:cNvGrpSpPr/>
          <p:nvPr/>
        </p:nvGrpSpPr>
        <p:grpSpPr>
          <a:xfrm>
            <a:off x="5312117" y="357483"/>
            <a:ext cx="2117190" cy="2117190"/>
            <a:chOff x="5506621" y="2081657"/>
            <a:chExt cx="1570181" cy="1570181"/>
          </a:xfrm>
          <a:solidFill>
            <a:srgbClr val="005977"/>
          </a:solidFill>
        </p:grpSpPr>
        <p:sp>
          <p:nvSpPr>
            <p:cNvPr id="5" name="Ellipse 4"/>
            <p:cNvSpPr/>
            <p:nvPr/>
          </p:nvSpPr>
          <p:spPr>
            <a:xfrm>
              <a:off x="5506621" y="2081657"/>
              <a:ext cx="1570181" cy="15701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dirty="0">
                <a:latin typeface="Segoe UI" panose="020B0502040204020203" pitchFamily="34" charset="0"/>
                <a:ea typeface="Segoe UI Black" panose="020B0A02040204020203" pitchFamily="34" charset="0"/>
                <a:cs typeface="Segoe UI" panose="020B0502040204020203" pitchFamily="34" charset="0"/>
              </a:endParaRPr>
            </a:p>
          </p:txBody>
        </p:sp>
        <p:sp>
          <p:nvSpPr>
            <p:cNvPr id="9" name="Textfeld 8"/>
            <p:cNvSpPr txBox="1"/>
            <p:nvPr/>
          </p:nvSpPr>
          <p:spPr>
            <a:xfrm>
              <a:off x="5578339" y="2725023"/>
              <a:ext cx="1431637" cy="273909"/>
            </a:xfrm>
            <a:prstGeom prst="rect">
              <a:avLst/>
            </a:prstGeom>
            <a:noFill/>
          </p:spPr>
          <p:txBody>
            <a:bodyPr wrap="square" rtlCol="0">
              <a:spAutoFit/>
            </a:bodyPr>
            <a:lstStyle/>
            <a:p>
              <a:pPr algn="ctr"/>
              <a:r>
                <a:rPr lang="de-DE" b="1" dirty="0">
                  <a:solidFill>
                    <a:schemeClr val="bg1"/>
                  </a:solidFill>
                  <a:latin typeface="Segoe UI" panose="020B0502040204020203" pitchFamily="34" charset="0"/>
                  <a:cs typeface="Segoe UI" panose="020B0502040204020203" pitchFamily="34" charset="0"/>
                </a:rPr>
                <a:t>Steuerberatung</a:t>
              </a:r>
            </a:p>
          </p:txBody>
        </p:sp>
      </p:grpSp>
      <p:grpSp>
        <p:nvGrpSpPr>
          <p:cNvPr id="11" name="Gruppieren 10"/>
          <p:cNvGrpSpPr/>
          <p:nvPr/>
        </p:nvGrpSpPr>
        <p:grpSpPr>
          <a:xfrm>
            <a:off x="8050940" y="377249"/>
            <a:ext cx="2116801" cy="2116800"/>
            <a:chOff x="5620460" y="2096297"/>
            <a:chExt cx="1570181" cy="1570181"/>
          </a:xfrm>
        </p:grpSpPr>
        <p:sp>
          <p:nvSpPr>
            <p:cNvPr id="12" name="Ellipse 11"/>
            <p:cNvSpPr/>
            <p:nvPr/>
          </p:nvSpPr>
          <p:spPr>
            <a:xfrm>
              <a:off x="5620460" y="2096297"/>
              <a:ext cx="1570181" cy="1570181"/>
            </a:xfrm>
            <a:prstGeom prst="ellipse">
              <a:avLst/>
            </a:prstGeom>
            <a:solidFill>
              <a:srgbClr val="005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dirty="0">
                <a:latin typeface="Segoe UI" panose="020B0502040204020203" pitchFamily="34" charset="0"/>
                <a:ea typeface="Segoe UI Black" panose="020B0A02040204020203" pitchFamily="34" charset="0"/>
                <a:cs typeface="Segoe UI" panose="020B0502040204020203" pitchFamily="34" charset="0"/>
              </a:endParaRPr>
            </a:p>
          </p:txBody>
        </p:sp>
        <p:sp>
          <p:nvSpPr>
            <p:cNvPr id="13" name="Textfeld 12"/>
            <p:cNvSpPr txBox="1"/>
            <p:nvPr/>
          </p:nvSpPr>
          <p:spPr>
            <a:xfrm>
              <a:off x="5685671" y="2646736"/>
              <a:ext cx="1431636" cy="479430"/>
            </a:xfrm>
            <a:prstGeom prst="rect">
              <a:avLst/>
            </a:prstGeom>
            <a:noFill/>
          </p:spPr>
          <p:txBody>
            <a:bodyPr wrap="square" rtlCol="0">
              <a:spAutoFit/>
            </a:bodyPr>
            <a:lstStyle/>
            <a:p>
              <a:pPr algn="ctr"/>
              <a:r>
                <a:rPr lang="de-DE" b="1" dirty="0">
                  <a:solidFill>
                    <a:schemeClr val="bg1"/>
                  </a:solidFill>
                  <a:latin typeface="Segoe UI" panose="020B0502040204020203" pitchFamily="34" charset="0"/>
                  <a:cs typeface="Segoe UI" panose="020B0502040204020203" pitchFamily="34" charset="0"/>
                </a:rPr>
                <a:t>Wirtschafts-prüfung</a:t>
              </a:r>
            </a:p>
          </p:txBody>
        </p:sp>
      </p:grpSp>
      <p:grpSp>
        <p:nvGrpSpPr>
          <p:cNvPr id="14" name="Gruppieren 13"/>
          <p:cNvGrpSpPr/>
          <p:nvPr/>
        </p:nvGrpSpPr>
        <p:grpSpPr>
          <a:xfrm>
            <a:off x="5326573" y="2853994"/>
            <a:ext cx="2116800" cy="2116800"/>
            <a:chOff x="6336146" y="2200563"/>
            <a:chExt cx="1570181" cy="1570181"/>
          </a:xfrm>
        </p:grpSpPr>
        <p:sp>
          <p:nvSpPr>
            <p:cNvPr id="15" name="Ellipse 14"/>
            <p:cNvSpPr/>
            <p:nvPr/>
          </p:nvSpPr>
          <p:spPr>
            <a:xfrm>
              <a:off x="6336146" y="2200563"/>
              <a:ext cx="1570181" cy="1570181"/>
            </a:xfrm>
            <a:prstGeom prst="ellipse">
              <a:avLst/>
            </a:prstGeom>
            <a:solidFill>
              <a:srgbClr val="005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dirty="0">
                <a:latin typeface="Segoe UI" panose="020B0502040204020203" pitchFamily="34" charset="0"/>
                <a:ea typeface="Segoe UI Black" panose="020B0A02040204020203" pitchFamily="34" charset="0"/>
                <a:cs typeface="Segoe UI" panose="020B0502040204020203" pitchFamily="34" charset="0"/>
              </a:endParaRPr>
            </a:p>
          </p:txBody>
        </p:sp>
        <p:sp>
          <p:nvSpPr>
            <p:cNvPr id="16" name="Textfeld 15"/>
            <p:cNvSpPr txBox="1"/>
            <p:nvPr/>
          </p:nvSpPr>
          <p:spPr>
            <a:xfrm>
              <a:off x="6405418" y="2832770"/>
              <a:ext cx="1431637" cy="273960"/>
            </a:xfrm>
            <a:prstGeom prst="rect">
              <a:avLst/>
            </a:prstGeom>
            <a:noFill/>
          </p:spPr>
          <p:txBody>
            <a:bodyPr wrap="square" rtlCol="0">
              <a:spAutoFit/>
            </a:bodyPr>
            <a:lstStyle/>
            <a:p>
              <a:pPr algn="ctr"/>
              <a:r>
                <a:rPr lang="de-DE" b="1" dirty="0">
                  <a:solidFill>
                    <a:schemeClr val="bg1"/>
                  </a:solidFill>
                  <a:latin typeface="Segoe UI" panose="020B0502040204020203" pitchFamily="34" charset="0"/>
                  <a:cs typeface="Segoe UI" panose="020B0502040204020203" pitchFamily="34" charset="0"/>
                </a:rPr>
                <a:t>Consulting</a:t>
              </a:r>
            </a:p>
          </p:txBody>
        </p:sp>
      </p:grpSp>
      <p:grpSp>
        <p:nvGrpSpPr>
          <p:cNvPr id="20" name="Gruppieren 19"/>
          <p:cNvGrpSpPr/>
          <p:nvPr/>
        </p:nvGrpSpPr>
        <p:grpSpPr>
          <a:xfrm>
            <a:off x="9699491" y="2351824"/>
            <a:ext cx="2119722" cy="2116800"/>
            <a:chOff x="6324726" y="2200563"/>
            <a:chExt cx="1581601" cy="1570181"/>
          </a:xfrm>
        </p:grpSpPr>
        <p:sp>
          <p:nvSpPr>
            <p:cNvPr id="21" name="Ellipse 20"/>
            <p:cNvSpPr/>
            <p:nvPr/>
          </p:nvSpPr>
          <p:spPr>
            <a:xfrm>
              <a:off x="6336146" y="2200563"/>
              <a:ext cx="1570181" cy="1570181"/>
            </a:xfrm>
            <a:prstGeom prst="ellipse">
              <a:avLst/>
            </a:prstGeom>
            <a:solidFill>
              <a:srgbClr val="005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dirty="0">
                <a:latin typeface="Segoe UI" panose="020B0502040204020203" pitchFamily="34" charset="0"/>
                <a:ea typeface="Segoe UI Black" panose="020B0A02040204020203" pitchFamily="34" charset="0"/>
                <a:cs typeface="Segoe UI" panose="020B0502040204020203" pitchFamily="34" charset="0"/>
              </a:endParaRPr>
            </a:p>
          </p:txBody>
        </p:sp>
        <p:sp>
          <p:nvSpPr>
            <p:cNvPr id="22" name="Textfeld 21"/>
            <p:cNvSpPr txBox="1"/>
            <p:nvPr/>
          </p:nvSpPr>
          <p:spPr>
            <a:xfrm>
              <a:off x="6324726" y="2848529"/>
              <a:ext cx="1579421" cy="273960"/>
            </a:xfrm>
            <a:prstGeom prst="rect">
              <a:avLst/>
            </a:prstGeom>
            <a:noFill/>
          </p:spPr>
          <p:txBody>
            <a:bodyPr wrap="square" rtlCol="0">
              <a:spAutoFit/>
            </a:bodyPr>
            <a:lstStyle/>
            <a:p>
              <a:pPr algn="ctr"/>
              <a:r>
                <a:rPr lang="de-DE" b="1" dirty="0">
                  <a:solidFill>
                    <a:schemeClr val="bg1"/>
                  </a:solidFill>
                  <a:latin typeface="Segoe UI" panose="020B0502040204020203" pitchFamily="34" charset="0"/>
                  <a:cs typeface="Segoe UI" panose="020B0502040204020203" pitchFamily="34" charset="0"/>
                </a:rPr>
                <a:t>Rechtsberatung</a:t>
              </a:r>
            </a:p>
          </p:txBody>
        </p:sp>
      </p:grpSp>
      <p:sp>
        <p:nvSpPr>
          <p:cNvPr id="17" name="Textfeld 16"/>
          <p:cNvSpPr txBox="1"/>
          <p:nvPr/>
        </p:nvSpPr>
        <p:spPr>
          <a:xfrm>
            <a:off x="6317283" y="6303390"/>
            <a:ext cx="5421745" cy="338554"/>
          </a:xfrm>
          <a:prstGeom prst="rect">
            <a:avLst/>
          </a:prstGeom>
          <a:noFill/>
        </p:spPr>
        <p:txBody>
          <a:bodyPr wrap="square" rtlCol="0">
            <a:spAutoFit/>
          </a:bodyPr>
          <a:lstStyle/>
          <a:p>
            <a:pPr algn="r"/>
            <a:r>
              <a:rPr lang="de-DE" sz="1600" b="1" dirty="0">
                <a:solidFill>
                  <a:srgbClr val="005977"/>
                </a:solidFill>
                <a:latin typeface="Segoe UI Black" panose="020B0A02040204020203" pitchFamily="34" charset="0"/>
                <a:ea typeface="Segoe UI Black" panose="020B0A02040204020203" pitchFamily="34" charset="0"/>
                <a:cs typeface="Segoe UI Black" panose="020B0A02040204020203" pitchFamily="34" charset="0"/>
              </a:rPr>
              <a:t>#DDP</a:t>
            </a:r>
          </a:p>
        </p:txBody>
      </p:sp>
      <p:grpSp>
        <p:nvGrpSpPr>
          <p:cNvPr id="18" name="Gruppieren 17"/>
          <p:cNvGrpSpPr/>
          <p:nvPr/>
        </p:nvGrpSpPr>
        <p:grpSpPr>
          <a:xfrm>
            <a:off x="5312117" y="370020"/>
            <a:ext cx="2117190" cy="2117190"/>
            <a:chOff x="3688269" y="2080172"/>
            <a:chExt cx="1570181" cy="1570181"/>
          </a:xfrm>
          <a:solidFill>
            <a:srgbClr val="005977"/>
          </a:solidFill>
        </p:grpSpPr>
        <p:sp>
          <p:nvSpPr>
            <p:cNvPr id="19" name="Ellipse 18"/>
            <p:cNvSpPr/>
            <p:nvPr/>
          </p:nvSpPr>
          <p:spPr>
            <a:xfrm>
              <a:off x="3688269" y="2080172"/>
              <a:ext cx="1570181" cy="15701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dirty="0">
                <a:latin typeface="Segoe UI" panose="020B0502040204020203" pitchFamily="34" charset="0"/>
                <a:ea typeface="Segoe UI Black" panose="020B0A02040204020203" pitchFamily="34" charset="0"/>
                <a:cs typeface="Segoe UI" panose="020B0502040204020203" pitchFamily="34" charset="0"/>
              </a:endParaRPr>
            </a:p>
          </p:txBody>
        </p:sp>
        <p:sp>
          <p:nvSpPr>
            <p:cNvPr id="23" name="Textfeld 22"/>
            <p:cNvSpPr txBox="1"/>
            <p:nvPr/>
          </p:nvSpPr>
          <p:spPr>
            <a:xfrm>
              <a:off x="3768249" y="2611523"/>
              <a:ext cx="1431637" cy="479341"/>
            </a:xfrm>
            <a:prstGeom prst="rect">
              <a:avLst/>
            </a:prstGeom>
            <a:noFill/>
          </p:spPr>
          <p:txBody>
            <a:bodyPr wrap="square" rtlCol="0">
              <a:spAutoFit/>
            </a:bodyPr>
            <a:lstStyle/>
            <a:p>
              <a:pPr algn="ctr"/>
              <a:r>
                <a:rPr lang="de-DE" sz="3600" b="1" dirty="0">
                  <a:solidFill>
                    <a:schemeClr val="bg1"/>
                  </a:solidFill>
                  <a:latin typeface="Segoe UI" panose="020B0502040204020203" pitchFamily="34" charset="0"/>
                  <a:cs typeface="Segoe UI" panose="020B0502040204020203" pitchFamily="34" charset="0"/>
                </a:rPr>
                <a:t>#1</a:t>
              </a:r>
            </a:p>
          </p:txBody>
        </p:sp>
      </p:grpSp>
      <p:grpSp>
        <p:nvGrpSpPr>
          <p:cNvPr id="25" name="Gruppieren 24"/>
          <p:cNvGrpSpPr/>
          <p:nvPr/>
        </p:nvGrpSpPr>
        <p:grpSpPr>
          <a:xfrm>
            <a:off x="8058174" y="376859"/>
            <a:ext cx="2117190" cy="2117190"/>
            <a:chOff x="2692972" y="2063923"/>
            <a:chExt cx="1570181" cy="1570181"/>
          </a:xfrm>
          <a:solidFill>
            <a:srgbClr val="005977"/>
          </a:solidFill>
        </p:grpSpPr>
        <p:sp>
          <p:nvSpPr>
            <p:cNvPr id="26" name="Ellipse 25"/>
            <p:cNvSpPr/>
            <p:nvPr/>
          </p:nvSpPr>
          <p:spPr>
            <a:xfrm>
              <a:off x="2692972" y="2063923"/>
              <a:ext cx="1570181" cy="15701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dirty="0">
                <a:latin typeface="Segoe UI" panose="020B0502040204020203" pitchFamily="34" charset="0"/>
                <a:ea typeface="Segoe UI Black" panose="020B0A02040204020203" pitchFamily="34" charset="0"/>
                <a:cs typeface="Segoe UI" panose="020B0502040204020203" pitchFamily="34" charset="0"/>
              </a:endParaRPr>
            </a:p>
          </p:txBody>
        </p:sp>
        <p:sp>
          <p:nvSpPr>
            <p:cNvPr id="27" name="Textfeld 26"/>
            <p:cNvSpPr txBox="1"/>
            <p:nvPr/>
          </p:nvSpPr>
          <p:spPr>
            <a:xfrm>
              <a:off x="2773884" y="2609342"/>
              <a:ext cx="1431637" cy="479341"/>
            </a:xfrm>
            <a:prstGeom prst="rect">
              <a:avLst/>
            </a:prstGeom>
            <a:noFill/>
          </p:spPr>
          <p:txBody>
            <a:bodyPr wrap="square" rtlCol="0">
              <a:spAutoFit/>
            </a:bodyPr>
            <a:lstStyle/>
            <a:p>
              <a:pPr algn="ctr"/>
              <a:r>
                <a:rPr lang="de-DE" sz="3600" b="1" dirty="0">
                  <a:solidFill>
                    <a:schemeClr val="bg1"/>
                  </a:solidFill>
                  <a:latin typeface="Segoe UI" panose="020B0502040204020203" pitchFamily="34" charset="0"/>
                  <a:cs typeface="Segoe UI" panose="020B0502040204020203" pitchFamily="34" charset="0"/>
                </a:rPr>
                <a:t>#2</a:t>
              </a:r>
            </a:p>
          </p:txBody>
        </p:sp>
      </p:grpSp>
      <p:grpSp>
        <p:nvGrpSpPr>
          <p:cNvPr id="28" name="Gruppieren 27"/>
          <p:cNvGrpSpPr/>
          <p:nvPr/>
        </p:nvGrpSpPr>
        <p:grpSpPr>
          <a:xfrm>
            <a:off x="5327564" y="2828531"/>
            <a:ext cx="2117190" cy="2117190"/>
            <a:chOff x="5518077" y="2146950"/>
            <a:chExt cx="1570181" cy="1570181"/>
          </a:xfrm>
          <a:solidFill>
            <a:srgbClr val="005977"/>
          </a:solidFill>
        </p:grpSpPr>
        <p:sp>
          <p:nvSpPr>
            <p:cNvPr id="29" name="Ellipse 28"/>
            <p:cNvSpPr/>
            <p:nvPr/>
          </p:nvSpPr>
          <p:spPr>
            <a:xfrm>
              <a:off x="5518077" y="2146950"/>
              <a:ext cx="1570181" cy="15701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dirty="0">
                <a:latin typeface="Segoe UI" panose="020B0502040204020203" pitchFamily="34" charset="0"/>
                <a:ea typeface="Segoe UI Black" panose="020B0A02040204020203" pitchFamily="34" charset="0"/>
                <a:cs typeface="Segoe UI" panose="020B0502040204020203" pitchFamily="34" charset="0"/>
              </a:endParaRPr>
            </a:p>
          </p:txBody>
        </p:sp>
        <p:sp>
          <p:nvSpPr>
            <p:cNvPr id="30" name="Textfeld 29"/>
            <p:cNvSpPr txBox="1"/>
            <p:nvPr/>
          </p:nvSpPr>
          <p:spPr>
            <a:xfrm>
              <a:off x="5551554" y="2692369"/>
              <a:ext cx="1431637" cy="479341"/>
            </a:xfrm>
            <a:prstGeom prst="rect">
              <a:avLst/>
            </a:prstGeom>
            <a:noFill/>
          </p:spPr>
          <p:txBody>
            <a:bodyPr wrap="square" rtlCol="0">
              <a:spAutoFit/>
            </a:bodyPr>
            <a:lstStyle/>
            <a:p>
              <a:pPr algn="ctr"/>
              <a:r>
                <a:rPr lang="de-DE" sz="3600" b="1" dirty="0">
                  <a:solidFill>
                    <a:schemeClr val="bg1"/>
                  </a:solidFill>
                  <a:latin typeface="Segoe UI" panose="020B0502040204020203" pitchFamily="34" charset="0"/>
                  <a:cs typeface="Segoe UI" panose="020B0502040204020203" pitchFamily="34" charset="0"/>
                </a:rPr>
                <a:t>#3</a:t>
              </a:r>
            </a:p>
          </p:txBody>
        </p:sp>
      </p:grpSp>
      <p:grpSp>
        <p:nvGrpSpPr>
          <p:cNvPr id="31" name="Gruppieren 30"/>
          <p:cNvGrpSpPr/>
          <p:nvPr/>
        </p:nvGrpSpPr>
        <p:grpSpPr>
          <a:xfrm>
            <a:off x="9707173" y="2342560"/>
            <a:ext cx="2117190" cy="2117190"/>
            <a:chOff x="4736592" y="1742753"/>
            <a:chExt cx="1570181" cy="1570181"/>
          </a:xfrm>
          <a:solidFill>
            <a:srgbClr val="005977"/>
          </a:solidFill>
        </p:grpSpPr>
        <p:sp>
          <p:nvSpPr>
            <p:cNvPr id="32" name="Ellipse 31"/>
            <p:cNvSpPr/>
            <p:nvPr/>
          </p:nvSpPr>
          <p:spPr>
            <a:xfrm>
              <a:off x="4736592" y="1742753"/>
              <a:ext cx="1570181" cy="15701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dirty="0">
                <a:latin typeface="Segoe UI" panose="020B0502040204020203" pitchFamily="34" charset="0"/>
                <a:ea typeface="Segoe UI Black" panose="020B0A02040204020203" pitchFamily="34" charset="0"/>
                <a:cs typeface="Segoe UI" panose="020B0502040204020203" pitchFamily="34" charset="0"/>
              </a:endParaRPr>
            </a:p>
          </p:txBody>
        </p:sp>
        <p:sp>
          <p:nvSpPr>
            <p:cNvPr id="33" name="Textfeld 32"/>
            <p:cNvSpPr txBox="1"/>
            <p:nvPr/>
          </p:nvSpPr>
          <p:spPr>
            <a:xfrm>
              <a:off x="4801129" y="2272415"/>
              <a:ext cx="1431637" cy="479341"/>
            </a:xfrm>
            <a:prstGeom prst="rect">
              <a:avLst/>
            </a:prstGeom>
            <a:noFill/>
          </p:spPr>
          <p:txBody>
            <a:bodyPr wrap="square" rtlCol="0">
              <a:spAutoFit/>
            </a:bodyPr>
            <a:lstStyle/>
            <a:p>
              <a:pPr algn="ctr"/>
              <a:r>
                <a:rPr lang="de-DE" sz="3600" b="1" dirty="0">
                  <a:solidFill>
                    <a:schemeClr val="bg1"/>
                  </a:solidFill>
                  <a:latin typeface="Segoe UI" panose="020B0502040204020203" pitchFamily="34" charset="0"/>
                  <a:cs typeface="Segoe UI" panose="020B0502040204020203" pitchFamily="34" charset="0"/>
                </a:rPr>
                <a:t>#4</a:t>
              </a:r>
            </a:p>
          </p:txBody>
        </p:sp>
      </p:grpSp>
      <p:grpSp>
        <p:nvGrpSpPr>
          <p:cNvPr id="4" name="Gruppieren 3">
            <a:extLst>
              <a:ext uri="{FF2B5EF4-FFF2-40B4-BE49-F238E27FC236}">
                <a16:creationId xmlns:a16="http://schemas.microsoft.com/office/drawing/2014/main" id="{5D43F6B7-6AFF-796B-A558-91C180F7106B}"/>
              </a:ext>
            </a:extLst>
          </p:cNvPr>
          <p:cNvGrpSpPr/>
          <p:nvPr/>
        </p:nvGrpSpPr>
        <p:grpSpPr>
          <a:xfrm>
            <a:off x="7546523" y="4165027"/>
            <a:ext cx="2152969" cy="2116800"/>
            <a:chOff x="3268471" y="1587446"/>
            <a:chExt cx="1606407" cy="1570181"/>
          </a:xfrm>
        </p:grpSpPr>
        <p:sp>
          <p:nvSpPr>
            <p:cNvPr id="6" name="Ellipse 5">
              <a:extLst>
                <a:ext uri="{FF2B5EF4-FFF2-40B4-BE49-F238E27FC236}">
                  <a16:creationId xmlns:a16="http://schemas.microsoft.com/office/drawing/2014/main" id="{FA6AB0D0-F8A0-1904-730F-2156671821DD}"/>
                </a:ext>
              </a:extLst>
            </p:cNvPr>
            <p:cNvSpPr/>
            <p:nvPr/>
          </p:nvSpPr>
          <p:spPr>
            <a:xfrm>
              <a:off x="3304697" y="1587446"/>
              <a:ext cx="1570181" cy="1570181"/>
            </a:xfrm>
            <a:prstGeom prst="ellipse">
              <a:avLst/>
            </a:prstGeom>
            <a:solidFill>
              <a:srgbClr val="005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dirty="0">
                <a:latin typeface="Segoe UI" panose="020B0502040204020203" pitchFamily="34" charset="0"/>
                <a:ea typeface="Segoe UI Black" panose="020B0A02040204020203" pitchFamily="34" charset="0"/>
                <a:cs typeface="Segoe UI" panose="020B0502040204020203" pitchFamily="34" charset="0"/>
              </a:endParaRPr>
            </a:p>
          </p:txBody>
        </p:sp>
        <p:sp>
          <p:nvSpPr>
            <p:cNvPr id="7" name="Textfeld 6">
              <a:extLst>
                <a:ext uri="{FF2B5EF4-FFF2-40B4-BE49-F238E27FC236}">
                  <a16:creationId xmlns:a16="http://schemas.microsoft.com/office/drawing/2014/main" id="{658E8A4F-5DC3-237B-F7C5-66FD0A38F306}"/>
                </a:ext>
              </a:extLst>
            </p:cNvPr>
            <p:cNvSpPr txBox="1"/>
            <p:nvPr/>
          </p:nvSpPr>
          <p:spPr>
            <a:xfrm>
              <a:off x="3268471" y="2244535"/>
              <a:ext cx="1579421" cy="273960"/>
            </a:xfrm>
            <a:prstGeom prst="rect">
              <a:avLst/>
            </a:prstGeom>
            <a:noFill/>
          </p:spPr>
          <p:txBody>
            <a:bodyPr wrap="square" rtlCol="0">
              <a:spAutoFit/>
            </a:bodyPr>
            <a:lstStyle/>
            <a:p>
              <a:pPr algn="ctr"/>
              <a:r>
                <a:rPr lang="de-DE" b="1" dirty="0">
                  <a:solidFill>
                    <a:schemeClr val="bg1"/>
                  </a:solidFill>
                  <a:latin typeface="Segoe UI" panose="020B0502040204020203" pitchFamily="34" charset="0"/>
                  <a:cs typeface="Segoe UI" panose="020B0502040204020203" pitchFamily="34" charset="0"/>
                </a:rPr>
                <a:t>IT-Services</a:t>
              </a:r>
            </a:p>
          </p:txBody>
        </p:sp>
      </p:grpSp>
      <p:sp>
        <p:nvSpPr>
          <p:cNvPr id="2" name="Ellipse 1">
            <a:extLst>
              <a:ext uri="{FF2B5EF4-FFF2-40B4-BE49-F238E27FC236}">
                <a16:creationId xmlns:a16="http://schemas.microsoft.com/office/drawing/2014/main" id="{D649E01B-861A-52B9-A50F-563B0B381815}"/>
              </a:ext>
            </a:extLst>
          </p:cNvPr>
          <p:cNvSpPr/>
          <p:nvPr/>
        </p:nvSpPr>
        <p:spPr>
          <a:xfrm>
            <a:off x="7597537" y="4176936"/>
            <a:ext cx="2117190" cy="2117190"/>
          </a:xfrm>
          <a:prstGeom prst="ellipse">
            <a:avLst/>
          </a:prstGeom>
          <a:solidFill>
            <a:srgbClr val="005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b="1" dirty="0">
              <a:latin typeface="Segoe UI" panose="020B0502040204020203" pitchFamily="34" charset="0"/>
              <a:ea typeface="Segoe UI Black" panose="020B0A02040204020203" pitchFamily="34" charset="0"/>
              <a:cs typeface="Segoe UI" panose="020B0502040204020203" pitchFamily="34" charset="0"/>
            </a:endParaRPr>
          </a:p>
        </p:txBody>
      </p:sp>
      <p:sp>
        <p:nvSpPr>
          <p:cNvPr id="3" name="Textfeld 2">
            <a:extLst>
              <a:ext uri="{FF2B5EF4-FFF2-40B4-BE49-F238E27FC236}">
                <a16:creationId xmlns:a16="http://schemas.microsoft.com/office/drawing/2014/main" id="{5770CB71-4006-C82E-A78C-FE3A7C90626D}"/>
              </a:ext>
            </a:extLst>
          </p:cNvPr>
          <p:cNvSpPr txBox="1"/>
          <p:nvPr/>
        </p:nvSpPr>
        <p:spPr>
          <a:xfrm>
            <a:off x="7732943" y="4942507"/>
            <a:ext cx="1930381" cy="646331"/>
          </a:xfrm>
          <a:prstGeom prst="rect">
            <a:avLst/>
          </a:prstGeom>
          <a:noFill/>
        </p:spPr>
        <p:txBody>
          <a:bodyPr wrap="square" rtlCol="0">
            <a:spAutoFit/>
          </a:bodyPr>
          <a:lstStyle/>
          <a:p>
            <a:pPr algn="ctr"/>
            <a:r>
              <a:rPr lang="de-DE" sz="3600" b="1" dirty="0">
                <a:solidFill>
                  <a:schemeClr val="bg1"/>
                </a:solidFill>
                <a:latin typeface="Segoe UI" panose="020B0502040204020203" pitchFamily="34" charset="0"/>
                <a:cs typeface="Segoe UI" panose="020B0502040204020203" pitchFamily="34" charset="0"/>
              </a:rPr>
              <a:t>#5</a:t>
            </a:r>
          </a:p>
        </p:txBody>
      </p:sp>
    </p:spTree>
    <p:extLst>
      <p:ext uri="{BB962C8B-B14F-4D97-AF65-F5344CB8AC3E}">
        <p14:creationId xmlns:p14="http://schemas.microsoft.com/office/powerpoint/2010/main" val="30654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xit" presetSubtype="0" fill="hold" nodeType="clickEffect">
                                  <p:stCondLst>
                                    <p:cond delay="0"/>
                                  </p:stCondLst>
                                  <p:childTnLst>
                                    <p:animEffect transition="out" filter="fade">
                                      <p:cBhvr>
                                        <p:cTn id="6" dur="1000"/>
                                        <p:tgtEl>
                                          <p:spTgt spid="18"/>
                                        </p:tgtEl>
                                      </p:cBhvr>
                                    </p:animEffect>
                                    <p:anim calcmode="lin" valueType="num">
                                      <p:cBhvr>
                                        <p:cTn id="7" dur="1000"/>
                                        <p:tgtEl>
                                          <p:spTgt spid="18"/>
                                        </p:tgtEl>
                                        <p:attrNameLst>
                                          <p:attrName>ppt_x</p:attrName>
                                        </p:attrNameLst>
                                      </p:cBhvr>
                                      <p:tavLst>
                                        <p:tav tm="0">
                                          <p:val>
                                            <p:strVal val="ppt_x"/>
                                          </p:val>
                                        </p:tav>
                                        <p:tav tm="100000">
                                          <p:val>
                                            <p:strVal val="ppt_x"/>
                                          </p:val>
                                        </p:tav>
                                      </p:tavLst>
                                    </p:anim>
                                    <p:anim calcmode="lin" valueType="num">
                                      <p:cBhvr>
                                        <p:cTn id="8" dur="1000"/>
                                        <p:tgtEl>
                                          <p:spTgt spid="18"/>
                                        </p:tgtEl>
                                        <p:attrNameLst>
                                          <p:attrName>ppt_y</p:attrName>
                                        </p:attrNameLst>
                                      </p:cBhvr>
                                      <p:tavLst>
                                        <p:tav tm="0">
                                          <p:val>
                                            <p:strVal val="ppt_y"/>
                                          </p:val>
                                        </p:tav>
                                        <p:tav tm="100000">
                                          <p:val>
                                            <p:strVal val="ppt_y-.1"/>
                                          </p:val>
                                        </p:tav>
                                      </p:tavLst>
                                    </p:anim>
                                    <p:set>
                                      <p:cBhvr>
                                        <p:cTn id="9" dur="1" fill="hold">
                                          <p:stCondLst>
                                            <p:cond delay="999"/>
                                          </p:stCondLst>
                                        </p:cTn>
                                        <p:tgtEl>
                                          <p:spTgt spid="18"/>
                                        </p:tgtEl>
                                        <p:attrNameLst>
                                          <p:attrName>style.visibility</p:attrName>
                                        </p:attrNameLst>
                                      </p:cBhvr>
                                      <p:to>
                                        <p:strVal val="hidden"/>
                                      </p:to>
                                    </p:set>
                                  </p:childTnLst>
                                </p:cTn>
                              </p:par>
                            </p:childTnLst>
                          </p:cTn>
                        </p:par>
                      </p:childTnLst>
                    </p:cTn>
                  </p:par>
                  <p:par>
                    <p:cTn id="10" fill="hold">
                      <p:stCondLst>
                        <p:cond delay="indefinite"/>
                      </p:stCondLst>
                      <p:childTnLst>
                        <p:par>
                          <p:cTn id="11" fill="hold">
                            <p:stCondLst>
                              <p:cond delay="0"/>
                            </p:stCondLst>
                            <p:childTnLst>
                              <p:par>
                                <p:cTn id="12" presetID="47" presetClass="exit" presetSubtype="0" fill="hold" nodeType="clickEffect">
                                  <p:stCondLst>
                                    <p:cond delay="0"/>
                                  </p:stCondLst>
                                  <p:childTnLst>
                                    <p:animEffect transition="out" filter="fade">
                                      <p:cBhvr>
                                        <p:cTn id="13" dur="1000"/>
                                        <p:tgtEl>
                                          <p:spTgt spid="25"/>
                                        </p:tgtEl>
                                      </p:cBhvr>
                                    </p:animEffect>
                                    <p:anim calcmode="lin" valueType="num">
                                      <p:cBhvr>
                                        <p:cTn id="14" dur="1000"/>
                                        <p:tgtEl>
                                          <p:spTgt spid="25"/>
                                        </p:tgtEl>
                                        <p:attrNameLst>
                                          <p:attrName>ppt_x</p:attrName>
                                        </p:attrNameLst>
                                      </p:cBhvr>
                                      <p:tavLst>
                                        <p:tav tm="0">
                                          <p:val>
                                            <p:strVal val="ppt_x"/>
                                          </p:val>
                                        </p:tav>
                                        <p:tav tm="100000">
                                          <p:val>
                                            <p:strVal val="ppt_x"/>
                                          </p:val>
                                        </p:tav>
                                      </p:tavLst>
                                    </p:anim>
                                    <p:anim calcmode="lin" valueType="num">
                                      <p:cBhvr>
                                        <p:cTn id="15" dur="1000"/>
                                        <p:tgtEl>
                                          <p:spTgt spid="25"/>
                                        </p:tgtEl>
                                        <p:attrNameLst>
                                          <p:attrName>ppt_y</p:attrName>
                                        </p:attrNameLst>
                                      </p:cBhvr>
                                      <p:tavLst>
                                        <p:tav tm="0">
                                          <p:val>
                                            <p:strVal val="ppt_y"/>
                                          </p:val>
                                        </p:tav>
                                        <p:tav tm="100000">
                                          <p:val>
                                            <p:strVal val="ppt_y-.1"/>
                                          </p:val>
                                        </p:tav>
                                      </p:tavLst>
                                    </p:anim>
                                    <p:set>
                                      <p:cBhvr>
                                        <p:cTn id="16" dur="1" fill="hold">
                                          <p:stCondLst>
                                            <p:cond delay="999"/>
                                          </p:stCondLst>
                                        </p:cTn>
                                        <p:tgtEl>
                                          <p:spTgt spid="25"/>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47" presetClass="exit" presetSubtype="0" fill="hold" nodeType="clickEffect">
                                  <p:stCondLst>
                                    <p:cond delay="0"/>
                                  </p:stCondLst>
                                  <p:childTnLst>
                                    <p:animEffect transition="out" filter="fade">
                                      <p:cBhvr>
                                        <p:cTn id="20" dur="1000"/>
                                        <p:tgtEl>
                                          <p:spTgt spid="28"/>
                                        </p:tgtEl>
                                      </p:cBhvr>
                                    </p:animEffect>
                                    <p:anim calcmode="lin" valueType="num">
                                      <p:cBhvr>
                                        <p:cTn id="21" dur="1000"/>
                                        <p:tgtEl>
                                          <p:spTgt spid="28"/>
                                        </p:tgtEl>
                                        <p:attrNameLst>
                                          <p:attrName>ppt_x</p:attrName>
                                        </p:attrNameLst>
                                      </p:cBhvr>
                                      <p:tavLst>
                                        <p:tav tm="0">
                                          <p:val>
                                            <p:strVal val="ppt_x"/>
                                          </p:val>
                                        </p:tav>
                                        <p:tav tm="100000">
                                          <p:val>
                                            <p:strVal val="ppt_x"/>
                                          </p:val>
                                        </p:tav>
                                      </p:tavLst>
                                    </p:anim>
                                    <p:anim calcmode="lin" valueType="num">
                                      <p:cBhvr>
                                        <p:cTn id="22" dur="1000"/>
                                        <p:tgtEl>
                                          <p:spTgt spid="28"/>
                                        </p:tgtEl>
                                        <p:attrNameLst>
                                          <p:attrName>ppt_y</p:attrName>
                                        </p:attrNameLst>
                                      </p:cBhvr>
                                      <p:tavLst>
                                        <p:tav tm="0">
                                          <p:val>
                                            <p:strVal val="ppt_y"/>
                                          </p:val>
                                        </p:tav>
                                        <p:tav tm="100000">
                                          <p:val>
                                            <p:strVal val="ppt_y-.1"/>
                                          </p:val>
                                        </p:tav>
                                      </p:tavLst>
                                    </p:anim>
                                    <p:set>
                                      <p:cBhvr>
                                        <p:cTn id="23" dur="1" fill="hold">
                                          <p:stCondLst>
                                            <p:cond delay="999"/>
                                          </p:stCondLst>
                                        </p:cTn>
                                        <p:tgtEl>
                                          <p:spTgt spid="28"/>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47" presetClass="exit" presetSubtype="0" fill="hold" nodeType="clickEffect">
                                  <p:stCondLst>
                                    <p:cond delay="0"/>
                                  </p:stCondLst>
                                  <p:childTnLst>
                                    <p:animEffect transition="out" filter="fade">
                                      <p:cBhvr>
                                        <p:cTn id="27" dur="1000"/>
                                        <p:tgtEl>
                                          <p:spTgt spid="31"/>
                                        </p:tgtEl>
                                      </p:cBhvr>
                                    </p:animEffect>
                                    <p:anim calcmode="lin" valueType="num">
                                      <p:cBhvr>
                                        <p:cTn id="28" dur="1000"/>
                                        <p:tgtEl>
                                          <p:spTgt spid="31"/>
                                        </p:tgtEl>
                                        <p:attrNameLst>
                                          <p:attrName>ppt_x</p:attrName>
                                        </p:attrNameLst>
                                      </p:cBhvr>
                                      <p:tavLst>
                                        <p:tav tm="0">
                                          <p:val>
                                            <p:strVal val="ppt_x"/>
                                          </p:val>
                                        </p:tav>
                                        <p:tav tm="100000">
                                          <p:val>
                                            <p:strVal val="ppt_x"/>
                                          </p:val>
                                        </p:tav>
                                      </p:tavLst>
                                    </p:anim>
                                    <p:anim calcmode="lin" valueType="num">
                                      <p:cBhvr>
                                        <p:cTn id="29" dur="1000"/>
                                        <p:tgtEl>
                                          <p:spTgt spid="31"/>
                                        </p:tgtEl>
                                        <p:attrNameLst>
                                          <p:attrName>ppt_y</p:attrName>
                                        </p:attrNameLst>
                                      </p:cBhvr>
                                      <p:tavLst>
                                        <p:tav tm="0">
                                          <p:val>
                                            <p:strVal val="ppt_y"/>
                                          </p:val>
                                        </p:tav>
                                        <p:tav tm="100000">
                                          <p:val>
                                            <p:strVal val="ppt_y-.1"/>
                                          </p:val>
                                        </p:tav>
                                      </p:tavLst>
                                    </p:anim>
                                    <p:set>
                                      <p:cBhvr>
                                        <p:cTn id="30" dur="1" fill="hold">
                                          <p:stCondLst>
                                            <p:cond delay="999"/>
                                          </p:stCondLst>
                                        </p:cTn>
                                        <p:tgtEl>
                                          <p:spTgt spid="31"/>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42" presetClass="exit" presetSubtype="0" fill="hold" grpId="0" nodeType="clickEffect">
                                  <p:stCondLst>
                                    <p:cond delay="0"/>
                                  </p:stCondLst>
                                  <p:childTnLst>
                                    <p:animEffect transition="out" filter="fade">
                                      <p:cBhvr>
                                        <p:cTn id="34" dur="1000"/>
                                        <p:tgtEl>
                                          <p:spTgt spid="2"/>
                                        </p:tgtEl>
                                      </p:cBhvr>
                                    </p:animEffect>
                                    <p:anim calcmode="lin" valueType="num">
                                      <p:cBhvr>
                                        <p:cTn id="35" dur="1000"/>
                                        <p:tgtEl>
                                          <p:spTgt spid="2"/>
                                        </p:tgtEl>
                                        <p:attrNameLst>
                                          <p:attrName>ppt_x</p:attrName>
                                        </p:attrNameLst>
                                      </p:cBhvr>
                                      <p:tavLst>
                                        <p:tav tm="0">
                                          <p:val>
                                            <p:strVal val="ppt_x"/>
                                          </p:val>
                                        </p:tav>
                                        <p:tav tm="100000">
                                          <p:val>
                                            <p:strVal val="ppt_x"/>
                                          </p:val>
                                        </p:tav>
                                      </p:tavLst>
                                    </p:anim>
                                    <p:anim calcmode="lin" valueType="num">
                                      <p:cBhvr>
                                        <p:cTn id="36" dur="1000"/>
                                        <p:tgtEl>
                                          <p:spTgt spid="2"/>
                                        </p:tgtEl>
                                        <p:attrNameLst>
                                          <p:attrName>ppt_y</p:attrName>
                                        </p:attrNameLst>
                                      </p:cBhvr>
                                      <p:tavLst>
                                        <p:tav tm="0">
                                          <p:val>
                                            <p:strVal val="ppt_y"/>
                                          </p:val>
                                        </p:tav>
                                        <p:tav tm="100000">
                                          <p:val>
                                            <p:strVal val="ppt_y+.1"/>
                                          </p:val>
                                        </p:tav>
                                      </p:tavLst>
                                    </p:anim>
                                    <p:set>
                                      <p:cBhvr>
                                        <p:cTn id="37" dur="1" fill="hold">
                                          <p:stCondLst>
                                            <p:cond delay="999"/>
                                          </p:stCondLst>
                                        </p:cTn>
                                        <p:tgtEl>
                                          <p:spTgt spid="2"/>
                                        </p:tgtEl>
                                        <p:attrNameLst>
                                          <p:attrName>style.visibility</p:attrName>
                                        </p:attrNameLst>
                                      </p:cBhvr>
                                      <p:to>
                                        <p:strVal val="hidden"/>
                                      </p:to>
                                    </p:set>
                                  </p:childTnLst>
                                </p:cTn>
                              </p:par>
                              <p:par>
                                <p:cTn id="38" presetID="42" presetClass="exit" presetSubtype="0" fill="hold" grpId="0" nodeType="withEffect">
                                  <p:stCondLst>
                                    <p:cond delay="0"/>
                                  </p:stCondLst>
                                  <p:childTnLst>
                                    <p:animEffect transition="out" filter="fade">
                                      <p:cBhvr>
                                        <p:cTn id="39" dur="1000"/>
                                        <p:tgtEl>
                                          <p:spTgt spid="3"/>
                                        </p:tgtEl>
                                      </p:cBhvr>
                                    </p:animEffect>
                                    <p:anim calcmode="lin" valueType="num">
                                      <p:cBhvr>
                                        <p:cTn id="40" dur="1000"/>
                                        <p:tgtEl>
                                          <p:spTgt spid="3"/>
                                        </p:tgtEl>
                                        <p:attrNameLst>
                                          <p:attrName>ppt_x</p:attrName>
                                        </p:attrNameLst>
                                      </p:cBhvr>
                                      <p:tavLst>
                                        <p:tav tm="0">
                                          <p:val>
                                            <p:strVal val="ppt_x"/>
                                          </p:val>
                                        </p:tav>
                                        <p:tav tm="100000">
                                          <p:val>
                                            <p:strVal val="ppt_x"/>
                                          </p:val>
                                        </p:tav>
                                      </p:tavLst>
                                    </p:anim>
                                    <p:anim calcmode="lin" valueType="num">
                                      <p:cBhvr>
                                        <p:cTn id="41" dur="1000"/>
                                        <p:tgtEl>
                                          <p:spTgt spid="3"/>
                                        </p:tgtEl>
                                        <p:attrNameLst>
                                          <p:attrName>ppt_y</p:attrName>
                                        </p:attrNameLst>
                                      </p:cBhvr>
                                      <p:tavLst>
                                        <p:tav tm="0">
                                          <p:val>
                                            <p:strVal val="ppt_y"/>
                                          </p:val>
                                        </p:tav>
                                        <p:tav tm="100000">
                                          <p:val>
                                            <p:strVal val="ppt_y+.1"/>
                                          </p:val>
                                        </p:tav>
                                      </p:tavLst>
                                    </p:anim>
                                    <p:set>
                                      <p:cBhvr>
                                        <p:cTn id="42" dur="1" fill="hold">
                                          <p:stCondLst>
                                            <p:cond delay="9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6CEEF0-1768-A41F-954D-77B0DA9E2706}"/>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4C7968A8-F45A-0670-870E-929BF90E80FA}"/>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Übertrag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Rentner-GmbH”</a:t>
            </a:r>
          </a:p>
        </p:txBody>
      </p:sp>
      <p:sp>
        <p:nvSpPr>
          <p:cNvPr id="18" name="Freeform: Shape 142">
            <a:extLst>
              <a:ext uri="{FF2B5EF4-FFF2-40B4-BE49-F238E27FC236}">
                <a16:creationId xmlns:a16="http://schemas.microsoft.com/office/drawing/2014/main" id="{D4C2E813-CD26-FD8F-D416-0637C5FD433C}"/>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45517802-8BD4-2B26-2A0C-AAF0F8F662A7}"/>
              </a:ext>
            </a:extLst>
          </p:cNvPr>
          <p:cNvSpPr txBox="1"/>
          <p:nvPr/>
        </p:nvSpPr>
        <p:spPr>
          <a:xfrm>
            <a:off x="1487314" y="2228840"/>
            <a:ext cx="8647285"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endParaRPr lang="de-DE" sz="1400" dirty="0">
              <a:latin typeface="Segoe UI" panose="020B0502040204020203" pitchFamily="34" charset="0"/>
              <a:cs typeface="Segoe UI" panose="020B0502040204020203" pitchFamily="34" charset="0"/>
            </a:endParaRPr>
          </a:p>
        </p:txBody>
      </p:sp>
      <p:sp>
        <p:nvSpPr>
          <p:cNvPr id="8" name="Plus Sign 6">
            <a:extLst>
              <a:ext uri="{FF2B5EF4-FFF2-40B4-BE49-F238E27FC236}">
                <a16:creationId xmlns:a16="http://schemas.microsoft.com/office/drawing/2014/main" id="{E83C7DB7-88A9-A6C7-DEB9-5C708B5C5529}"/>
              </a:ext>
            </a:extLst>
          </p:cNvPr>
          <p:cNvSpPr/>
          <p:nvPr/>
        </p:nvSpPr>
        <p:spPr bwMode="auto">
          <a:xfrm>
            <a:off x="1096689" y="4447839"/>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 name="Rechteck 1">
            <a:extLst>
              <a:ext uri="{FF2B5EF4-FFF2-40B4-BE49-F238E27FC236}">
                <a16:creationId xmlns:a16="http://schemas.microsoft.com/office/drawing/2014/main" id="{AF8C625C-3E7B-9F10-6839-6A6E05DF9F57}"/>
              </a:ext>
            </a:extLst>
          </p:cNvPr>
          <p:cNvSpPr/>
          <p:nvPr/>
        </p:nvSpPr>
        <p:spPr>
          <a:xfrm>
            <a:off x="2239845" y="4597606"/>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4" name="Textplatzhalter 1">
            <a:extLst>
              <a:ext uri="{FF2B5EF4-FFF2-40B4-BE49-F238E27FC236}">
                <a16:creationId xmlns:a16="http://schemas.microsoft.com/office/drawing/2014/main" id="{37886527-8A49-E90B-3D9E-A1D7D37FDE36}"/>
              </a:ext>
            </a:extLst>
          </p:cNvPr>
          <p:cNvSpPr txBox="1">
            <a:spLocks/>
          </p:cNvSpPr>
          <p:nvPr/>
        </p:nvSpPr>
        <p:spPr>
          <a:xfrm>
            <a:off x="555070" y="2759052"/>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5" name="Gruppieren 4">
            <a:extLst>
              <a:ext uri="{FF2B5EF4-FFF2-40B4-BE49-F238E27FC236}">
                <a16:creationId xmlns:a16="http://schemas.microsoft.com/office/drawing/2014/main" id="{EA5CAFBD-BA2C-9BC5-0A18-3E82C9ACC7C1}"/>
              </a:ext>
            </a:extLst>
          </p:cNvPr>
          <p:cNvGrpSpPr/>
          <p:nvPr/>
        </p:nvGrpSpPr>
        <p:grpSpPr>
          <a:xfrm>
            <a:off x="2235211" y="2908777"/>
            <a:ext cx="1405717" cy="3985406"/>
            <a:chOff x="2462777" y="1904484"/>
            <a:chExt cx="1405717" cy="3985406"/>
          </a:xfrm>
        </p:grpSpPr>
        <p:grpSp>
          <p:nvGrpSpPr>
            <p:cNvPr id="7" name="Group 138">
              <a:extLst>
                <a:ext uri="{FF2B5EF4-FFF2-40B4-BE49-F238E27FC236}">
                  <a16:creationId xmlns:a16="http://schemas.microsoft.com/office/drawing/2014/main" id="{44F46960-C417-E756-94AA-77508DE1B306}"/>
                </a:ext>
              </a:extLst>
            </p:cNvPr>
            <p:cNvGrpSpPr/>
            <p:nvPr/>
          </p:nvGrpSpPr>
          <p:grpSpPr>
            <a:xfrm>
              <a:off x="2934725" y="1904484"/>
              <a:ext cx="461820" cy="461820"/>
              <a:chOff x="1236144" y="1532568"/>
              <a:chExt cx="834324" cy="834324"/>
            </a:xfrm>
          </p:grpSpPr>
          <p:sp>
            <p:nvSpPr>
              <p:cNvPr id="20" name="Freeform: Shape 139">
                <a:extLst>
                  <a:ext uri="{FF2B5EF4-FFF2-40B4-BE49-F238E27FC236}">
                    <a16:creationId xmlns:a16="http://schemas.microsoft.com/office/drawing/2014/main" id="{6717B493-13D1-7188-AC53-900BA0B0CCF5}"/>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1" name="Freeform: Shape 140">
                <a:extLst>
                  <a:ext uri="{FF2B5EF4-FFF2-40B4-BE49-F238E27FC236}">
                    <a16:creationId xmlns:a16="http://schemas.microsoft.com/office/drawing/2014/main" id="{85ECF0BA-EBA6-292B-785B-90DCDDA9955B}"/>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2" name="Oval 157">
                <a:extLst>
                  <a:ext uri="{FF2B5EF4-FFF2-40B4-BE49-F238E27FC236}">
                    <a16:creationId xmlns:a16="http://schemas.microsoft.com/office/drawing/2014/main" id="{EE44F0F7-BF3E-8025-0B8F-C21E78E7DEEA}"/>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23" name="Freeform: Shape 142">
                <a:extLst>
                  <a:ext uri="{FF2B5EF4-FFF2-40B4-BE49-F238E27FC236}">
                    <a16:creationId xmlns:a16="http://schemas.microsoft.com/office/drawing/2014/main" id="{9329A2F5-7EEB-6E20-97FD-1833872B9AF6}"/>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9" name="Gruppieren 8">
              <a:extLst>
                <a:ext uri="{FF2B5EF4-FFF2-40B4-BE49-F238E27FC236}">
                  <a16:creationId xmlns:a16="http://schemas.microsoft.com/office/drawing/2014/main" id="{FEA6BB84-718C-2647-4AE6-3C43A6235DA5}"/>
                </a:ext>
              </a:extLst>
            </p:cNvPr>
            <p:cNvGrpSpPr/>
            <p:nvPr/>
          </p:nvGrpSpPr>
          <p:grpSpPr>
            <a:xfrm>
              <a:off x="2462777" y="2379623"/>
              <a:ext cx="1405717" cy="3510267"/>
              <a:chOff x="2462777" y="2379623"/>
              <a:chExt cx="1405717" cy="3510267"/>
            </a:xfrm>
          </p:grpSpPr>
          <p:sp>
            <p:nvSpPr>
              <p:cNvPr id="10" name="Textfeld 9">
                <a:extLst>
                  <a:ext uri="{FF2B5EF4-FFF2-40B4-BE49-F238E27FC236}">
                    <a16:creationId xmlns:a16="http://schemas.microsoft.com/office/drawing/2014/main" id="{8C9E8BA9-665B-5BA1-9EA8-E37AD8D320A8}"/>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1" name="Pfeil nach unten 91">
                <a:extLst>
                  <a:ext uri="{FF2B5EF4-FFF2-40B4-BE49-F238E27FC236}">
                    <a16:creationId xmlns:a16="http://schemas.microsoft.com/office/drawing/2014/main" id="{853CB015-AF42-924D-DB34-367793972A50}"/>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nvGrpSpPr>
              <p:cNvPr id="12" name="Group 138">
                <a:extLst>
                  <a:ext uri="{FF2B5EF4-FFF2-40B4-BE49-F238E27FC236}">
                    <a16:creationId xmlns:a16="http://schemas.microsoft.com/office/drawing/2014/main" id="{26DE08DD-761E-A117-96BE-544C2D0094DB}"/>
                  </a:ext>
                </a:extLst>
              </p:cNvPr>
              <p:cNvGrpSpPr/>
              <p:nvPr/>
            </p:nvGrpSpPr>
            <p:grpSpPr>
              <a:xfrm>
                <a:off x="3158154" y="3941620"/>
                <a:ext cx="3200" cy="4053"/>
                <a:chOff x="1650415" y="1908302"/>
                <a:chExt cx="5782" cy="7322"/>
              </a:xfrm>
            </p:grpSpPr>
            <p:sp>
              <p:nvSpPr>
                <p:cNvPr id="17" name="Freeform: Shape 139">
                  <a:extLst>
                    <a:ext uri="{FF2B5EF4-FFF2-40B4-BE49-F238E27FC236}">
                      <a16:creationId xmlns:a16="http://schemas.microsoft.com/office/drawing/2014/main" id="{D950F0E8-0842-4FC9-B7EF-F90BAE2AEC35}"/>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9" name="Freeform: Shape 140">
                  <a:extLst>
                    <a:ext uri="{FF2B5EF4-FFF2-40B4-BE49-F238E27FC236}">
                      <a16:creationId xmlns:a16="http://schemas.microsoft.com/office/drawing/2014/main" id="{FC033389-EDE4-A7DD-D38F-93E5E832364E}"/>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13" name="Group 138">
                <a:extLst>
                  <a:ext uri="{FF2B5EF4-FFF2-40B4-BE49-F238E27FC236}">
                    <a16:creationId xmlns:a16="http://schemas.microsoft.com/office/drawing/2014/main" id="{930CD425-2E14-28B4-86B3-4E05158A511D}"/>
                  </a:ext>
                </a:extLst>
              </p:cNvPr>
              <p:cNvGrpSpPr/>
              <p:nvPr/>
            </p:nvGrpSpPr>
            <p:grpSpPr>
              <a:xfrm>
                <a:off x="3163895" y="5885837"/>
                <a:ext cx="3200" cy="4053"/>
                <a:chOff x="1650415" y="1908302"/>
                <a:chExt cx="5782" cy="7322"/>
              </a:xfrm>
            </p:grpSpPr>
            <p:sp>
              <p:nvSpPr>
                <p:cNvPr id="14" name="Freeform: Shape 139">
                  <a:extLst>
                    <a:ext uri="{FF2B5EF4-FFF2-40B4-BE49-F238E27FC236}">
                      <a16:creationId xmlns:a16="http://schemas.microsoft.com/office/drawing/2014/main" id="{F7053D87-75C0-21A7-78AE-380BC29443A5}"/>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5" name="Freeform: Shape 140">
                  <a:extLst>
                    <a:ext uri="{FF2B5EF4-FFF2-40B4-BE49-F238E27FC236}">
                      <a16:creationId xmlns:a16="http://schemas.microsoft.com/office/drawing/2014/main" id="{6009AD17-9088-307E-72D1-671C32462DC9}"/>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grpSp>
      <p:grpSp>
        <p:nvGrpSpPr>
          <p:cNvPr id="26" name="Gruppieren 25">
            <a:extLst>
              <a:ext uri="{FF2B5EF4-FFF2-40B4-BE49-F238E27FC236}">
                <a16:creationId xmlns:a16="http://schemas.microsoft.com/office/drawing/2014/main" id="{A43E2E5F-8F45-E5A6-99B9-F29DD9A82A52}"/>
              </a:ext>
            </a:extLst>
          </p:cNvPr>
          <p:cNvGrpSpPr/>
          <p:nvPr/>
        </p:nvGrpSpPr>
        <p:grpSpPr>
          <a:xfrm>
            <a:off x="2778188" y="2964378"/>
            <a:ext cx="8942" cy="3777405"/>
            <a:chOff x="3158154" y="2112485"/>
            <a:chExt cx="8942" cy="3777405"/>
          </a:xfrm>
        </p:grpSpPr>
        <p:grpSp>
          <p:nvGrpSpPr>
            <p:cNvPr id="27" name="Group 138">
              <a:extLst>
                <a:ext uri="{FF2B5EF4-FFF2-40B4-BE49-F238E27FC236}">
                  <a16:creationId xmlns:a16="http://schemas.microsoft.com/office/drawing/2014/main" id="{CFB768BA-4C30-289B-8F4D-997607B1EAD5}"/>
                </a:ext>
              </a:extLst>
            </p:cNvPr>
            <p:cNvGrpSpPr/>
            <p:nvPr/>
          </p:nvGrpSpPr>
          <p:grpSpPr>
            <a:xfrm>
              <a:off x="3163896" y="2112485"/>
              <a:ext cx="3200" cy="4053"/>
              <a:chOff x="1650415" y="1908302"/>
              <a:chExt cx="5782" cy="7322"/>
            </a:xfrm>
          </p:grpSpPr>
          <p:sp>
            <p:nvSpPr>
              <p:cNvPr id="38" name="Freeform: Shape 139">
                <a:extLst>
                  <a:ext uri="{FF2B5EF4-FFF2-40B4-BE49-F238E27FC236}">
                    <a16:creationId xmlns:a16="http://schemas.microsoft.com/office/drawing/2014/main" id="{7ACE2B93-1AC0-0F20-64E2-67132E583D2B}"/>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39" name="Freeform: Shape 140">
                <a:extLst>
                  <a:ext uri="{FF2B5EF4-FFF2-40B4-BE49-F238E27FC236}">
                    <a16:creationId xmlns:a16="http://schemas.microsoft.com/office/drawing/2014/main" id="{70981910-DD15-53F9-1DE5-1F4070E9ABF3}"/>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28" name="Gruppieren 27">
              <a:extLst>
                <a:ext uri="{FF2B5EF4-FFF2-40B4-BE49-F238E27FC236}">
                  <a16:creationId xmlns:a16="http://schemas.microsoft.com/office/drawing/2014/main" id="{9E0145EC-06C7-0599-6055-6E0189A98467}"/>
                </a:ext>
              </a:extLst>
            </p:cNvPr>
            <p:cNvGrpSpPr/>
            <p:nvPr/>
          </p:nvGrpSpPr>
          <p:grpSpPr>
            <a:xfrm>
              <a:off x="3158154" y="3941620"/>
              <a:ext cx="8941" cy="1948270"/>
              <a:chOff x="3158154" y="3941620"/>
              <a:chExt cx="8941" cy="1948270"/>
            </a:xfrm>
          </p:grpSpPr>
          <p:grpSp>
            <p:nvGrpSpPr>
              <p:cNvPr id="31" name="Group 138">
                <a:extLst>
                  <a:ext uri="{FF2B5EF4-FFF2-40B4-BE49-F238E27FC236}">
                    <a16:creationId xmlns:a16="http://schemas.microsoft.com/office/drawing/2014/main" id="{C802C079-817C-AE47-F05B-71E5E1BE5E36}"/>
                  </a:ext>
                </a:extLst>
              </p:cNvPr>
              <p:cNvGrpSpPr/>
              <p:nvPr/>
            </p:nvGrpSpPr>
            <p:grpSpPr>
              <a:xfrm>
                <a:off x="3158154" y="3941620"/>
                <a:ext cx="3200" cy="4053"/>
                <a:chOff x="1650415" y="1908302"/>
                <a:chExt cx="5782" cy="7322"/>
              </a:xfrm>
            </p:grpSpPr>
            <p:sp>
              <p:nvSpPr>
                <p:cNvPr id="36" name="Freeform: Shape 139">
                  <a:extLst>
                    <a:ext uri="{FF2B5EF4-FFF2-40B4-BE49-F238E27FC236}">
                      <a16:creationId xmlns:a16="http://schemas.microsoft.com/office/drawing/2014/main" id="{EAE3A7E3-ACFF-F6E4-0357-72823533A1FB}"/>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37" name="Freeform: Shape 140">
                  <a:extLst>
                    <a:ext uri="{FF2B5EF4-FFF2-40B4-BE49-F238E27FC236}">
                      <a16:creationId xmlns:a16="http://schemas.microsoft.com/office/drawing/2014/main" id="{52A475D2-FED1-7F3C-9EB6-6A5BB6C96BA3}"/>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32" name="Group 138">
                <a:extLst>
                  <a:ext uri="{FF2B5EF4-FFF2-40B4-BE49-F238E27FC236}">
                    <a16:creationId xmlns:a16="http://schemas.microsoft.com/office/drawing/2014/main" id="{AE7CE089-500A-7597-F207-49C53AA71192}"/>
                  </a:ext>
                </a:extLst>
              </p:cNvPr>
              <p:cNvGrpSpPr/>
              <p:nvPr/>
            </p:nvGrpSpPr>
            <p:grpSpPr>
              <a:xfrm>
                <a:off x="3163895" y="5885837"/>
                <a:ext cx="3200" cy="4053"/>
                <a:chOff x="1650415" y="1908302"/>
                <a:chExt cx="5782" cy="7322"/>
              </a:xfrm>
            </p:grpSpPr>
            <p:sp>
              <p:nvSpPr>
                <p:cNvPr id="33" name="Freeform: Shape 139">
                  <a:extLst>
                    <a:ext uri="{FF2B5EF4-FFF2-40B4-BE49-F238E27FC236}">
                      <a16:creationId xmlns:a16="http://schemas.microsoft.com/office/drawing/2014/main" id="{719056BC-E7E9-8B14-D1D8-9617CBD3A39B}"/>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34" name="Freeform: Shape 140">
                  <a:extLst>
                    <a:ext uri="{FF2B5EF4-FFF2-40B4-BE49-F238E27FC236}">
                      <a16:creationId xmlns:a16="http://schemas.microsoft.com/office/drawing/2014/main" id="{E2F610D3-1F9C-64A1-FAFA-9368C70E8E09}"/>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grpSp>
      <p:sp>
        <p:nvSpPr>
          <p:cNvPr id="42" name="Ellipse 41">
            <a:extLst>
              <a:ext uri="{FF2B5EF4-FFF2-40B4-BE49-F238E27FC236}">
                <a16:creationId xmlns:a16="http://schemas.microsoft.com/office/drawing/2014/main" id="{573B83B7-C02F-544F-CEED-F7D6FFD62638}"/>
              </a:ext>
            </a:extLst>
          </p:cNvPr>
          <p:cNvSpPr/>
          <p:nvPr/>
        </p:nvSpPr>
        <p:spPr>
          <a:xfrm>
            <a:off x="3869328" y="5285803"/>
            <a:ext cx="4212718" cy="791034"/>
          </a:xfrm>
          <a:prstGeom prst="ellipse">
            <a:avLst/>
          </a:prstGeom>
          <a:solidFill>
            <a:srgbClr val="FBBA00"/>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Übertragung </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Pensionsverpflichtung </a:t>
            </a:r>
            <a:endParaRPr kumimoji="0" lang="de-DE" sz="1400" b="0" i="0" u="none" strike="noStrike" kern="0" cap="none" spc="0" normalizeH="0" baseline="0" noProof="0" dirty="0">
              <a:ln>
                <a:noFill/>
              </a:ln>
              <a:solidFill>
                <a:srgbClr val="000000"/>
              </a:solidFill>
              <a:effectLst/>
              <a:uLnTx/>
              <a:uFillTx/>
              <a:latin typeface="Arial" charset="0"/>
            </a:endParaRPr>
          </a:p>
        </p:txBody>
      </p:sp>
      <p:sp>
        <p:nvSpPr>
          <p:cNvPr id="43" name="Textplatzhalter 1">
            <a:extLst>
              <a:ext uri="{FF2B5EF4-FFF2-40B4-BE49-F238E27FC236}">
                <a16:creationId xmlns:a16="http://schemas.microsoft.com/office/drawing/2014/main" id="{1449DBA1-C01B-B7E3-A842-0D2C3117AB3A}"/>
              </a:ext>
            </a:extLst>
          </p:cNvPr>
          <p:cNvSpPr txBox="1">
            <a:spLocks/>
          </p:cNvSpPr>
          <p:nvPr/>
        </p:nvSpPr>
        <p:spPr>
          <a:xfrm>
            <a:off x="9795660" y="4676103"/>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45" name="Rechteck 44">
            <a:extLst>
              <a:ext uri="{FF2B5EF4-FFF2-40B4-BE49-F238E27FC236}">
                <a16:creationId xmlns:a16="http://schemas.microsoft.com/office/drawing/2014/main" id="{001B7FFC-5C5A-CE59-5F8C-96D73C3F27F6}"/>
              </a:ext>
            </a:extLst>
          </p:cNvPr>
          <p:cNvSpPr/>
          <p:nvPr/>
        </p:nvSpPr>
        <p:spPr>
          <a:xfrm>
            <a:off x="7916522" y="4597606"/>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lang="de-DE" sz="1400" b="1" kern="0" dirty="0">
                <a:solidFill>
                  <a:srgbClr val="000000"/>
                </a:solidFill>
                <a:latin typeface="Arial" charset="0"/>
              </a:rPr>
              <a:t>B</a:t>
            </a:r>
            <a:r>
              <a:rPr kumimoji="0" lang="de-DE" sz="1400" b="1" i="0" u="none" strike="noStrike" kern="0" cap="none" spc="0" normalizeH="0" baseline="0" noProof="0" dirty="0">
                <a:ln>
                  <a:noFill/>
                </a:ln>
                <a:solidFill>
                  <a:srgbClr val="000000"/>
                </a:solidFill>
                <a:effectLst/>
                <a:uLnTx/>
                <a:uFillTx/>
                <a:latin typeface="Arial" charset="0"/>
              </a:rPr>
              <a:t>-GmbH</a:t>
            </a:r>
          </a:p>
        </p:txBody>
      </p:sp>
      <p:sp>
        <p:nvSpPr>
          <p:cNvPr id="44" name="Nach oben gekrümmter Pfeil 26">
            <a:extLst>
              <a:ext uri="{FF2B5EF4-FFF2-40B4-BE49-F238E27FC236}">
                <a16:creationId xmlns:a16="http://schemas.microsoft.com/office/drawing/2014/main" id="{38E26980-9676-E1EA-CE47-2EEDBF4B78E3}"/>
              </a:ext>
            </a:extLst>
          </p:cNvPr>
          <p:cNvSpPr/>
          <p:nvPr/>
        </p:nvSpPr>
        <p:spPr>
          <a:xfrm>
            <a:off x="3038016" y="5120329"/>
            <a:ext cx="6115968" cy="1121982"/>
          </a:xfrm>
          <a:prstGeom prst="curvedUp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48" name="Pfeil nach unten 91">
            <a:extLst>
              <a:ext uri="{FF2B5EF4-FFF2-40B4-BE49-F238E27FC236}">
                <a16:creationId xmlns:a16="http://schemas.microsoft.com/office/drawing/2014/main" id="{A53D7931-F229-50A0-3A49-DD7FBDED9FE2}"/>
              </a:ext>
            </a:extLst>
          </p:cNvPr>
          <p:cNvSpPr/>
          <p:nvPr/>
        </p:nvSpPr>
        <p:spPr>
          <a:xfrm rot="17227272">
            <a:off x="5452411" y="1476703"/>
            <a:ext cx="290777" cy="4904335"/>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52" name="Oval 551">
            <a:extLst>
              <a:ext uri="{FF2B5EF4-FFF2-40B4-BE49-F238E27FC236}">
                <a16:creationId xmlns:a16="http://schemas.microsoft.com/office/drawing/2014/main" id="{DDB439A0-227A-8404-93C3-2246663101A8}"/>
              </a:ext>
            </a:extLst>
          </p:cNvPr>
          <p:cNvSpPr/>
          <p:nvPr/>
        </p:nvSpPr>
        <p:spPr>
          <a:xfrm>
            <a:off x="9153984" y="5370961"/>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53" name="Graphic 315">
            <a:extLst>
              <a:ext uri="{FF2B5EF4-FFF2-40B4-BE49-F238E27FC236}">
                <a16:creationId xmlns:a16="http://schemas.microsoft.com/office/drawing/2014/main" id="{EF7CE853-38DC-1119-5B2D-015CD2E8511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77282" y="5454199"/>
            <a:ext cx="208971" cy="291688"/>
          </a:xfrm>
          <a:prstGeom prst="rect">
            <a:avLst/>
          </a:prstGeom>
          <a:solidFill>
            <a:srgbClr val="FBBA00"/>
          </a:solidFill>
        </p:spPr>
      </p:pic>
      <p:sp>
        <p:nvSpPr>
          <p:cNvPr id="54" name="7 CuadroTexto">
            <a:extLst>
              <a:ext uri="{FF2B5EF4-FFF2-40B4-BE49-F238E27FC236}">
                <a16:creationId xmlns:a16="http://schemas.microsoft.com/office/drawing/2014/main" id="{B7035954-FC4F-46F9-2D66-BED3020F0BA2}"/>
              </a:ext>
            </a:extLst>
          </p:cNvPr>
          <p:cNvSpPr txBox="1"/>
          <p:nvPr/>
        </p:nvSpPr>
        <p:spPr>
          <a:xfrm>
            <a:off x="9542876" y="5398529"/>
            <a:ext cx="8647285" cy="375359"/>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T€ 400 </a:t>
            </a:r>
            <a:endParaRPr lang="de-DE"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652516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9AD3CE-5A9A-7735-9159-65E3BC9FF1E6}"/>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033FFC9E-8EEE-6AE3-C953-8B8E56D4601A}"/>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Übertrag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Rentner-GmbH”</a:t>
            </a:r>
          </a:p>
        </p:txBody>
      </p:sp>
      <p:sp>
        <p:nvSpPr>
          <p:cNvPr id="18" name="Freeform: Shape 142">
            <a:extLst>
              <a:ext uri="{FF2B5EF4-FFF2-40B4-BE49-F238E27FC236}">
                <a16:creationId xmlns:a16="http://schemas.microsoft.com/office/drawing/2014/main" id="{817F8736-16D5-52E2-413F-8D66BE3FFF53}"/>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AFF3182B-703B-7E62-758D-4AFF9F68D8AE}"/>
              </a:ext>
            </a:extLst>
          </p:cNvPr>
          <p:cNvSpPr txBox="1"/>
          <p:nvPr/>
        </p:nvSpPr>
        <p:spPr>
          <a:xfrm>
            <a:off x="1487314" y="2224047"/>
            <a:ext cx="8647285" cy="1668277"/>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rPr>
              <a:t>Steuerliche Folgen bei </a:t>
            </a:r>
            <a:r>
              <a:rPr lang="de-DE" sz="1400" b="1" dirty="0">
                <a:latin typeface="Segoe UI" panose="020B0502040204020203" pitchFamily="34" charset="0"/>
                <a:cs typeface="Segoe UI" panose="020B0502040204020203" pitchFamily="34" charset="0"/>
              </a:rPr>
              <a:t>A</a:t>
            </a:r>
            <a:r>
              <a:rPr lang="de-DE" sz="1400" dirty="0">
                <a:latin typeface="Segoe UI" panose="020B0502040204020203" pitchFamily="34" charset="0"/>
                <a:cs typeface="Segoe UI" panose="020B0502040204020203" pitchFamily="34" charset="0"/>
              </a:rPr>
              <a:t>  </a:t>
            </a:r>
            <a:endParaRPr lang="de-DE" sz="1400" dirty="0">
              <a:latin typeface="Segoe UI" panose="020B0502040204020203" pitchFamily="34" charset="0"/>
              <a:cs typeface="Segoe UI" panose="020B0502040204020203" pitchFamily="34" charset="0"/>
              <a:sym typeface="Wingdings" panose="05000000000000000000" pitchFamily="2" charset="2"/>
            </a:endParaRP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Steuerneutrale Übertragung möglich, darf nicht auf Verlangen des Arbeitnehmers erfolgen, sondern auf Verlangen des Arbeitgebers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Personenidentität“ bei Gesellschafter-Geschäftsführern: Fokus darauf legen, wer handelt und genau formulieren  im Zweifel auch vorherige Abstimmung mit der Finanzverwaltung anzuraten </a:t>
            </a:r>
          </a:p>
        </p:txBody>
      </p:sp>
      <p:sp>
        <p:nvSpPr>
          <p:cNvPr id="8" name="Plus Sign 6">
            <a:extLst>
              <a:ext uri="{FF2B5EF4-FFF2-40B4-BE49-F238E27FC236}">
                <a16:creationId xmlns:a16="http://schemas.microsoft.com/office/drawing/2014/main" id="{4771F7CC-052F-BA40-4712-11DCBB31452C}"/>
              </a:ext>
            </a:extLst>
          </p:cNvPr>
          <p:cNvSpPr/>
          <p:nvPr/>
        </p:nvSpPr>
        <p:spPr bwMode="auto">
          <a:xfrm>
            <a:off x="1096689" y="4447839"/>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Tree>
    <p:extLst>
      <p:ext uri="{BB962C8B-B14F-4D97-AF65-F5344CB8AC3E}">
        <p14:creationId xmlns:p14="http://schemas.microsoft.com/office/powerpoint/2010/main" val="157620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DFAA0F-FB69-610F-BBAA-34BB81FD9996}"/>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D3A24330-9D1F-B135-E7FC-30CAF3BEC79C}"/>
              </a:ext>
            </a:extLst>
          </p:cNvPr>
          <p:cNvSpPr txBox="1"/>
          <p:nvPr/>
        </p:nvSpPr>
        <p:spPr>
          <a:xfrm>
            <a:off x="1670424" y="1093846"/>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Übertrag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Rentner-GmbH”</a:t>
            </a:r>
          </a:p>
        </p:txBody>
      </p:sp>
      <p:sp>
        <p:nvSpPr>
          <p:cNvPr id="18" name="Freeform: Shape 142">
            <a:extLst>
              <a:ext uri="{FF2B5EF4-FFF2-40B4-BE49-F238E27FC236}">
                <a16:creationId xmlns:a16="http://schemas.microsoft.com/office/drawing/2014/main" id="{59619452-1A0B-2A61-D766-4895FA2449A6}"/>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FDABABF1-DB9F-5D92-9E50-961FDD612E80}"/>
              </a:ext>
            </a:extLst>
          </p:cNvPr>
          <p:cNvSpPr txBox="1"/>
          <p:nvPr/>
        </p:nvSpPr>
        <p:spPr>
          <a:xfrm>
            <a:off x="1487314" y="2224047"/>
            <a:ext cx="8647285" cy="4576509"/>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rPr>
              <a:t>Steuerliche Folgen bei </a:t>
            </a:r>
            <a:r>
              <a:rPr lang="de-DE" sz="1400" b="1" dirty="0">
                <a:latin typeface="Segoe UI" panose="020B0502040204020203" pitchFamily="34" charset="0"/>
                <a:cs typeface="Segoe UI" panose="020B0502040204020203" pitchFamily="34" charset="0"/>
              </a:rPr>
              <a:t>A-GmbH</a:t>
            </a:r>
            <a:endParaRPr lang="de-DE" sz="1400" b="1" dirty="0">
              <a:latin typeface="Segoe UI" panose="020B0502040204020203" pitchFamily="34" charset="0"/>
              <a:cs typeface="Segoe UI" panose="020B0502040204020203" pitchFamily="34" charset="0"/>
              <a:sym typeface="Wingdings" panose="05000000000000000000" pitchFamily="2" charset="2"/>
            </a:endParaRP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Rückstellung von T€ 300 wird ausgebucht  Ertrag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Bankguthaben von T€ 400 wird ausgebucht  Aufwand </a:t>
            </a:r>
          </a:p>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	 per Saldo T€ 100 Aufwand  </a:t>
            </a:r>
          </a:p>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	 dieser übersteigende Aufwand </a:t>
            </a:r>
            <a:r>
              <a:rPr lang="de-DE" sz="1400" i="1" dirty="0">
                <a:latin typeface="Segoe UI" panose="020B0502040204020203" pitchFamily="34" charset="0"/>
                <a:cs typeface="Segoe UI" panose="020B0502040204020203" pitchFamily="34" charset="0"/>
                <a:sym typeface="Wingdings" panose="05000000000000000000" pitchFamily="2" charset="2"/>
              </a:rPr>
              <a:t>muss</a:t>
            </a:r>
            <a:r>
              <a:rPr lang="de-DE" sz="1400" dirty="0">
                <a:latin typeface="Segoe UI" panose="020B0502040204020203" pitchFamily="34" charset="0"/>
                <a:cs typeface="Segoe UI" panose="020B0502040204020203" pitchFamily="34" charset="0"/>
                <a:sym typeface="Wingdings" panose="05000000000000000000" pitchFamily="2" charset="2"/>
              </a:rPr>
              <a:t> nach § 4f Abs. 1 S. 2 EStG über 15 Jahre verteilt als 		Aufwand verteilt  werden (sofern im Vorjahr der </a:t>
            </a:r>
            <a:r>
              <a:rPr lang="de-DE" sz="1400" dirty="0" err="1">
                <a:latin typeface="Segoe UI" panose="020B0502040204020203" pitchFamily="34" charset="0"/>
                <a:cs typeface="Segoe UI" panose="020B0502040204020203" pitchFamily="34" charset="0"/>
                <a:sym typeface="Wingdings" panose="05000000000000000000" pitchFamily="2" charset="2"/>
              </a:rPr>
              <a:t>st.</a:t>
            </a:r>
            <a:r>
              <a:rPr lang="de-DE" sz="1400" dirty="0">
                <a:latin typeface="Segoe UI" panose="020B0502040204020203" pitchFamily="34" charset="0"/>
                <a:cs typeface="Segoe UI" panose="020B0502040204020203" pitchFamily="34" charset="0"/>
                <a:sym typeface="Wingdings" panose="05000000000000000000" pitchFamily="2" charset="2"/>
              </a:rPr>
              <a:t> Gewinn &gt; T€ 200) </a:t>
            </a:r>
          </a:p>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r>
              <a:rPr lang="de-DE" sz="1400" dirty="0">
                <a:latin typeface="Segoe UI" panose="020B0502040204020203" pitchFamily="34" charset="0"/>
                <a:cs typeface="Segoe UI" panose="020B0502040204020203" pitchFamily="34" charset="0"/>
              </a:rPr>
              <a:t>Steuerliche Folgen bei </a:t>
            </a:r>
            <a:r>
              <a:rPr lang="de-DE" sz="1400" b="1" dirty="0">
                <a:latin typeface="Segoe UI" panose="020B0502040204020203" pitchFamily="34" charset="0"/>
                <a:cs typeface="Segoe UI" panose="020B0502040204020203" pitchFamily="34" charset="0"/>
              </a:rPr>
              <a:t>B-GmbH</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Rückstellung von T€ 300 wird eingebucht  Aufwand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Bankguthaben von T€ 400 wird eingebucht  Ertrag  </a:t>
            </a:r>
          </a:p>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	 per Saldo T€ 100 Ertrag   </a:t>
            </a:r>
          </a:p>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	 dieser übersteigende Ertrag </a:t>
            </a:r>
            <a:r>
              <a:rPr lang="de-DE" sz="1400" i="1" dirty="0">
                <a:latin typeface="Segoe UI" panose="020B0502040204020203" pitchFamily="34" charset="0"/>
                <a:cs typeface="Segoe UI" panose="020B0502040204020203" pitchFamily="34" charset="0"/>
                <a:sym typeface="Wingdings" panose="05000000000000000000" pitchFamily="2" charset="2"/>
              </a:rPr>
              <a:t>darf</a:t>
            </a:r>
            <a:r>
              <a:rPr lang="de-DE" sz="1400" dirty="0">
                <a:latin typeface="Segoe UI" panose="020B0502040204020203" pitchFamily="34" charset="0"/>
                <a:cs typeface="Segoe UI" panose="020B0502040204020203" pitchFamily="34" charset="0"/>
                <a:sym typeface="Wingdings" panose="05000000000000000000" pitchFamily="2" charset="2"/>
              </a:rPr>
              <a:t> über 15 Jahre verteilt werden </a:t>
            </a:r>
          </a:p>
          <a:p>
            <a:pPr>
              <a:lnSpc>
                <a:spcPct val="150000"/>
              </a:lnSpc>
            </a:pPr>
            <a:endParaRPr lang="de-DE" sz="1400" b="1"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p:txBody>
      </p:sp>
      <p:sp>
        <p:nvSpPr>
          <p:cNvPr id="8" name="Plus Sign 6">
            <a:extLst>
              <a:ext uri="{FF2B5EF4-FFF2-40B4-BE49-F238E27FC236}">
                <a16:creationId xmlns:a16="http://schemas.microsoft.com/office/drawing/2014/main" id="{F23871CC-8BFC-D1AA-B90B-DFD68C11D3B6}"/>
              </a:ext>
            </a:extLst>
          </p:cNvPr>
          <p:cNvSpPr/>
          <p:nvPr/>
        </p:nvSpPr>
        <p:spPr bwMode="auto">
          <a:xfrm>
            <a:off x="1096689" y="4447839"/>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Tree>
    <p:extLst>
      <p:ext uri="{BB962C8B-B14F-4D97-AF65-F5344CB8AC3E}">
        <p14:creationId xmlns:p14="http://schemas.microsoft.com/office/powerpoint/2010/main" val="392288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fade">
                                      <p:cBhvr>
                                        <p:cTn id="27" dur="500"/>
                                        <p:tgtEl>
                                          <p:spTgt spid="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6" end="6"/>
                                            </p:txEl>
                                          </p:spTgt>
                                        </p:tgtEl>
                                        <p:attrNameLst>
                                          <p:attrName>style.visibility</p:attrName>
                                        </p:attrNameLst>
                                      </p:cBhvr>
                                      <p:to>
                                        <p:strVal val="visible"/>
                                      </p:to>
                                    </p:set>
                                    <p:animEffect transition="in" filter="fade">
                                      <p:cBhvr>
                                        <p:cTn id="32" dur="500"/>
                                        <p:tgtEl>
                                          <p:spTgt spid="6">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
                                            <p:txEl>
                                              <p:pRg st="7" end="7"/>
                                            </p:txEl>
                                          </p:spTgt>
                                        </p:tgtEl>
                                        <p:attrNameLst>
                                          <p:attrName>style.visibility</p:attrName>
                                        </p:attrNameLst>
                                      </p:cBhvr>
                                      <p:to>
                                        <p:strVal val="visible"/>
                                      </p:to>
                                    </p:set>
                                    <p:animEffect transition="in" filter="fade">
                                      <p:cBhvr>
                                        <p:cTn id="37" dur="500"/>
                                        <p:tgtEl>
                                          <p:spTgt spid="6">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
                                            <p:txEl>
                                              <p:pRg st="8" end="8"/>
                                            </p:txEl>
                                          </p:spTgt>
                                        </p:tgtEl>
                                        <p:attrNameLst>
                                          <p:attrName>style.visibility</p:attrName>
                                        </p:attrNameLst>
                                      </p:cBhvr>
                                      <p:to>
                                        <p:strVal val="visible"/>
                                      </p:to>
                                    </p:set>
                                    <p:animEffect transition="in" filter="fade">
                                      <p:cBhvr>
                                        <p:cTn id="42" dur="500"/>
                                        <p:tgtEl>
                                          <p:spTgt spid="6">
                                            <p:txEl>
                                              <p:pRg st="8" end="8"/>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6">
                                            <p:txEl>
                                              <p:pRg st="9" end="9"/>
                                            </p:txEl>
                                          </p:spTgt>
                                        </p:tgtEl>
                                        <p:attrNameLst>
                                          <p:attrName>style.visibility</p:attrName>
                                        </p:attrNameLst>
                                      </p:cBhvr>
                                      <p:to>
                                        <p:strVal val="visible"/>
                                      </p:to>
                                    </p:set>
                                    <p:animEffect transition="in" filter="fade">
                                      <p:cBhvr>
                                        <p:cTn id="47" dur="500"/>
                                        <p:tgtEl>
                                          <p:spTgt spid="6">
                                            <p:txEl>
                                              <p:pRg st="9" end="9"/>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6">
                                            <p:txEl>
                                              <p:pRg st="10" end="10"/>
                                            </p:txEl>
                                          </p:spTgt>
                                        </p:tgtEl>
                                        <p:attrNameLst>
                                          <p:attrName>style.visibility</p:attrName>
                                        </p:attrNameLst>
                                      </p:cBhvr>
                                      <p:to>
                                        <p:strVal val="visible"/>
                                      </p:to>
                                    </p:set>
                                    <p:animEffect transition="in" filter="fade">
                                      <p:cBhvr>
                                        <p:cTn id="52" dur="500"/>
                                        <p:tgtEl>
                                          <p:spTgt spid="6">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F3C685-A031-4496-EEF6-32AEB8332E72}"/>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E560B0C8-F5E8-3820-B352-9613E31625B4}"/>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Übertrag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Holding-</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Struktu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t>
            </a:r>
          </a:p>
        </p:txBody>
      </p:sp>
      <p:sp>
        <p:nvSpPr>
          <p:cNvPr id="18" name="Freeform: Shape 142">
            <a:extLst>
              <a:ext uri="{FF2B5EF4-FFF2-40B4-BE49-F238E27FC236}">
                <a16:creationId xmlns:a16="http://schemas.microsoft.com/office/drawing/2014/main" id="{AAB8F577-D8FD-55E6-DC40-F168E1DF0973}"/>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0B4DBA1B-210D-A75F-6711-737A771BA755}"/>
              </a:ext>
            </a:extLst>
          </p:cNvPr>
          <p:cNvSpPr txBox="1"/>
          <p:nvPr/>
        </p:nvSpPr>
        <p:spPr>
          <a:xfrm>
            <a:off x="1487314" y="2228840"/>
            <a:ext cx="8647285"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endParaRPr lang="de-DE" sz="1400" dirty="0">
              <a:latin typeface="Segoe UI" panose="020B0502040204020203" pitchFamily="34" charset="0"/>
              <a:cs typeface="Segoe UI" panose="020B0502040204020203" pitchFamily="34" charset="0"/>
            </a:endParaRPr>
          </a:p>
        </p:txBody>
      </p:sp>
      <p:sp>
        <p:nvSpPr>
          <p:cNvPr id="8" name="Plus Sign 6">
            <a:extLst>
              <a:ext uri="{FF2B5EF4-FFF2-40B4-BE49-F238E27FC236}">
                <a16:creationId xmlns:a16="http://schemas.microsoft.com/office/drawing/2014/main" id="{83CBD7D6-B7DD-2EB3-7553-24817190D8AA}"/>
              </a:ext>
            </a:extLst>
          </p:cNvPr>
          <p:cNvSpPr/>
          <p:nvPr/>
        </p:nvSpPr>
        <p:spPr bwMode="auto">
          <a:xfrm>
            <a:off x="1096689" y="4447839"/>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 name="Rechteck 1">
            <a:extLst>
              <a:ext uri="{FF2B5EF4-FFF2-40B4-BE49-F238E27FC236}">
                <a16:creationId xmlns:a16="http://schemas.microsoft.com/office/drawing/2014/main" id="{CC49AB1C-07FB-9CCD-FE49-9F6CA2E4FAA0}"/>
              </a:ext>
            </a:extLst>
          </p:cNvPr>
          <p:cNvSpPr/>
          <p:nvPr/>
        </p:nvSpPr>
        <p:spPr>
          <a:xfrm>
            <a:off x="2239845" y="4597606"/>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3" name="Textplatzhalter 1">
            <a:extLst>
              <a:ext uri="{FF2B5EF4-FFF2-40B4-BE49-F238E27FC236}">
                <a16:creationId xmlns:a16="http://schemas.microsoft.com/office/drawing/2014/main" id="{CCD8D103-1ADB-0A75-FDE1-CE15834105E8}"/>
              </a:ext>
            </a:extLst>
          </p:cNvPr>
          <p:cNvSpPr txBox="1">
            <a:spLocks/>
          </p:cNvSpPr>
          <p:nvPr/>
        </p:nvSpPr>
        <p:spPr>
          <a:xfrm>
            <a:off x="555070" y="4676103"/>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4" name="Textplatzhalter 1">
            <a:extLst>
              <a:ext uri="{FF2B5EF4-FFF2-40B4-BE49-F238E27FC236}">
                <a16:creationId xmlns:a16="http://schemas.microsoft.com/office/drawing/2014/main" id="{5F9F439B-75BA-649B-DE10-52209F4A2F15}"/>
              </a:ext>
            </a:extLst>
          </p:cNvPr>
          <p:cNvSpPr txBox="1">
            <a:spLocks/>
          </p:cNvSpPr>
          <p:nvPr/>
        </p:nvSpPr>
        <p:spPr>
          <a:xfrm>
            <a:off x="555070" y="2759052"/>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5" name="Gruppieren 4">
            <a:extLst>
              <a:ext uri="{FF2B5EF4-FFF2-40B4-BE49-F238E27FC236}">
                <a16:creationId xmlns:a16="http://schemas.microsoft.com/office/drawing/2014/main" id="{C2F2E32A-61A4-B897-A6BF-3E9BFAF09504}"/>
              </a:ext>
            </a:extLst>
          </p:cNvPr>
          <p:cNvGrpSpPr/>
          <p:nvPr/>
        </p:nvGrpSpPr>
        <p:grpSpPr>
          <a:xfrm>
            <a:off x="2235211" y="2908777"/>
            <a:ext cx="1405717" cy="3985406"/>
            <a:chOff x="2462777" y="1904484"/>
            <a:chExt cx="1405717" cy="3985406"/>
          </a:xfrm>
        </p:grpSpPr>
        <p:grpSp>
          <p:nvGrpSpPr>
            <p:cNvPr id="7" name="Group 138">
              <a:extLst>
                <a:ext uri="{FF2B5EF4-FFF2-40B4-BE49-F238E27FC236}">
                  <a16:creationId xmlns:a16="http://schemas.microsoft.com/office/drawing/2014/main" id="{521F2446-A81A-CEC7-B295-50893B7488ED}"/>
                </a:ext>
              </a:extLst>
            </p:cNvPr>
            <p:cNvGrpSpPr/>
            <p:nvPr/>
          </p:nvGrpSpPr>
          <p:grpSpPr>
            <a:xfrm>
              <a:off x="2934725" y="1904484"/>
              <a:ext cx="461820" cy="461820"/>
              <a:chOff x="1236144" y="1532568"/>
              <a:chExt cx="834324" cy="834324"/>
            </a:xfrm>
          </p:grpSpPr>
          <p:sp>
            <p:nvSpPr>
              <p:cNvPr id="20" name="Freeform: Shape 139">
                <a:extLst>
                  <a:ext uri="{FF2B5EF4-FFF2-40B4-BE49-F238E27FC236}">
                    <a16:creationId xmlns:a16="http://schemas.microsoft.com/office/drawing/2014/main" id="{36180785-604A-34C0-7FDE-54FCA66A954F}"/>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1" name="Freeform: Shape 140">
                <a:extLst>
                  <a:ext uri="{FF2B5EF4-FFF2-40B4-BE49-F238E27FC236}">
                    <a16:creationId xmlns:a16="http://schemas.microsoft.com/office/drawing/2014/main" id="{0FBFCCF8-C2CD-6097-DED1-271BCB5ADDFB}"/>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2" name="Oval 157">
                <a:extLst>
                  <a:ext uri="{FF2B5EF4-FFF2-40B4-BE49-F238E27FC236}">
                    <a16:creationId xmlns:a16="http://schemas.microsoft.com/office/drawing/2014/main" id="{012D972D-91A4-3423-EAA1-4DAA3D26C1A8}"/>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23" name="Freeform: Shape 142">
                <a:extLst>
                  <a:ext uri="{FF2B5EF4-FFF2-40B4-BE49-F238E27FC236}">
                    <a16:creationId xmlns:a16="http://schemas.microsoft.com/office/drawing/2014/main" id="{0DB66923-F0EA-C2C2-5759-8E1DE4C0A3F2}"/>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9" name="Gruppieren 8">
              <a:extLst>
                <a:ext uri="{FF2B5EF4-FFF2-40B4-BE49-F238E27FC236}">
                  <a16:creationId xmlns:a16="http://schemas.microsoft.com/office/drawing/2014/main" id="{6AD765DD-72B5-1EF2-9A59-8DFC07CE3C5A}"/>
                </a:ext>
              </a:extLst>
            </p:cNvPr>
            <p:cNvGrpSpPr/>
            <p:nvPr/>
          </p:nvGrpSpPr>
          <p:grpSpPr>
            <a:xfrm>
              <a:off x="2462777" y="2379623"/>
              <a:ext cx="1405717" cy="3510267"/>
              <a:chOff x="2462777" y="2379623"/>
              <a:chExt cx="1405717" cy="3510267"/>
            </a:xfrm>
          </p:grpSpPr>
          <p:sp>
            <p:nvSpPr>
              <p:cNvPr id="10" name="Textfeld 9">
                <a:extLst>
                  <a:ext uri="{FF2B5EF4-FFF2-40B4-BE49-F238E27FC236}">
                    <a16:creationId xmlns:a16="http://schemas.microsoft.com/office/drawing/2014/main" id="{2AA9227D-8B40-91E4-9950-60F9985FAE16}"/>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1" name="Pfeil nach unten 91">
                <a:extLst>
                  <a:ext uri="{FF2B5EF4-FFF2-40B4-BE49-F238E27FC236}">
                    <a16:creationId xmlns:a16="http://schemas.microsoft.com/office/drawing/2014/main" id="{61CEAFD0-2D95-8FE2-D1EC-9242A1E82E60}"/>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nvGrpSpPr>
              <p:cNvPr id="12" name="Group 138">
                <a:extLst>
                  <a:ext uri="{FF2B5EF4-FFF2-40B4-BE49-F238E27FC236}">
                    <a16:creationId xmlns:a16="http://schemas.microsoft.com/office/drawing/2014/main" id="{E48B0C0F-D876-99C4-1132-6E55D8C416AA}"/>
                  </a:ext>
                </a:extLst>
              </p:cNvPr>
              <p:cNvGrpSpPr/>
              <p:nvPr/>
            </p:nvGrpSpPr>
            <p:grpSpPr>
              <a:xfrm>
                <a:off x="3158154" y="3941620"/>
                <a:ext cx="3200" cy="4053"/>
                <a:chOff x="1650415" y="1908302"/>
                <a:chExt cx="5782" cy="7322"/>
              </a:xfrm>
            </p:grpSpPr>
            <p:sp>
              <p:nvSpPr>
                <p:cNvPr id="17" name="Freeform: Shape 139">
                  <a:extLst>
                    <a:ext uri="{FF2B5EF4-FFF2-40B4-BE49-F238E27FC236}">
                      <a16:creationId xmlns:a16="http://schemas.microsoft.com/office/drawing/2014/main" id="{E898DD7A-5F33-51B6-93B8-E17BD10FE329}"/>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9" name="Freeform: Shape 140">
                  <a:extLst>
                    <a:ext uri="{FF2B5EF4-FFF2-40B4-BE49-F238E27FC236}">
                      <a16:creationId xmlns:a16="http://schemas.microsoft.com/office/drawing/2014/main" id="{00D89377-6641-96EB-C463-5E410976B308}"/>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13" name="Group 138">
                <a:extLst>
                  <a:ext uri="{FF2B5EF4-FFF2-40B4-BE49-F238E27FC236}">
                    <a16:creationId xmlns:a16="http://schemas.microsoft.com/office/drawing/2014/main" id="{40EE4DAF-77CE-FA3C-F5D5-338FFFB8861F}"/>
                  </a:ext>
                </a:extLst>
              </p:cNvPr>
              <p:cNvGrpSpPr/>
              <p:nvPr/>
            </p:nvGrpSpPr>
            <p:grpSpPr>
              <a:xfrm>
                <a:off x="3163895" y="5885837"/>
                <a:ext cx="3200" cy="4053"/>
                <a:chOff x="1650415" y="1908302"/>
                <a:chExt cx="5782" cy="7322"/>
              </a:xfrm>
            </p:grpSpPr>
            <p:sp>
              <p:nvSpPr>
                <p:cNvPr id="14" name="Freeform: Shape 139">
                  <a:extLst>
                    <a:ext uri="{FF2B5EF4-FFF2-40B4-BE49-F238E27FC236}">
                      <a16:creationId xmlns:a16="http://schemas.microsoft.com/office/drawing/2014/main" id="{5CCB6512-F18A-17B6-DCC0-9FA90B690988}"/>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5" name="Freeform: Shape 140">
                  <a:extLst>
                    <a:ext uri="{FF2B5EF4-FFF2-40B4-BE49-F238E27FC236}">
                      <a16:creationId xmlns:a16="http://schemas.microsoft.com/office/drawing/2014/main" id="{07A7DA9B-6630-0A8D-BDC1-802E7F1D14E1}"/>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grpSp>
    </p:spTree>
    <p:extLst>
      <p:ext uri="{BB962C8B-B14F-4D97-AF65-F5344CB8AC3E}">
        <p14:creationId xmlns:p14="http://schemas.microsoft.com/office/powerpoint/2010/main" val="1518308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3EB08C-B3E2-DE02-60DF-8C222623338B}"/>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98228BCD-A0A3-CE65-E2D4-88C93585B3E0}"/>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Übertrag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Holding-</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Struktu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t>
            </a:r>
          </a:p>
        </p:txBody>
      </p:sp>
      <p:sp>
        <p:nvSpPr>
          <p:cNvPr id="18" name="Freeform: Shape 142">
            <a:extLst>
              <a:ext uri="{FF2B5EF4-FFF2-40B4-BE49-F238E27FC236}">
                <a16:creationId xmlns:a16="http://schemas.microsoft.com/office/drawing/2014/main" id="{4A6A6B19-747D-A6E2-7078-780D6274AE87}"/>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AD8089C0-4054-0EBB-AB6F-45A5A6808A4C}"/>
              </a:ext>
            </a:extLst>
          </p:cNvPr>
          <p:cNvSpPr txBox="1"/>
          <p:nvPr/>
        </p:nvSpPr>
        <p:spPr>
          <a:xfrm>
            <a:off x="1487314" y="2228840"/>
            <a:ext cx="8647285"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endParaRPr lang="de-DE" sz="1400" dirty="0">
              <a:latin typeface="Segoe UI" panose="020B0502040204020203" pitchFamily="34" charset="0"/>
              <a:cs typeface="Segoe UI" panose="020B0502040204020203" pitchFamily="34" charset="0"/>
            </a:endParaRPr>
          </a:p>
        </p:txBody>
      </p:sp>
      <p:sp>
        <p:nvSpPr>
          <p:cNvPr id="8" name="Plus Sign 6">
            <a:extLst>
              <a:ext uri="{FF2B5EF4-FFF2-40B4-BE49-F238E27FC236}">
                <a16:creationId xmlns:a16="http://schemas.microsoft.com/office/drawing/2014/main" id="{23D08D63-DBF6-D5DA-126A-B724314560E8}"/>
              </a:ext>
            </a:extLst>
          </p:cNvPr>
          <p:cNvSpPr/>
          <p:nvPr/>
        </p:nvSpPr>
        <p:spPr bwMode="auto">
          <a:xfrm>
            <a:off x="1096689" y="4447839"/>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 name="Rechteck 1">
            <a:extLst>
              <a:ext uri="{FF2B5EF4-FFF2-40B4-BE49-F238E27FC236}">
                <a16:creationId xmlns:a16="http://schemas.microsoft.com/office/drawing/2014/main" id="{0F0FC960-5317-10A4-873A-ABD1CC303328}"/>
              </a:ext>
            </a:extLst>
          </p:cNvPr>
          <p:cNvSpPr/>
          <p:nvPr/>
        </p:nvSpPr>
        <p:spPr>
          <a:xfrm>
            <a:off x="4891046" y="3716560"/>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Holding GmbH</a:t>
            </a:r>
          </a:p>
        </p:txBody>
      </p:sp>
      <p:sp>
        <p:nvSpPr>
          <p:cNvPr id="3" name="Textplatzhalter 1">
            <a:extLst>
              <a:ext uri="{FF2B5EF4-FFF2-40B4-BE49-F238E27FC236}">
                <a16:creationId xmlns:a16="http://schemas.microsoft.com/office/drawing/2014/main" id="{764134CC-EFBE-90E7-65B0-C6E73D4BE65B}"/>
              </a:ext>
            </a:extLst>
          </p:cNvPr>
          <p:cNvSpPr txBox="1">
            <a:spLocks/>
          </p:cNvSpPr>
          <p:nvPr/>
        </p:nvSpPr>
        <p:spPr>
          <a:xfrm>
            <a:off x="3507265" y="5449855"/>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4" name="Textplatzhalter 1">
            <a:extLst>
              <a:ext uri="{FF2B5EF4-FFF2-40B4-BE49-F238E27FC236}">
                <a16:creationId xmlns:a16="http://schemas.microsoft.com/office/drawing/2014/main" id="{3244D510-07BD-B074-6D20-4220E3ED83F8}"/>
              </a:ext>
            </a:extLst>
          </p:cNvPr>
          <p:cNvSpPr txBox="1">
            <a:spLocks/>
          </p:cNvSpPr>
          <p:nvPr/>
        </p:nvSpPr>
        <p:spPr>
          <a:xfrm>
            <a:off x="3460238" y="1997091"/>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5" name="Gruppieren 4">
            <a:extLst>
              <a:ext uri="{FF2B5EF4-FFF2-40B4-BE49-F238E27FC236}">
                <a16:creationId xmlns:a16="http://schemas.microsoft.com/office/drawing/2014/main" id="{FC0DB183-752E-F2D0-4DC9-247F250D5AB7}"/>
              </a:ext>
            </a:extLst>
          </p:cNvPr>
          <p:cNvGrpSpPr/>
          <p:nvPr/>
        </p:nvGrpSpPr>
        <p:grpSpPr>
          <a:xfrm>
            <a:off x="5108097" y="1933417"/>
            <a:ext cx="1405717" cy="1714892"/>
            <a:chOff x="2462777" y="1904484"/>
            <a:chExt cx="1405717" cy="1714892"/>
          </a:xfrm>
        </p:grpSpPr>
        <p:grpSp>
          <p:nvGrpSpPr>
            <p:cNvPr id="7" name="Group 138">
              <a:extLst>
                <a:ext uri="{FF2B5EF4-FFF2-40B4-BE49-F238E27FC236}">
                  <a16:creationId xmlns:a16="http://schemas.microsoft.com/office/drawing/2014/main" id="{7F66215D-8BE3-C4D3-D693-F5C87A4F4E5E}"/>
                </a:ext>
              </a:extLst>
            </p:cNvPr>
            <p:cNvGrpSpPr/>
            <p:nvPr/>
          </p:nvGrpSpPr>
          <p:grpSpPr>
            <a:xfrm>
              <a:off x="2934725" y="1904484"/>
              <a:ext cx="461820" cy="461820"/>
              <a:chOff x="1236144" y="1532568"/>
              <a:chExt cx="834324" cy="834324"/>
            </a:xfrm>
          </p:grpSpPr>
          <p:sp>
            <p:nvSpPr>
              <p:cNvPr id="20" name="Freeform: Shape 139">
                <a:extLst>
                  <a:ext uri="{FF2B5EF4-FFF2-40B4-BE49-F238E27FC236}">
                    <a16:creationId xmlns:a16="http://schemas.microsoft.com/office/drawing/2014/main" id="{95A184A0-C094-3630-2C4E-95E64D1D6EE1}"/>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1" name="Freeform: Shape 140">
                <a:extLst>
                  <a:ext uri="{FF2B5EF4-FFF2-40B4-BE49-F238E27FC236}">
                    <a16:creationId xmlns:a16="http://schemas.microsoft.com/office/drawing/2014/main" id="{58832D00-80AB-7949-1CEE-14355EFA7CCA}"/>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2" name="Oval 157">
                <a:extLst>
                  <a:ext uri="{FF2B5EF4-FFF2-40B4-BE49-F238E27FC236}">
                    <a16:creationId xmlns:a16="http://schemas.microsoft.com/office/drawing/2014/main" id="{845B1194-CAD3-139A-4D73-3522C28C5115}"/>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23" name="Freeform: Shape 142">
                <a:extLst>
                  <a:ext uri="{FF2B5EF4-FFF2-40B4-BE49-F238E27FC236}">
                    <a16:creationId xmlns:a16="http://schemas.microsoft.com/office/drawing/2014/main" id="{288A02F7-1148-1098-0668-93639F031BA0}"/>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9" name="Gruppieren 8">
              <a:extLst>
                <a:ext uri="{FF2B5EF4-FFF2-40B4-BE49-F238E27FC236}">
                  <a16:creationId xmlns:a16="http://schemas.microsoft.com/office/drawing/2014/main" id="{6AF2DC48-1948-6CD5-01B5-49F7E4865005}"/>
                </a:ext>
              </a:extLst>
            </p:cNvPr>
            <p:cNvGrpSpPr/>
            <p:nvPr/>
          </p:nvGrpSpPr>
          <p:grpSpPr>
            <a:xfrm>
              <a:off x="2462777" y="2379623"/>
              <a:ext cx="1405717" cy="1239753"/>
              <a:chOff x="2462777" y="2379623"/>
              <a:chExt cx="1405717" cy="1239753"/>
            </a:xfrm>
          </p:grpSpPr>
          <p:sp>
            <p:nvSpPr>
              <p:cNvPr id="10" name="Textfeld 9">
                <a:extLst>
                  <a:ext uri="{FF2B5EF4-FFF2-40B4-BE49-F238E27FC236}">
                    <a16:creationId xmlns:a16="http://schemas.microsoft.com/office/drawing/2014/main" id="{13F7B332-C065-6C93-483C-D3D71661379A}"/>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1" name="Pfeil nach unten 91">
                <a:extLst>
                  <a:ext uri="{FF2B5EF4-FFF2-40B4-BE49-F238E27FC236}">
                    <a16:creationId xmlns:a16="http://schemas.microsoft.com/office/drawing/2014/main" id="{DC6F4D80-F8CC-E267-6EC6-9456D5973F85}"/>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sp>
        <p:nvSpPr>
          <p:cNvPr id="24" name="Pfeil nach unten 91">
            <a:extLst>
              <a:ext uri="{FF2B5EF4-FFF2-40B4-BE49-F238E27FC236}">
                <a16:creationId xmlns:a16="http://schemas.microsoft.com/office/drawing/2014/main" id="{28537703-9CA7-59DD-6527-4C54305133DF}"/>
              </a:ext>
            </a:extLst>
          </p:cNvPr>
          <p:cNvSpPr/>
          <p:nvPr/>
        </p:nvSpPr>
        <p:spPr>
          <a:xfrm>
            <a:off x="5654899" y="4397612"/>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5" name="Rechteck 24">
            <a:extLst>
              <a:ext uri="{FF2B5EF4-FFF2-40B4-BE49-F238E27FC236}">
                <a16:creationId xmlns:a16="http://schemas.microsoft.com/office/drawing/2014/main" id="{42A27FA2-2D98-9E4C-FF12-B72D4A65EEAB}"/>
              </a:ext>
            </a:extLst>
          </p:cNvPr>
          <p:cNvSpPr/>
          <p:nvPr/>
        </p:nvSpPr>
        <p:spPr>
          <a:xfrm>
            <a:off x="4881978" y="5268855"/>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Tree>
    <p:extLst>
      <p:ext uri="{BB962C8B-B14F-4D97-AF65-F5344CB8AC3E}">
        <p14:creationId xmlns:p14="http://schemas.microsoft.com/office/powerpoint/2010/main" val="57969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D087E6-AC9D-A76E-A8B1-5CD0C5FAD23D}"/>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550448A6-5544-2901-276C-DFEE2D422229}"/>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Übertrag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Holding-</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Struktu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t>
            </a:r>
          </a:p>
        </p:txBody>
      </p:sp>
      <p:sp>
        <p:nvSpPr>
          <p:cNvPr id="18" name="Freeform: Shape 142">
            <a:extLst>
              <a:ext uri="{FF2B5EF4-FFF2-40B4-BE49-F238E27FC236}">
                <a16:creationId xmlns:a16="http://schemas.microsoft.com/office/drawing/2014/main" id="{E4C9DD9A-BCEA-3A68-2421-A73650A30A28}"/>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D893B486-5B0D-A560-BE9C-EC096B3FE675}"/>
              </a:ext>
            </a:extLst>
          </p:cNvPr>
          <p:cNvSpPr txBox="1"/>
          <p:nvPr/>
        </p:nvSpPr>
        <p:spPr>
          <a:xfrm>
            <a:off x="1487314" y="2228840"/>
            <a:ext cx="8647285"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endParaRPr lang="de-DE" sz="1400" dirty="0">
              <a:latin typeface="Segoe UI" panose="020B0502040204020203" pitchFamily="34" charset="0"/>
              <a:cs typeface="Segoe UI" panose="020B0502040204020203" pitchFamily="34" charset="0"/>
            </a:endParaRPr>
          </a:p>
        </p:txBody>
      </p:sp>
      <p:sp>
        <p:nvSpPr>
          <p:cNvPr id="8" name="Plus Sign 6">
            <a:extLst>
              <a:ext uri="{FF2B5EF4-FFF2-40B4-BE49-F238E27FC236}">
                <a16:creationId xmlns:a16="http://schemas.microsoft.com/office/drawing/2014/main" id="{BC7DD1E5-295C-8A89-8541-EC64FCDEF081}"/>
              </a:ext>
            </a:extLst>
          </p:cNvPr>
          <p:cNvSpPr/>
          <p:nvPr/>
        </p:nvSpPr>
        <p:spPr bwMode="auto">
          <a:xfrm>
            <a:off x="1096689" y="4447839"/>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 name="Rechteck 1">
            <a:extLst>
              <a:ext uri="{FF2B5EF4-FFF2-40B4-BE49-F238E27FC236}">
                <a16:creationId xmlns:a16="http://schemas.microsoft.com/office/drawing/2014/main" id="{EA46AC89-31D6-253F-17FB-DEC37641221F}"/>
              </a:ext>
            </a:extLst>
          </p:cNvPr>
          <p:cNvSpPr/>
          <p:nvPr/>
        </p:nvSpPr>
        <p:spPr>
          <a:xfrm>
            <a:off x="4891046" y="3716560"/>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Holding GmbH</a:t>
            </a:r>
          </a:p>
        </p:txBody>
      </p:sp>
      <p:sp>
        <p:nvSpPr>
          <p:cNvPr id="3" name="Textplatzhalter 1">
            <a:extLst>
              <a:ext uri="{FF2B5EF4-FFF2-40B4-BE49-F238E27FC236}">
                <a16:creationId xmlns:a16="http://schemas.microsoft.com/office/drawing/2014/main" id="{F098B177-4335-92FB-BCEB-5BE1457EF395}"/>
              </a:ext>
            </a:extLst>
          </p:cNvPr>
          <p:cNvSpPr txBox="1">
            <a:spLocks/>
          </p:cNvSpPr>
          <p:nvPr/>
        </p:nvSpPr>
        <p:spPr>
          <a:xfrm>
            <a:off x="3507265" y="3697255"/>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4" name="Textplatzhalter 1">
            <a:extLst>
              <a:ext uri="{FF2B5EF4-FFF2-40B4-BE49-F238E27FC236}">
                <a16:creationId xmlns:a16="http://schemas.microsoft.com/office/drawing/2014/main" id="{8EF06AA5-4119-0C14-357C-F4AA3CEE73EC}"/>
              </a:ext>
            </a:extLst>
          </p:cNvPr>
          <p:cNvSpPr txBox="1">
            <a:spLocks/>
          </p:cNvSpPr>
          <p:nvPr/>
        </p:nvSpPr>
        <p:spPr>
          <a:xfrm>
            <a:off x="3460238" y="1997091"/>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5" name="Gruppieren 4">
            <a:extLst>
              <a:ext uri="{FF2B5EF4-FFF2-40B4-BE49-F238E27FC236}">
                <a16:creationId xmlns:a16="http://schemas.microsoft.com/office/drawing/2014/main" id="{74F77B69-87CC-65F8-7D70-D608B7B56FBD}"/>
              </a:ext>
            </a:extLst>
          </p:cNvPr>
          <p:cNvGrpSpPr/>
          <p:nvPr/>
        </p:nvGrpSpPr>
        <p:grpSpPr>
          <a:xfrm>
            <a:off x="5108097" y="1933417"/>
            <a:ext cx="1405717" cy="1714892"/>
            <a:chOff x="2462777" y="1904484"/>
            <a:chExt cx="1405717" cy="1714892"/>
          </a:xfrm>
        </p:grpSpPr>
        <p:grpSp>
          <p:nvGrpSpPr>
            <p:cNvPr id="7" name="Group 138">
              <a:extLst>
                <a:ext uri="{FF2B5EF4-FFF2-40B4-BE49-F238E27FC236}">
                  <a16:creationId xmlns:a16="http://schemas.microsoft.com/office/drawing/2014/main" id="{2882F053-8E8C-2E01-9F68-8FA55CD618D8}"/>
                </a:ext>
              </a:extLst>
            </p:cNvPr>
            <p:cNvGrpSpPr/>
            <p:nvPr/>
          </p:nvGrpSpPr>
          <p:grpSpPr>
            <a:xfrm>
              <a:off x="2934725" y="1904484"/>
              <a:ext cx="461820" cy="461820"/>
              <a:chOff x="1236144" y="1532568"/>
              <a:chExt cx="834324" cy="834324"/>
            </a:xfrm>
          </p:grpSpPr>
          <p:sp>
            <p:nvSpPr>
              <p:cNvPr id="20" name="Freeform: Shape 139">
                <a:extLst>
                  <a:ext uri="{FF2B5EF4-FFF2-40B4-BE49-F238E27FC236}">
                    <a16:creationId xmlns:a16="http://schemas.microsoft.com/office/drawing/2014/main" id="{0B4A44D1-C281-60A6-2E77-E4E62CC31A1C}"/>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1" name="Freeform: Shape 140">
                <a:extLst>
                  <a:ext uri="{FF2B5EF4-FFF2-40B4-BE49-F238E27FC236}">
                    <a16:creationId xmlns:a16="http://schemas.microsoft.com/office/drawing/2014/main" id="{F31C61B3-301A-9B6F-FDE9-79436C19D247}"/>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2" name="Oval 157">
                <a:extLst>
                  <a:ext uri="{FF2B5EF4-FFF2-40B4-BE49-F238E27FC236}">
                    <a16:creationId xmlns:a16="http://schemas.microsoft.com/office/drawing/2014/main" id="{492377D8-722B-9504-CABF-FAECE564E453}"/>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23" name="Freeform: Shape 142">
                <a:extLst>
                  <a:ext uri="{FF2B5EF4-FFF2-40B4-BE49-F238E27FC236}">
                    <a16:creationId xmlns:a16="http://schemas.microsoft.com/office/drawing/2014/main" id="{AD6239F1-4F39-67BB-28B3-BB0D2FC46927}"/>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9" name="Gruppieren 8">
              <a:extLst>
                <a:ext uri="{FF2B5EF4-FFF2-40B4-BE49-F238E27FC236}">
                  <a16:creationId xmlns:a16="http://schemas.microsoft.com/office/drawing/2014/main" id="{94B4BA02-D48C-9E10-78B5-AF002C51DAAF}"/>
                </a:ext>
              </a:extLst>
            </p:cNvPr>
            <p:cNvGrpSpPr/>
            <p:nvPr/>
          </p:nvGrpSpPr>
          <p:grpSpPr>
            <a:xfrm>
              <a:off x="2462777" y="2379623"/>
              <a:ext cx="1405717" cy="1239753"/>
              <a:chOff x="2462777" y="2379623"/>
              <a:chExt cx="1405717" cy="1239753"/>
            </a:xfrm>
          </p:grpSpPr>
          <p:sp>
            <p:nvSpPr>
              <p:cNvPr id="10" name="Textfeld 9">
                <a:extLst>
                  <a:ext uri="{FF2B5EF4-FFF2-40B4-BE49-F238E27FC236}">
                    <a16:creationId xmlns:a16="http://schemas.microsoft.com/office/drawing/2014/main" id="{534035B7-6F55-F3AA-41AC-ABEBDC131D0D}"/>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1" name="Pfeil nach unten 91">
                <a:extLst>
                  <a:ext uri="{FF2B5EF4-FFF2-40B4-BE49-F238E27FC236}">
                    <a16:creationId xmlns:a16="http://schemas.microsoft.com/office/drawing/2014/main" id="{90924374-DF28-C4BE-8B80-9EBE967FF6B0}"/>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sp>
        <p:nvSpPr>
          <p:cNvPr id="24" name="Pfeil nach unten 91">
            <a:extLst>
              <a:ext uri="{FF2B5EF4-FFF2-40B4-BE49-F238E27FC236}">
                <a16:creationId xmlns:a16="http://schemas.microsoft.com/office/drawing/2014/main" id="{0B28AA0F-9AB8-03B6-43D1-1E3EB4E15C4D}"/>
              </a:ext>
            </a:extLst>
          </p:cNvPr>
          <p:cNvSpPr/>
          <p:nvPr/>
        </p:nvSpPr>
        <p:spPr>
          <a:xfrm>
            <a:off x="5654899" y="4397612"/>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5" name="Rechteck 24">
            <a:extLst>
              <a:ext uri="{FF2B5EF4-FFF2-40B4-BE49-F238E27FC236}">
                <a16:creationId xmlns:a16="http://schemas.microsoft.com/office/drawing/2014/main" id="{57434B39-EC2E-F4E0-5166-C81AC46681D7}"/>
              </a:ext>
            </a:extLst>
          </p:cNvPr>
          <p:cNvSpPr/>
          <p:nvPr/>
        </p:nvSpPr>
        <p:spPr>
          <a:xfrm>
            <a:off x="4881978" y="5268855"/>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26" name="Oval 551">
            <a:extLst>
              <a:ext uri="{FF2B5EF4-FFF2-40B4-BE49-F238E27FC236}">
                <a16:creationId xmlns:a16="http://schemas.microsoft.com/office/drawing/2014/main" id="{D1950519-4632-5060-3A21-0EDF9EE117CD}"/>
              </a:ext>
            </a:extLst>
          </p:cNvPr>
          <p:cNvSpPr/>
          <p:nvPr/>
        </p:nvSpPr>
        <p:spPr>
          <a:xfrm>
            <a:off x="6860364" y="3778381"/>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27" name="Graphic 315">
            <a:extLst>
              <a:ext uri="{FF2B5EF4-FFF2-40B4-BE49-F238E27FC236}">
                <a16:creationId xmlns:a16="http://schemas.microsoft.com/office/drawing/2014/main" id="{EDEC1C47-14A0-68B9-22A7-D600A0C7006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83662" y="3861619"/>
            <a:ext cx="208971" cy="291688"/>
          </a:xfrm>
          <a:prstGeom prst="rect">
            <a:avLst/>
          </a:prstGeom>
          <a:solidFill>
            <a:srgbClr val="FBBA00"/>
          </a:solidFill>
        </p:spPr>
      </p:pic>
    </p:spTree>
    <p:extLst>
      <p:ext uri="{BB962C8B-B14F-4D97-AF65-F5344CB8AC3E}">
        <p14:creationId xmlns:p14="http://schemas.microsoft.com/office/powerpoint/2010/main" val="1867183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CD4AC-1169-A273-291D-518E9A86247D}"/>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2EC9287B-9EDD-7448-6A7F-C751335C27FB}"/>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Übertrag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Holding-</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Struktu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t>
            </a:r>
          </a:p>
        </p:txBody>
      </p:sp>
      <p:sp>
        <p:nvSpPr>
          <p:cNvPr id="18" name="Freeform: Shape 142">
            <a:extLst>
              <a:ext uri="{FF2B5EF4-FFF2-40B4-BE49-F238E27FC236}">
                <a16:creationId xmlns:a16="http://schemas.microsoft.com/office/drawing/2014/main" id="{05E01108-EE7E-0686-75FB-CB90C6F168AE}"/>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C0663693-B6B9-FFFB-EAF0-AEA059F4B4E3}"/>
              </a:ext>
            </a:extLst>
          </p:cNvPr>
          <p:cNvSpPr txBox="1"/>
          <p:nvPr/>
        </p:nvSpPr>
        <p:spPr>
          <a:xfrm>
            <a:off x="1476643" y="2228687"/>
            <a:ext cx="8647285"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endParaRPr lang="de-DE" sz="1400" dirty="0">
              <a:latin typeface="Segoe UI" panose="020B0502040204020203" pitchFamily="34" charset="0"/>
              <a:cs typeface="Segoe UI" panose="020B0502040204020203" pitchFamily="34" charset="0"/>
            </a:endParaRPr>
          </a:p>
        </p:txBody>
      </p:sp>
      <p:sp>
        <p:nvSpPr>
          <p:cNvPr id="8" name="Plus Sign 6">
            <a:extLst>
              <a:ext uri="{FF2B5EF4-FFF2-40B4-BE49-F238E27FC236}">
                <a16:creationId xmlns:a16="http://schemas.microsoft.com/office/drawing/2014/main" id="{AC006859-3806-0F16-78CF-4699798866E7}"/>
              </a:ext>
            </a:extLst>
          </p:cNvPr>
          <p:cNvSpPr/>
          <p:nvPr/>
        </p:nvSpPr>
        <p:spPr bwMode="auto">
          <a:xfrm>
            <a:off x="1096689" y="4447839"/>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 name="Rechteck 1">
            <a:extLst>
              <a:ext uri="{FF2B5EF4-FFF2-40B4-BE49-F238E27FC236}">
                <a16:creationId xmlns:a16="http://schemas.microsoft.com/office/drawing/2014/main" id="{0F5824BE-68CD-CAAD-41B2-1B260425FA90}"/>
              </a:ext>
            </a:extLst>
          </p:cNvPr>
          <p:cNvSpPr/>
          <p:nvPr/>
        </p:nvSpPr>
        <p:spPr>
          <a:xfrm>
            <a:off x="4891046" y="3716560"/>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Holding GmbH</a:t>
            </a:r>
          </a:p>
        </p:txBody>
      </p:sp>
      <p:sp>
        <p:nvSpPr>
          <p:cNvPr id="3" name="Textplatzhalter 1">
            <a:extLst>
              <a:ext uri="{FF2B5EF4-FFF2-40B4-BE49-F238E27FC236}">
                <a16:creationId xmlns:a16="http://schemas.microsoft.com/office/drawing/2014/main" id="{C447EE27-63C8-4CAB-256E-2A16BDC29AD1}"/>
              </a:ext>
            </a:extLst>
          </p:cNvPr>
          <p:cNvSpPr txBox="1">
            <a:spLocks/>
          </p:cNvSpPr>
          <p:nvPr/>
        </p:nvSpPr>
        <p:spPr>
          <a:xfrm>
            <a:off x="3507265" y="3697255"/>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4" name="Textplatzhalter 1">
            <a:extLst>
              <a:ext uri="{FF2B5EF4-FFF2-40B4-BE49-F238E27FC236}">
                <a16:creationId xmlns:a16="http://schemas.microsoft.com/office/drawing/2014/main" id="{D23FA9AF-4D24-95CD-ED5D-10B5BFEFA286}"/>
              </a:ext>
            </a:extLst>
          </p:cNvPr>
          <p:cNvSpPr txBox="1">
            <a:spLocks/>
          </p:cNvSpPr>
          <p:nvPr/>
        </p:nvSpPr>
        <p:spPr>
          <a:xfrm>
            <a:off x="3460238" y="1997091"/>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5" name="Gruppieren 4">
            <a:extLst>
              <a:ext uri="{FF2B5EF4-FFF2-40B4-BE49-F238E27FC236}">
                <a16:creationId xmlns:a16="http://schemas.microsoft.com/office/drawing/2014/main" id="{65CE0C9E-1E6D-2591-06D4-B0D276DCE306}"/>
              </a:ext>
            </a:extLst>
          </p:cNvPr>
          <p:cNvGrpSpPr/>
          <p:nvPr/>
        </p:nvGrpSpPr>
        <p:grpSpPr>
          <a:xfrm>
            <a:off x="5108097" y="1933417"/>
            <a:ext cx="1405717" cy="1714892"/>
            <a:chOff x="2462777" y="1904484"/>
            <a:chExt cx="1405717" cy="1714892"/>
          </a:xfrm>
        </p:grpSpPr>
        <p:grpSp>
          <p:nvGrpSpPr>
            <p:cNvPr id="7" name="Group 138">
              <a:extLst>
                <a:ext uri="{FF2B5EF4-FFF2-40B4-BE49-F238E27FC236}">
                  <a16:creationId xmlns:a16="http://schemas.microsoft.com/office/drawing/2014/main" id="{0386B022-7688-52D0-4F87-10C118CE4DCF}"/>
                </a:ext>
              </a:extLst>
            </p:cNvPr>
            <p:cNvGrpSpPr/>
            <p:nvPr/>
          </p:nvGrpSpPr>
          <p:grpSpPr>
            <a:xfrm>
              <a:off x="2934725" y="1904484"/>
              <a:ext cx="461820" cy="461820"/>
              <a:chOff x="1236144" y="1532568"/>
              <a:chExt cx="834324" cy="834324"/>
            </a:xfrm>
          </p:grpSpPr>
          <p:sp>
            <p:nvSpPr>
              <p:cNvPr id="20" name="Freeform: Shape 139">
                <a:extLst>
                  <a:ext uri="{FF2B5EF4-FFF2-40B4-BE49-F238E27FC236}">
                    <a16:creationId xmlns:a16="http://schemas.microsoft.com/office/drawing/2014/main" id="{DE2D6960-C192-DE89-6F6E-9212302FC4E7}"/>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1" name="Freeform: Shape 140">
                <a:extLst>
                  <a:ext uri="{FF2B5EF4-FFF2-40B4-BE49-F238E27FC236}">
                    <a16:creationId xmlns:a16="http://schemas.microsoft.com/office/drawing/2014/main" id="{F0F4CF16-6898-ACE0-4FF8-AAA5E25DFE98}"/>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2" name="Oval 157">
                <a:extLst>
                  <a:ext uri="{FF2B5EF4-FFF2-40B4-BE49-F238E27FC236}">
                    <a16:creationId xmlns:a16="http://schemas.microsoft.com/office/drawing/2014/main" id="{BDCBF63E-5FB5-DEA2-F17C-582716175434}"/>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23" name="Freeform: Shape 142">
                <a:extLst>
                  <a:ext uri="{FF2B5EF4-FFF2-40B4-BE49-F238E27FC236}">
                    <a16:creationId xmlns:a16="http://schemas.microsoft.com/office/drawing/2014/main" id="{56385074-1DDB-1CB1-301C-567B88578E2C}"/>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9" name="Gruppieren 8">
              <a:extLst>
                <a:ext uri="{FF2B5EF4-FFF2-40B4-BE49-F238E27FC236}">
                  <a16:creationId xmlns:a16="http://schemas.microsoft.com/office/drawing/2014/main" id="{9A935394-3B51-931E-3CF0-50B078EC265B}"/>
                </a:ext>
              </a:extLst>
            </p:cNvPr>
            <p:cNvGrpSpPr/>
            <p:nvPr/>
          </p:nvGrpSpPr>
          <p:grpSpPr>
            <a:xfrm>
              <a:off x="2462777" y="2379623"/>
              <a:ext cx="1405717" cy="1239753"/>
              <a:chOff x="2462777" y="2379623"/>
              <a:chExt cx="1405717" cy="1239753"/>
            </a:xfrm>
          </p:grpSpPr>
          <p:sp>
            <p:nvSpPr>
              <p:cNvPr id="10" name="Textfeld 9">
                <a:extLst>
                  <a:ext uri="{FF2B5EF4-FFF2-40B4-BE49-F238E27FC236}">
                    <a16:creationId xmlns:a16="http://schemas.microsoft.com/office/drawing/2014/main" id="{9518F316-08A9-FCE4-2881-7FF936E7718B}"/>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1" name="Pfeil nach unten 91">
                <a:extLst>
                  <a:ext uri="{FF2B5EF4-FFF2-40B4-BE49-F238E27FC236}">
                    <a16:creationId xmlns:a16="http://schemas.microsoft.com/office/drawing/2014/main" id="{01BA1F1E-39D7-9318-B91A-AA7A5319DC4B}"/>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sp>
        <p:nvSpPr>
          <p:cNvPr id="24" name="Pfeil nach unten 91">
            <a:extLst>
              <a:ext uri="{FF2B5EF4-FFF2-40B4-BE49-F238E27FC236}">
                <a16:creationId xmlns:a16="http://schemas.microsoft.com/office/drawing/2014/main" id="{49D23010-D3E4-0E16-CB28-66120B22E276}"/>
              </a:ext>
            </a:extLst>
          </p:cNvPr>
          <p:cNvSpPr/>
          <p:nvPr/>
        </p:nvSpPr>
        <p:spPr>
          <a:xfrm>
            <a:off x="5654899" y="4397612"/>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5" name="Rechteck 24">
            <a:extLst>
              <a:ext uri="{FF2B5EF4-FFF2-40B4-BE49-F238E27FC236}">
                <a16:creationId xmlns:a16="http://schemas.microsoft.com/office/drawing/2014/main" id="{A34E2114-224E-A719-7FFA-19A5B1578AD6}"/>
              </a:ext>
            </a:extLst>
          </p:cNvPr>
          <p:cNvSpPr/>
          <p:nvPr/>
        </p:nvSpPr>
        <p:spPr>
          <a:xfrm>
            <a:off x="4881978" y="5268855"/>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26" name="Oval 551">
            <a:extLst>
              <a:ext uri="{FF2B5EF4-FFF2-40B4-BE49-F238E27FC236}">
                <a16:creationId xmlns:a16="http://schemas.microsoft.com/office/drawing/2014/main" id="{63AF70F0-8326-6E98-9F2F-2D9555AD8B5B}"/>
              </a:ext>
            </a:extLst>
          </p:cNvPr>
          <p:cNvSpPr/>
          <p:nvPr/>
        </p:nvSpPr>
        <p:spPr>
          <a:xfrm>
            <a:off x="6860364" y="3778381"/>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27" name="Graphic 315">
            <a:extLst>
              <a:ext uri="{FF2B5EF4-FFF2-40B4-BE49-F238E27FC236}">
                <a16:creationId xmlns:a16="http://schemas.microsoft.com/office/drawing/2014/main" id="{6B182571-68E7-2FEB-611A-0BB7436FA2B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83662" y="3861619"/>
            <a:ext cx="208971" cy="291688"/>
          </a:xfrm>
          <a:prstGeom prst="rect">
            <a:avLst/>
          </a:prstGeom>
          <a:solidFill>
            <a:srgbClr val="FBBA00"/>
          </a:solidFill>
        </p:spPr>
      </p:pic>
      <p:sp>
        <p:nvSpPr>
          <p:cNvPr id="12" name="Nach oben gekrümmter Pfeil 26">
            <a:extLst>
              <a:ext uri="{FF2B5EF4-FFF2-40B4-BE49-F238E27FC236}">
                <a16:creationId xmlns:a16="http://schemas.microsoft.com/office/drawing/2014/main" id="{5CD8D61F-3B66-8D52-7FE5-071651CA4722}"/>
              </a:ext>
            </a:extLst>
          </p:cNvPr>
          <p:cNvSpPr/>
          <p:nvPr/>
        </p:nvSpPr>
        <p:spPr>
          <a:xfrm rot="861081">
            <a:off x="6136964" y="4450531"/>
            <a:ext cx="2044524" cy="698525"/>
          </a:xfrm>
          <a:prstGeom prst="curvedUp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4" name="Oval 157">
            <a:extLst>
              <a:ext uri="{FF2B5EF4-FFF2-40B4-BE49-F238E27FC236}">
                <a16:creationId xmlns:a16="http://schemas.microsoft.com/office/drawing/2014/main" id="{401900FF-1BD7-1407-256F-D26CAF55DADD}"/>
              </a:ext>
            </a:extLst>
          </p:cNvPr>
          <p:cNvSpPr/>
          <p:nvPr/>
        </p:nvSpPr>
        <p:spPr>
          <a:xfrm flipH="1">
            <a:off x="8063490" y="4147584"/>
            <a:ext cx="461820" cy="461820"/>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5" name="Freeform: Shape 142">
            <a:extLst>
              <a:ext uri="{FF2B5EF4-FFF2-40B4-BE49-F238E27FC236}">
                <a16:creationId xmlns:a16="http://schemas.microsoft.com/office/drawing/2014/main" id="{EC5B659C-1F56-2A5C-47EE-528864A894EF}"/>
              </a:ext>
            </a:extLst>
          </p:cNvPr>
          <p:cNvSpPr/>
          <p:nvPr/>
        </p:nvSpPr>
        <p:spPr bwMode="auto">
          <a:xfrm>
            <a:off x="8194938" y="4234520"/>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6" name="Textfeld 15">
            <a:extLst>
              <a:ext uri="{FF2B5EF4-FFF2-40B4-BE49-F238E27FC236}">
                <a16:creationId xmlns:a16="http://schemas.microsoft.com/office/drawing/2014/main" id="{A886BE43-E421-3B3D-4E07-3066F74C8AC3}"/>
              </a:ext>
            </a:extLst>
          </p:cNvPr>
          <p:cNvSpPr txBox="1"/>
          <p:nvPr/>
        </p:nvSpPr>
        <p:spPr>
          <a:xfrm>
            <a:off x="7612152" y="4617724"/>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B </a:t>
            </a:r>
          </a:p>
        </p:txBody>
      </p:sp>
    </p:spTree>
    <p:extLst>
      <p:ext uri="{BB962C8B-B14F-4D97-AF65-F5344CB8AC3E}">
        <p14:creationId xmlns:p14="http://schemas.microsoft.com/office/powerpoint/2010/main" val="3451661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FE9AEA-0B99-188D-E7BC-9AC9234EC170}"/>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42DE58DF-A7EF-F82C-5808-BE2B489F5F64}"/>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Übertrag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Holding-</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Struktu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t>
            </a:r>
          </a:p>
        </p:txBody>
      </p:sp>
      <p:sp>
        <p:nvSpPr>
          <p:cNvPr id="18" name="Freeform: Shape 142">
            <a:extLst>
              <a:ext uri="{FF2B5EF4-FFF2-40B4-BE49-F238E27FC236}">
                <a16:creationId xmlns:a16="http://schemas.microsoft.com/office/drawing/2014/main" id="{B607A8F5-00E9-671F-09D5-9BA97F961291}"/>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678FFC37-6139-FB02-829B-80E32921B67B}"/>
              </a:ext>
            </a:extLst>
          </p:cNvPr>
          <p:cNvSpPr txBox="1"/>
          <p:nvPr/>
        </p:nvSpPr>
        <p:spPr>
          <a:xfrm>
            <a:off x="1476643" y="2228687"/>
            <a:ext cx="8647285"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endParaRPr lang="de-DE" sz="1400" dirty="0">
              <a:latin typeface="Segoe UI" panose="020B0502040204020203" pitchFamily="34" charset="0"/>
              <a:cs typeface="Segoe UI" panose="020B0502040204020203" pitchFamily="34" charset="0"/>
            </a:endParaRPr>
          </a:p>
        </p:txBody>
      </p:sp>
      <p:sp>
        <p:nvSpPr>
          <p:cNvPr id="8" name="Plus Sign 6">
            <a:extLst>
              <a:ext uri="{FF2B5EF4-FFF2-40B4-BE49-F238E27FC236}">
                <a16:creationId xmlns:a16="http://schemas.microsoft.com/office/drawing/2014/main" id="{0B831629-5984-908B-C133-275243D86A9D}"/>
              </a:ext>
            </a:extLst>
          </p:cNvPr>
          <p:cNvSpPr/>
          <p:nvPr/>
        </p:nvSpPr>
        <p:spPr bwMode="auto">
          <a:xfrm>
            <a:off x="1096689" y="4447839"/>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 name="Rechteck 1">
            <a:extLst>
              <a:ext uri="{FF2B5EF4-FFF2-40B4-BE49-F238E27FC236}">
                <a16:creationId xmlns:a16="http://schemas.microsoft.com/office/drawing/2014/main" id="{EE24E37F-BCF7-1DFC-F597-4C3C493A1433}"/>
              </a:ext>
            </a:extLst>
          </p:cNvPr>
          <p:cNvSpPr/>
          <p:nvPr/>
        </p:nvSpPr>
        <p:spPr>
          <a:xfrm>
            <a:off x="4891046" y="3716560"/>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Holding GmbH</a:t>
            </a:r>
          </a:p>
        </p:txBody>
      </p:sp>
      <p:sp>
        <p:nvSpPr>
          <p:cNvPr id="3" name="Textplatzhalter 1">
            <a:extLst>
              <a:ext uri="{FF2B5EF4-FFF2-40B4-BE49-F238E27FC236}">
                <a16:creationId xmlns:a16="http://schemas.microsoft.com/office/drawing/2014/main" id="{D95320F9-F074-21D2-A47F-AB460964D8F9}"/>
              </a:ext>
            </a:extLst>
          </p:cNvPr>
          <p:cNvSpPr txBox="1">
            <a:spLocks/>
          </p:cNvSpPr>
          <p:nvPr/>
        </p:nvSpPr>
        <p:spPr>
          <a:xfrm>
            <a:off x="3507265" y="3697255"/>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4" name="Textplatzhalter 1">
            <a:extLst>
              <a:ext uri="{FF2B5EF4-FFF2-40B4-BE49-F238E27FC236}">
                <a16:creationId xmlns:a16="http://schemas.microsoft.com/office/drawing/2014/main" id="{2B220479-C52E-4669-2245-2201D07589D0}"/>
              </a:ext>
            </a:extLst>
          </p:cNvPr>
          <p:cNvSpPr txBox="1">
            <a:spLocks/>
          </p:cNvSpPr>
          <p:nvPr/>
        </p:nvSpPr>
        <p:spPr>
          <a:xfrm>
            <a:off x="3460238" y="1997091"/>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5" name="Gruppieren 4">
            <a:extLst>
              <a:ext uri="{FF2B5EF4-FFF2-40B4-BE49-F238E27FC236}">
                <a16:creationId xmlns:a16="http://schemas.microsoft.com/office/drawing/2014/main" id="{E2A76945-3FB0-88AE-E07B-767A158FB105}"/>
              </a:ext>
            </a:extLst>
          </p:cNvPr>
          <p:cNvGrpSpPr/>
          <p:nvPr/>
        </p:nvGrpSpPr>
        <p:grpSpPr>
          <a:xfrm>
            <a:off x="5108097" y="1933417"/>
            <a:ext cx="1405717" cy="1714892"/>
            <a:chOff x="2462777" y="1904484"/>
            <a:chExt cx="1405717" cy="1714892"/>
          </a:xfrm>
        </p:grpSpPr>
        <p:grpSp>
          <p:nvGrpSpPr>
            <p:cNvPr id="7" name="Group 138">
              <a:extLst>
                <a:ext uri="{FF2B5EF4-FFF2-40B4-BE49-F238E27FC236}">
                  <a16:creationId xmlns:a16="http://schemas.microsoft.com/office/drawing/2014/main" id="{0049AA02-6FCD-45AE-1117-306BD94D769E}"/>
                </a:ext>
              </a:extLst>
            </p:cNvPr>
            <p:cNvGrpSpPr/>
            <p:nvPr/>
          </p:nvGrpSpPr>
          <p:grpSpPr>
            <a:xfrm>
              <a:off x="2934725" y="1904484"/>
              <a:ext cx="461820" cy="461820"/>
              <a:chOff x="1236144" y="1532568"/>
              <a:chExt cx="834324" cy="834324"/>
            </a:xfrm>
          </p:grpSpPr>
          <p:sp>
            <p:nvSpPr>
              <p:cNvPr id="20" name="Freeform: Shape 139">
                <a:extLst>
                  <a:ext uri="{FF2B5EF4-FFF2-40B4-BE49-F238E27FC236}">
                    <a16:creationId xmlns:a16="http://schemas.microsoft.com/office/drawing/2014/main" id="{EF0D9A5E-71E1-B437-6CD9-DB444DBEF609}"/>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1" name="Freeform: Shape 140">
                <a:extLst>
                  <a:ext uri="{FF2B5EF4-FFF2-40B4-BE49-F238E27FC236}">
                    <a16:creationId xmlns:a16="http://schemas.microsoft.com/office/drawing/2014/main" id="{2D526E0B-04C8-B998-3EC9-F4389402E1B6}"/>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2" name="Oval 157">
                <a:extLst>
                  <a:ext uri="{FF2B5EF4-FFF2-40B4-BE49-F238E27FC236}">
                    <a16:creationId xmlns:a16="http://schemas.microsoft.com/office/drawing/2014/main" id="{9C54C0EE-4C39-5082-C337-C77CCC32C889}"/>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23" name="Freeform: Shape 142">
                <a:extLst>
                  <a:ext uri="{FF2B5EF4-FFF2-40B4-BE49-F238E27FC236}">
                    <a16:creationId xmlns:a16="http://schemas.microsoft.com/office/drawing/2014/main" id="{45257E2D-94D9-E39A-8CCE-00F66A7A4275}"/>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9" name="Gruppieren 8">
              <a:extLst>
                <a:ext uri="{FF2B5EF4-FFF2-40B4-BE49-F238E27FC236}">
                  <a16:creationId xmlns:a16="http://schemas.microsoft.com/office/drawing/2014/main" id="{81136536-2374-DCC8-1409-279952A3E1AE}"/>
                </a:ext>
              </a:extLst>
            </p:cNvPr>
            <p:cNvGrpSpPr/>
            <p:nvPr/>
          </p:nvGrpSpPr>
          <p:grpSpPr>
            <a:xfrm>
              <a:off x="2462777" y="2379623"/>
              <a:ext cx="1405717" cy="1239753"/>
              <a:chOff x="2462777" y="2379623"/>
              <a:chExt cx="1405717" cy="1239753"/>
            </a:xfrm>
          </p:grpSpPr>
          <p:sp>
            <p:nvSpPr>
              <p:cNvPr id="10" name="Textfeld 9">
                <a:extLst>
                  <a:ext uri="{FF2B5EF4-FFF2-40B4-BE49-F238E27FC236}">
                    <a16:creationId xmlns:a16="http://schemas.microsoft.com/office/drawing/2014/main" id="{B0082E5A-1A56-5D23-87E1-709DC60BB5FC}"/>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1" name="Pfeil nach unten 91">
                <a:extLst>
                  <a:ext uri="{FF2B5EF4-FFF2-40B4-BE49-F238E27FC236}">
                    <a16:creationId xmlns:a16="http://schemas.microsoft.com/office/drawing/2014/main" id="{536146A1-5ADC-470E-D581-787F36034F83}"/>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sp>
        <p:nvSpPr>
          <p:cNvPr id="24" name="Pfeil nach unten 91">
            <a:extLst>
              <a:ext uri="{FF2B5EF4-FFF2-40B4-BE49-F238E27FC236}">
                <a16:creationId xmlns:a16="http://schemas.microsoft.com/office/drawing/2014/main" id="{A75A3AB9-92FF-FA88-7F98-F4914A1D52D3}"/>
              </a:ext>
            </a:extLst>
          </p:cNvPr>
          <p:cNvSpPr/>
          <p:nvPr/>
        </p:nvSpPr>
        <p:spPr>
          <a:xfrm>
            <a:off x="8169621" y="4959456"/>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5" name="Rechteck 24">
            <a:extLst>
              <a:ext uri="{FF2B5EF4-FFF2-40B4-BE49-F238E27FC236}">
                <a16:creationId xmlns:a16="http://schemas.microsoft.com/office/drawing/2014/main" id="{7A757291-4745-B6F2-3463-6989C731186B}"/>
              </a:ext>
            </a:extLst>
          </p:cNvPr>
          <p:cNvSpPr/>
          <p:nvPr/>
        </p:nvSpPr>
        <p:spPr>
          <a:xfrm>
            <a:off x="7396700" y="5890236"/>
            <a:ext cx="1836617" cy="461327"/>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26" name="Oval 551">
            <a:extLst>
              <a:ext uri="{FF2B5EF4-FFF2-40B4-BE49-F238E27FC236}">
                <a16:creationId xmlns:a16="http://schemas.microsoft.com/office/drawing/2014/main" id="{39889A90-FF3B-8D11-A0A8-B339DED5AA81}"/>
              </a:ext>
            </a:extLst>
          </p:cNvPr>
          <p:cNvSpPr/>
          <p:nvPr/>
        </p:nvSpPr>
        <p:spPr>
          <a:xfrm>
            <a:off x="6860364" y="3778381"/>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27" name="Graphic 315">
            <a:extLst>
              <a:ext uri="{FF2B5EF4-FFF2-40B4-BE49-F238E27FC236}">
                <a16:creationId xmlns:a16="http://schemas.microsoft.com/office/drawing/2014/main" id="{4E899285-DB01-59BF-6B37-444A39E81C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83662" y="3861619"/>
            <a:ext cx="208971" cy="291688"/>
          </a:xfrm>
          <a:prstGeom prst="rect">
            <a:avLst/>
          </a:prstGeom>
          <a:solidFill>
            <a:srgbClr val="FBBA00"/>
          </a:solidFill>
        </p:spPr>
      </p:pic>
      <p:sp>
        <p:nvSpPr>
          <p:cNvPr id="12" name="Nach oben gekrümmter Pfeil 26">
            <a:extLst>
              <a:ext uri="{FF2B5EF4-FFF2-40B4-BE49-F238E27FC236}">
                <a16:creationId xmlns:a16="http://schemas.microsoft.com/office/drawing/2014/main" id="{5398D6E7-61BA-B3A1-66A5-507C41BDFF55}"/>
              </a:ext>
            </a:extLst>
          </p:cNvPr>
          <p:cNvSpPr/>
          <p:nvPr/>
        </p:nvSpPr>
        <p:spPr>
          <a:xfrm rot="861081">
            <a:off x="6136964" y="4450531"/>
            <a:ext cx="2044524" cy="698525"/>
          </a:xfrm>
          <a:prstGeom prst="curvedUp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4" name="Oval 157">
            <a:extLst>
              <a:ext uri="{FF2B5EF4-FFF2-40B4-BE49-F238E27FC236}">
                <a16:creationId xmlns:a16="http://schemas.microsoft.com/office/drawing/2014/main" id="{F9E513D0-6606-BBAB-7802-0C08E51CEA5C}"/>
              </a:ext>
            </a:extLst>
          </p:cNvPr>
          <p:cNvSpPr/>
          <p:nvPr/>
        </p:nvSpPr>
        <p:spPr>
          <a:xfrm flipH="1">
            <a:off x="8063490" y="4147584"/>
            <a:ext cx="461820" cy="461820"/>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5" name="Freeform: Shape 142">
            <a:extLst>
              <a:ext uri="{FF2B5EF4-FFF2-40B4-BE49-F238E27FC236}">
                <a16:creationId xmlns:a16="http://schemas.microsoft.com/office/drawing/2014/main" id="{265D1548-58C1-86A0-C0B6-646ABAEA143B}"/>
              </a:ext>
            </a:extLst>
          </p:cNvPr>
          <p:cNvSpPr/>
          <p:nvPr/>
        </p:nvSpPr>
        <p:spPr bwMode="auto">
          <a:xfrm>
            <a:off x="8194938" y="4234520"/>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6" name="Textfeld 15">
            <a:extLst>
              <a:ext uri="{FF2B5EF4-FFF2-40B4-BE49-F238E27FC236}">
                <a16:creationId xmlns:a16="http://schemas.microsoft.com/office/drawing/2014/main" id="{659FE89B-6EBE-0062-DDA3-200801BF5B20}"/>
              </a:ext>
            </a:extLst>
          </p:cNvPr>
          <p:cNvSpPr txBox="1"/>
          <p:nvPr/>
        </p:nvSpPr>
        <p:spPr>
          <a:xfrm>
            <a:off x="7612152" y="4617724"/>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B </a:t>
            </a:r>
          </a:p>
        </p:txBody>
      </p:sp>
      <p:sp>
        <p:nvSpPr>
          <p:cNvPr id="13" name="Oval 551">
            <a:extLst>
              <a:ext uri="{FF2B5EF4-FFF2-40B4-BE49-F238E27FC236}">
                <a16:creationId xmlns:a16="http://schemas.microsoft.com/office/drawing/2014/main" id="{58334AB5-01CC-F7BA-4E5D-972158DEB75E}"/>
              </a:ext>
            </a:extLst>
          </p:cNvPr>
          <p:cNvSpPr/>
          <p:nvPr/>
        </p:nvSpPr>
        <p:spPr>
          <a:xfrm>
            <a:off x="6503288" y="3785770"/>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17" name="Graphic 315">
            <a:extLst>
              <a:ext uri="{FF2B5EF4-FFF2-40B4-BE49-F238E27FC236}">
                <a16:creationId xmlns:a16="http://schemas.microsoft.com/office/drawing/2014/main" id="{A4594BF3-020F-3D73-BB59-7432DFCF033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6586" y="3869008"/>
            <a:ext cx="208971" cy="291688"/>
          </a:xfrm>
          <a:prstGeom prst="rect">
            <a:avLst/>
          </a:prstGeom>
          <a:solidFill>
            <a:srgbClr val="FBBA00"/>
          </a:solidFill>
        </p:spPr>
      </p:pic>
    </p:spTree>
    <p:extLst>
      <p:ext uri="{BB962C8B-B14F-4D97-AF65-F5344CB8AC3E}">
        <p14:creationId xmlns:p14="http://schemas.microsoft.com/office/powerpoint/2010/main" val="3547661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FD953A-B173-20EA-31F9-AE211A57E54C}"/>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AB8E5221-A31E-A28D-2F63-3A37EEE568CF}"/>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Übertrag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Holding-</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Struktu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t>
            </a:r>
          </a:p>
        </p:txBody>
      </p:sp>
      <p:sp>
        <p:nvSpPr>
          <p:cNvPr id="18" name="Freeform: Shape 142">
            <a:extLst>
              <a:ext uri="{FF2B5EF4-FFF2-40B4-BE49-F238E27FC236}">
                <a16:creationId xmlns:a16="http://schemas.microsoft.com/office/drawing/2014/main" id="{746CEBA4-EE1A-8CC8-7160-A79C45ED00F5}"/>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06016CE4-58EA-3549-A06C-70CA29878AFD}"/>
              </a:ext>
            </a:extLst>
          </p:cNvPr>
          <p:cNvSpPr txBox="1"/>
          <p:nvPr/>
        </p:nvSpPr>
        <p:spPr>
          <a:xfrm>
            <a:off x="1476643" y="2228687"/>
            <a:ext cx="8647285"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endParaRPr lang="de-DE" sz="1400" dirty="0">
              <a:latin typeface="Segoe UI" panose="020B0502040204020203" pitchFamily="34" charset="0"/>
              <a:cs typeface="Segoe UI" panose="020B0502040204020203" pitchFamily="34" charset="0"/>
            </a:endParaRPr>
          </a:p>
        </p:txBody>
      </p:sp>
      <p:sp>
        <p:nvSpPr>
          <p:cNvPr id="8" name="Plus Sign 6">
            <a:extLst>
              <a:ext uri="{FF2B5EF4-FFF2-40B4-BE49-F238E27FC236}">
                <a16:creationId xmlns:a16="http://schemas.microsoft.com/office/drawing/2014/main" id="{A52ABC91-DF11-D241-3262-76E25D3A7E88}"/>
              </a:ext>
            </a:extLst>
          </p:cNvPr>
          <p:cNvSpPr/>
          <p:nvPr/>
        </p:nvSpPr>
        <p:spPr bwMode="auto">
          <a:xfrm>
            <a:off x="1096689" y="4447839"/>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 name="Rechteck 1">
            <a:extLst>
              <a:ext uri="{FF2B5EF4-FFF2-40B4-BE49-F238E27FC236}">
                <a16:creationId xmlns:a16="http://schemas.microsoft.com/office/drawing/2014/main" id="{8AA195A5-2AEF-A390-C612-083594EF3C9C}"/>
              </a:ext>
            </a:extLst>
          </p:cNvPr>
          <p:cNvSpPr/>
          <p:nvPr/>
        </p:nvSpPr>
        <p:spPr>
          <a:xfrm>
            <a:off x="4891046" y="3716560"/>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Holding GmbH</a:t>
            </a:r>
          </a:p>
        </p:txBody>
      </p:sp>
      <p:sp>
        <p:nvSpPr>
          <p:cNvPr id="3" name="Textplatzhalter 1">
            <a:extLst>
              <a:ext uri="{FF2B5EF4-FFF2-40B4-BE49-F238E27FC236}">
                <a16:creationId xmlns:a16="http://schemas.microsoft.com/office/drawing/2014/main" id="{EC184920-8A6D-CF28-F4C1-D35DF45B23E5}"/>
              </a:ext>
            </a:extLst>
          </p:cNvPr>
          <p:cNvSpPr txBox="1">
            <a:spLocks/>
          </p:cNvSpPr>
          <p:nvPr/>
        </p:nvSpPr>
        <p:spPr>
          <a:xfrm>
            <a:off x="3507265" y="3697255"/>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4" name="Textplatzhalter 1">
            <a:extLst>
              <a:ext uri="{FF2B5EF4-FFF2-40B4-BE49-F238E27FC236}">
                <a16:creationId xmlns:a16="http://schemas.microsoft.com/office/drawing/2014/main" id="{C04F6879-8E1B-B784-4E4A-59E5F33FC382}"/>
              </a:ext>
            </a:extLst>
          </p:cNvPr>
          <p:cNvSpPr txBox="1">
            <a:spLocks/>
          </p:cNvSpPr>
          <p:nvPr/>
        </p:nvSpPr>
        <p:spPr>
          <a:xfrm>
            <a:off x="3460238" y="1997091"/>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5" name="Gruppieren 4">
            <a:extLst>
              <a:ext uri="{FF2B5EF4-FFF2-40B4-BE49-F238E27FC236}">
                <a16:creationId xmlns:a16="http://schemas.microsoft.com/office/drawing/2014/main" id="{E2D9FB79-5005-7F35-46D7-FC6EF1DA55FD}"/>
              </a:ext>
            </a:extLst>
          </p:cNvPr>
          <p:cNvGrpSpPr/>
          <p:nvPr/>
        </p:nvGrpSpPr>
        <p:grpSpPr>
          <a:xfrm>
            <a:off x="5108097" y="1933417"/>
            <a:ext cx="1405717" cy="1714892"/>
            <a:chOff x="2462777" y="1904484"/>
            <a:chExt cx="1405717" cy="1714892"/>
          </a:xfrm>
        </p:grpSpPr>
        <p:grpSp>
          <p:nvGrpSpPr>
            <p:cNvPr id="7" name="Group 138">
              <a:extLst>
                <a:ext uri="{FF2B5EF4-FFF2-40B4-BE49-F238E27FC236}">
                  <a16:creationId xmlns:a16="http://schemas.microsoft.com/office/drawing/2014/main" id="{2A9B32DE-5B45-B836-A3AC-72A435BF01BC}"/>
                </a:ext>
              </a:extLst>
            </p:cNvPr>
            <p:cNvGrpSpPr/>
            <p:nvPr/>
          </p:nvGrpSpPr>
          <p:grpSpPr>
            <a:xfrm>
              <a:off x="2934725" y="1904484"/>
              <a:ext cx="461820" cy="461820"/>
              <a:chOff x="1236144" y="1532568"/>
              <a:chExt cx="834324" cy="834324"/>
            </a:xfrm>
          </p:grpSpPr>
          <p:sp>
            <p:nvSpPr>
              <p:cNvPr id="20" name="Freeform: Shape 139">
                <a:extLst>
                  <a:ext uri="{FF2B5EF4-FFF2-40B4-BE49-F238E27FC236}">
                    <a16:creationId xmlns:a16="http://schemas.microsoft.com/office/drawing/2014/main" id="{AFA3EE3E-DD89-5941-519D-D36B62B585F5}"/>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1" name="Freeform: Shape 140">
                <a:extLst>
                  <a:ext uri="{FF2B5EF4-FFF2-40B4-BE49-F238E27FC236}">
                    <a16:creationId xmlns:a16="http://schemas.microsoft.com/office/drawing/2014/main" id="{E0A7653C-6193-19A9-CD3B-10992E5B3B86}"/>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2" name="Oval 157">
                <a:extLst>
                  <a:ext uri="{FF2B5EF4-FFF2-40B4-BE49-F238E27FC236}">
                    <a16:creationId xmlns:a16="http://schemas.microsoft.com/office/drawing/2014/main" id="{35E7108A-A601-76ED-1AEC-D64A40D5A087}"/>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23" name="Freeform: Shape 142">
                <a:extLst>
                  <a:ext uri="{FF2B5EF4-FFF2-40B4-BE49-F238E27FC236}">
                    <a16:creationId xmlns:a16="http://schemas.microsoft.com/office/drawing/2014/main" id="{85437145-15DA-ED76-0D20-970FFF704B37}"/>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9" name="Gruppieren 8">
              <a:extLst>
                <a:ext uri="{FF2B5EF4-FFF2-40B4-BE49-F238E27FC236}">
                  <a16:creationId xmlns:a16="http://schemas.microsoft.com/office/drawing/2014/main" id="{DD5DE899-C700-CA5A-E87E-A677C4E15023}"/>
                </a:ext>
              </a:extLst>
            </p:cNvPr>
            <p:cNvGrpSpPr/>
            <p:nvPr/>
          </p:nvGrpSpPr>
          <p:grpSpPr>
            <a:xfrm>
              <a:off x="2462777" y="2379623"/>
              <a:ext cx="1405717" cy="1239753"/>
              <a:chOff x="2462777" y="2379623"/>
              <a:chExt cx="1405717" cy="1239753"/>
            </a:xfrm>
          </p:grpSpPr>
          <p:sp>
            <p:nvSpPr>
              <p:cNvPr id="10" name="Textfeld 9">
                <a:extLst>
                  <a:ext uri="{FF2B5EF4-FFF2-40B4-BE49-F238E27FC236}">
                    <a16:creationId xmlns:a16="http://schemas.microsoft.com/office/drawing/2014/main" id="{3DACF88C-C336-4563-BE43-8DFABC72A107}"/>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1" name="Pfeil nach unten 91">
                <a:extLst>
                  <a:ext uri="{FF2B5EF4-FFF2-40B4-BE49-F238E27FC236}">
                    <a16:creationId xmlns:a16="http://schemas.microsoft.com/office/drawing/2014/main" id="{26CD371F-DC1F-070C-C11F-4118D23DEF9C}"/>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sp>
        <p:nvSpPr>
          <p:cNvPr id="24" name="Pfeil nach unten 91">
            <a:extLst>
              <a:ext uri="{FF2B5EF4-FFF2-40B4-BE49-F238E27FC236}">
                <a16:creationId xmlns:a16="http://schemas.microsoft.com/office/drawing/2014/main" id="{610C4D50-EDD8-3079-02EF-8C985D0B0904}"/>
              </a:ext>
            </a:extLst>
          </p:cNvPr>
          <p:cNvSpPr/>
          <p:nvPr/>
        </p:nvSpPr>
        <p:spPr>
          <a:xfrm>
            <a:off x="8169621" y="4959456"/>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5" name="Rechteck 24">
            <a:extLst>
              <a:ext uri="{FF2B5EF4-FFF2-40B4-BE49-F238E27FC236}">
                <a16:creationId xmlns:a16="http://schemas.microsoft.com/office/drawing/2014/main" id="{E5EFD04E-FFDE-0EB8-7A64-7618C277CD55}"/>
              </a:ext>
            </a:extLst>
          </p:cNvPr>
          <p:cNvSpPr/>
          <p:nvPr/>
        </p:nvSpPr>
        <p:spPr>
          <a:xfrm>
            <a:off x="7396700" y="5890237"/>
            <a:ext cx="1836617" cy="489462"/>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26" name="Oval 551">
            <a:extLst>
              <a:ext uri="{FF2B5EF4-FFF2-40B4-BE49-F238E27FC236}">
                <a16:creationId xmlns:a16="http://schemas.microsoft.com/office/drawing/2014/main" id="{B2BA25AC-7BD0-5301-736F-D0C6119766EC}"/>
              </a:ext>
            </a:extLst>
          </p:cNvPr>
          <p:cNvSpPr/>
          <p:nvPr/>
        </p:nvSpPr>
        <p:spPr>
          <a:xfrm>
            <a:off x="6860364" y="3778381"/>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27" name="Graphic 315">
            <a:extLst>
              <a:ext uri="{FF2B5EF4-FFF2-40B4-BE49-F238E27FC236}">
                <a16:creationId xmlns:a16="http://schemas.microsoft.com/office/drawing/2014/main" id="{B763FF91-F58A-D175-AC96-8D24AF3F0A9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83662" y="3861619"/>
            <a:ext cx="208971" cy="291688"/>
          </a:xfrm>
          <a:prstGeom prst="rect">
            <a:avLst/>
          </a:prstGeom>
          <a:solidFill>
            <a:srgbClr val="FBBA00"/>
          </a:solidFill>
        </p:spPr>
      </p:pic>
      <p:sp>
        <p:nvSpPr>
          <p:cNvPr id="12" name="Nach oben gekrümmter Pfeil 26">
            <a:extLst>
              <a:ext uri="{FF2B5EF4-FFF2-40B4-BE49-F238E27FC236}">
                <a16:creationId xmlns:a16="http://schemas.microsoft.com/office/drawing/2014/main" id="{C6AF6633-BC2B-5C9C-5662-EBD69348214D}"/>
              </a:ext>
            </a:extLst>
          </p:cNvPr>
          <p:cNvSpPr/>
          <p:nvPr/>
        </p:nvSpPr>
        <p:spPr>
          <a:xfrm rot="861081">
            <a:off x="6136964" y="4450531"/>
            <a:ext cx="2044524" cy="698525"/>
          </a:xfrm>
          <a:prstGeom prst="curvedUp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4" name="Oval 157">
            <a:extLst>
              <a:ext uri="{FF2B5EF4-FFF2-40B4-BE49-F238E27FC236}">
                <a16:creationId xmlns:a16="http://schemas.microsoft.com/office/drawing/2014/main" id="{4D935B0D-E88B-89FB-0D46-4F47B01578FB}"/>
              </a:ext>
            </a:extLst>
          </p:cNvPr>
          <p:cNvSpPr/>
          <p:nvPr/>
        </p:nvSpPr>
        <p:spPr>
          <a:xfrm flipH="1">
            <a:off x="8063490" y="4147584"/>
            <a:ext cx="461820" cy="461820"/>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5" name="Freeform: Shape 142">
            <a:extLst>
              <a:ext uri="{FF2B5EF4-FFF2-40B4-BE49-F238E27FC236}">
                <a16:creationId xmlns:a16="http://schemas.microsoft.com/office/drawing/2014/main" id="{B953AE17-7AEB-6CE7-E9CF-E42A6E14645B}"/>
              </a:ext>
            </a:extLst>
          </p:cNvPr>
          <p:cNvSpPr/>
          <p:nvPr/>
        </p:nvSpPr>
        <p:spPr bwMode="auto">
          <a:xfrm>
            <a:off x="8194938" y="4234520"/>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6" name="Textfeld 15">
            <a:extLst>
              <a:ext uri="{FF2B5EF4-FFF2-40B4-BE49-F238E27FC236}">
                <a16:creationId xmlns:a16="http://schemas.microsoft.com/office/drawing/2014/main" id="{AEE81DCC-D9D3-D02E-D11B-00AD20B514A7}"/>
              </a:ext>
            </a:extLst>
          </p:cNvPr>
          <p:cNvSpPr txBox="1"/>
          <p:nvPr/>
        </p:nvSpPr>
        <p:spPr>
          <a:xfrm>
            <a:off x="7612152" y="4617724"/>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B </a:t>
            </a:r>
          </a:p>
        </p:txBody>
      </p:sp>
      <p:sp>
        <p:nvSpPr>
          <p:cNvPr id="13" name="Oval 551">
            <a:extLst>
              <a:ext uri="{FF2B5EF4-FFF2-40B4-BE49-F238E27FC236}">
                <a16:creationId xmlns:a16="http://schemas.microsoft.com/office/drawing/2014/main" id="{3DF7A025-77D4-3ECF-DF44-DE9D5B1471FD}"/>
              </a:ext>
            </a:extLst>
          </p:cNvPr>
          <p:cNvSpPr/>
          <p:nvPr/>
        </p:nvSpPr>
        <p:spPr>
          <a:xfrm>
            <a:off x="6503288" y="3785770"/>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17" name="Graphic 315">
            <a:extLst>
              <a:ext uri="{FF2B5EF4-FFF2-40B4-BE49-F238E27FC236}">
                <a16:creationId xmlns:a16="http://schemas.microsoft.com/office/drawing/2014/main" id="{48A6314B-1F9B-4860-F7AB-36841AC0765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6586" y="3869008"/>
            <a:ext cx="208971" cy="291688"/>
          </a:xfrm>
          <a:prstGeom prst="rect">
            <a:avLst/>
          </a:prstGeom>
          <a:solidFill>
            <a:srgbClr val="FBBA00"/>
          </a:solidFill>
        </p:spPr>
      </p:pic>
    </p:spTree>
    <p:extLst>
      <p:ext uri="{BB962C8B-B14F-4D97-AF65-F5344CB8AC3E}">
        <p14:creationId xmlns:p14="http://schemas.microsoft.com/office/powerpoint/2010/main" val="484112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2ACC95-86AC-3BAF-B3FD-DE9817845D7B}"/>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66E16A65-8E21-F799-51ED-F13197AEA8DC}"/>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Übertrag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Holding-</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Struktu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t>
            </a:r>
          </a:p>
        </p:txBody>
      </p:sp>
      <p:sp>
        <p:nvSpPr>
          <p:cNvPr id="18" name="Freeform: Shape 142">
            <a:extLst>
              <a:ext uri="{FF2B5EF4-FFF2-40B4-BE49-F238E27FC236}">
                <a16:creationId xmlns:a16="http://schemas.microsoft.com/office/drawing/2014/main" id="{5ACA6060-6D5F-F648-C2E2-1276EF2D79FC}"/>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814F16A7-B160-24D7-537A-F6E9A0755FF5}"/>
              </a:ext>
            </a:extLst>
          </p:cNvPr>
          <p:cNvSpPr txBox="1"/>
          <p:nvPr/>
        </p:nvSpPr>
        <p:spPr>
          <a:xfrm>
            <a:off x="1476643" y="2228687"/>
            <a:ext cx="8647285"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endParaRPr lang="de-DE" sz="1400" dirty="0">
              <a:latin typeface="Segoe UI" panose="020B0502040204020203" pitchFamily="34" charset="0"/>
              <a:cs typeface="Segoe UI" panose="020B0502040204020203" pitchFamily="34" charset="0"/>
            </a:endParaRPr>
          </a:p>
        </p:txBody>
      </p:sp>
      <p:sp>
        <p:nvSpPr>
          <p:cNvPr id="8" name="Plus Sign 6">
            <a:extLst>
              <a:ext uri="{FF2B5EF4-FFF2-40B4-BE49-F238E27FC236}">
                <a16:creationId xmlns:a16="http://schemas.microsoft.com/office/drawing/2014/main" id="{29351BE4-AF01-C65E-7DC6-E6549FF629A4}"/>
              </a:ext>
            </a:extLst>
          </p:cNvPr>
          <p:cNvSpPr/>
          <p:nvPr/>
        </p:nvSpPr>
        <p:spPr bwMode="auto">
          <a:xfrm>
            <a:off x="1096689" y="4447839"/>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 name="Rechteck 1">
            <a:extLst>
              <a:ext uri="{FF2B5EF4-FFF2-40B4-BE49-F238E27FC236}">
                <a16:creationId xmlns:a16="http://schemas.microsoft.com/office/drawing/2014/main" id="{00F53B0B-A0FE-B809-275E-BB71114958BC}"/>
              </a:ext>
            </a:extLst>
          </p:cNvPr>
          <p:cNvSpPr/>
          <p:nvPr/>
        </p:nvSpPr>
        <p:spPr>
          <a:xfrm>
            <a:off x="4891046" y="3716560"/>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Holding GmbH</a:t>
            </a:r>
          </a:p>
        </p:txBody>
      </p:sp>
      <p:sp>
        <p:nvSpPr>
          <p:cNvPr id="3" name="Textplatzhalter 1">
            <a:extLst>
              <a:ext uri="{FF2B5EF4-FFF2-40B4-BE49-F238E27FC236}">
                <a16:creationId xmlns:a16="http://schemas.microsoft.com/office/drawing/2014/main" id="{949450D9-D547-1B5B-1826-7FBF59D3D5B8}"/>
              </a:ext>
            </a:extLst>
          </p:cNvPr>
          <p:cNvSpPr txBox="1">
            <a:spLocks/>
          </p:cNvSpPr>
          <p:nvPr/>
        </p:nvSpPr>
        <p:spPr>
          <a:xfrm>
            <a:off x="3507265" y="3697255"/>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4" name="Textplatzhalter 1">
            <a:extLst>
              <a:ext uri="{FF2B5EF4-FFF2-40B4-BE49-F238E27FC236}">
                <a16:creationId xmlns:a16="http://schemas.microsoft.com/office/drawing/2014/main" id="{46F8AFB3-410B-9362-3F50-650DAA81DCF9}"/>
              </a:ext>
            </a:extLst>
          </p:cNvPr>
          <p:cNvSpPr txBox="1">
            <a:spLocks/>
          </p:cNvSpPr>
          <p:nvPr/>
        </p:nvSpPr>
        <p:spPr>
          <a:xfrm>
            <a:off x="3460238" y="1997091"/>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5" name="Gruppieren 4">
            <a:extLst>
              <a:ext uri="{FF2B5EF4-FFF2-40B4-BE49-F238E27FC236}">
                <a16:creationId xmlns:a16="http://schemas.microsoft.com/office/drawing/2014/main" id="{107BFE45-276E-519E-AAAD-512EAD954B39}"/>
              </a:ext>
            </a:extLst>
          </p:cNvPr>
          <p:cNvGrpSpPr/>
          <p:nvPr/>
        </p:nvGrpSpPr>
        <p:grpSpPr>
          <a:xfrm>
            <a:off x="5108097" y="1933417"/>
            <a:ext cx="1405717" cy="1714892"/>
            <a:chOff x="2462777" y="1904484"/>
            <a:chExt cx="1405717" cy="1714892"/>
          </a:xfrm>
        </p:grpSpPr>
        <p:grpSp>
          <p:nvGrpSpPr>
            <p:cNvPr id="7" name="Group 138">
              <a:extLst>
                <a:ext uri="{FF2B5EF4-FFF2-40B4-BE49-F238E27FC236}">
                  <a16:creationId xmlns:a16="http://schemas.microsoft.com/office/drawing/2014/main" id="{B02D3867-6C6B-2249-E136-D34BFCCE8891}"/>
                </a:ext>
              </a:extLst>
            </p:cNvPr>
            <p:cNvGrpSpPr/>
            <p:nvPr/>
          </p:nvGrpSpPr>
          <p:grpSpPr>
            <a:xfrm>
              <a:off x="2934725" y="1904484"/>
              <a:ext cx="461820" cy="461820"/>
              <a:chOff x="1236144" y="1532568"/>
              <a:chExt cx="834324" cy="834324"/>
            </a:xfrm>
          </p:grpSpPr>
          <p:sp>
            <p:nvSpPr>
              <p:cNvPr id="20" name="Freeform: Shape 139">
                <a:extLst>
                  <a:ext uri="{FF2B5EF4-FFF2-40B4-BE49-F238E27FC236}">
                    <a16:creationId xmlns:a16="http://schemas.microsoft.com/office/drawing/2014/main" id="{CFF52E10-C985-A464-8785-61F55203B9DF}"/>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1" name="Freeform: Shape 140">
                <a:extLst>
                  <a:ext uri="{FF2B5EF4-FFF2-40B4-BE49-F238E27FC236}">
                    <a16:creationId xmlns:a16="http://schemas.microsoft.com/office/drawing/2014/main" id="{4E09B108-D73F-78EC-E157-C128EFA7C2DF}"/>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2" name="Oval 157">
                <a:extLst>
                  <a:ext uri="{FF2B5EF4-FFF2-40B4-BE49-F238E27FC236}">
                    <a16:creationId xmlns:a16="http://schemas.microsoft.com/office/drawing/2014/main" id="{B8B72D0C-60A4-E1C5-DCED-ADB348DB67C9}"/>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23" name="Freeform: Shape 142">
                <a:extLst>
                  <a:ext uri="{FF2B5EF4-FFF2-40B4-BE49-F238E27FC236}">
                    <a16:creationId xmlns:a16="http://schemas.microsoft.com/office/drawing/2014/main" id="{C29C23BE-BA5B-4690-A6C6-033E9B5A6A8A}"/>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9" name="Gruppieren 8">
              <a:extLst>
                <a:ext uri="{FF2B5EF4-FFF2-40B4-BE49-F238E27FC236}">
                  <a16:creationId xmlns:a16="http://schemas.microsoft.com/office/drawing/2014/main" id="{0338B80D-4595-CBAE-1D9F-E49CF7A654DE}"/>
                </a:ext>
              </a:extLst>
            </p:cNvPr>
            <p:cNvGrpSpPr/>
            <p:nvPr/>
          </p:nvGrpSpPr>
          <p:grpSpPr>
            <a:xfrm>
              <a:off x="2462777" y="2379623"/>
              <a:ext cx="1405717" cy="1239753"/>
              <a:chOff x="2462777" y="2379623"/>
              <a:chExt cx="1405717" cy="1239753"/>
            </a:xfrm>
          </p:grpSpPr>
          <p:sp>
            <p:nvSpPr>
              <p:cNvPr id="10" name="Textfeld 9">
                <a:extLst>
                  <a:ext uri="{FF2B5EF4-FFF2-40B4-BE49-F238E27FC236}">
                    <a16:creationId xmlns:a16="http://schemas.microsoft.com/office/drawing/2014/main" id="{4A5BECE5-5941-DE37-9EFA-4DE064670EDB}"/>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1" name="Pfeil nach unten 91">
                <a:extLst>
                  <a:ext uri="{FF2B5EF4-FFF2-40B4-BE49-F238E27FC236}">
                    <a16:creationId xmlns:a16="http://schemas.microsoft.com/office/drawing/2014/main" id="{C33811E5-6E93-BF67-559A-BC17AC09B594}"/>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sp>
        <p:nvSpPr>
          <p:cNvPr id="24" name="Pfeil nach unten 91">
            <a:extLst>
              <a:ext uri="{FF2B5EF4-FFF2-40B4-BE49-F238E27FC236}">
                <a16:creationId xmlns:a16="http://schemas.microsoft.com/office/drawing/2014/main" id="{07239D42-3CDA-C9DE-C11E-3A223BA26493}"/>
              </a:ext>
            </a:extLst>
          </p:cNvPr>
          <p:cNvSpPr/>
          <p:nvPr/>
        </p:nvSpPr>
        <p:spPr>
          <a:xfrm>
            <a:off x="8169621" y="4959456"/>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5" name="Rechteck 24">
            <a:extLst>
              <a:ext uri="{FF2B5EF4-FFF2-40B4-BE49-F238E27FC236}">
                <a16:creationId xmlns:a16="http://schemas.microsoft.com/office/drawing/2014/main" id="{DB826FC7-8FB2-A357-68F8-EF9FE0E287C5}"/>
              </a:ext>
            </a:extLst>
          </p:cNvPr>
          <p:cNvSpPr/>
          <p:nvPr/>
        </p:nvSpPr>
        <p:spPr>
          <a:xfrm>
            <a:off x="7396700" y="5890237"/>
            <a:ext cx="1836617" cy="496496"/>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26" name="Oval 551">
            <a:extLst>
              <a:ext uri="{FF2B5EF4-FFF2-40B4-BE49-F238E27FC236}">
                <a16:creationId xmlns:a16="http://schemas.microsoft.com/office/drawing/2014/main" id="{5AE83753-06DE-9938-414D-F0C34A6A4739}"/>
              </a:ext>
            </a:extLst>
          </p:cNvPr>
          <p:cNvSpPr/>
          <p:nvPr/>
        </p:nvSpPr>
        <p:spPr>
          <a:xfrm>
            <a:off x="6860364" y="3778381"/>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27" name="Graphic 315">
            <a:extLst>
              <a:ext uri="{FF2B5EF4-FFF2-40B4-BE49-F238E27FC236}">
                <a16:creationId xmlns:a16="http://schemas.microsoft.com/office/drawing/2014/main" id="{E7116CD3-8ACB-5C88-B5C3-0F049B7F61C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83662" y="3861619"/>
            <a:ext cx="208971" cy="291688"/>
          </a:xfrm>
          <a:prstGeom prst="rect">
            <a:avLst/>
          </a:prstGeom>
          <a:solidFill>
            <a:srgbClr val="FBBA00"/>
          </a:solidFill>
        </p:spPr>
      </p:pic>
      <p:sp>
        <p:nvSpPr>
          <p:cNvPr id="12" name="Nach oben gekrümmter Pfeil 26">
            <a:extLst>
              <a:ext uri="{FF2B5EF4-FFF2-40B4-BE49-F238E27FC236}">
                <a16:creationId xmlns:a16="http://schemas.microsoft.com/office/drawing/2014/main" id="{923F4B7D-77E4-DF50-B71D-5DAB9EFB331C}"/>
              </a:ext>
            </a:extLst>
          </p:cNvPr>
          <p:cNvSpPr/>
          <p:nvPr/>
        </p:nvSpPr>
        <p:spPr>
          <a:xfrm rot="861081">
            <a:off x="6136964" y="4450531"/>
            <a:ext cx="2044524" cy="698525"/>
          </a:xfrm>
          <a:prstGeom prst="curvedUp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4" name="Oval 157">
            <a:extLst>
              <a:ext uri="{FF2B5EF4-FFF2-40B4-BE49-F238E27FC236}">
                <a16:creationId xmlns:a16="http://schemas.microsoft.com/office/drawing/2014/main" id="{38D2D870-C8B2-C13D-615C-F74EBB92B895}"/>
              </a:ext>
            </a:extLst>
          </p:cNvPr>
          <p:cNvSpPr/>
          <p:nvPr/>
        </p:nvSpPr>
        <p:spPr>
          <a:xfrm flipH="1">
            <a:off x="8063490" y="4147584"/>
            <a:ext cx="461820" cy="461820"/>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5" name="Freeform: Shape 142">
            <a:extLst>
              <a:ext uri="{FF2B5EF4-FFF2-40B4-BE49-F238E27FC236}">
                <a16:creationId xmlns:a16="http://schemas.microsoft.com/office/drawing/2014/main" id="{59EDD5E2-E78B-B104-C746-CC8827A40E9A}"/>
              </a:ext>
            </a:extLst>
          </p:cNvPr>
          <p:cNvSpPr/>
          <p:nvPr/>
        </p:nvSpPr>
        <p:spPr bwMode="auto">
          <a:xfrm>
            <a:off x="8194938" y="4234520"/>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6" name="Textfeld 15">
            <a:extLst>
              <a:ext uri="{FF2B5EF4-FFF2-40B4-BE49-F238E27FC236}">
                <a16:creationId xmlns:a16="http://schemas.microsoft.com/office/drawing/2014/main" id="{DED7D220-4B0C-F353-B611-DD5F87E964AF}"/>
              </a:ext>
            </a:extLst>
          </p:cNvPr>
          <p:cNvSpPr txBox="1"/>
          <p:nvPr/>
        </p:nvSpPr>
        <p:spPr>
          <a:xfrm>
            <a:off x="7612152" y="4617724"/>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B </a:t>
            </a:r>
          </a:p>
        </p:txBody>
      </p:sp>
      <p:sp>
        <p:nvSpPr>
          <p:cNvPr id="13" name="Oval 551">
            <a:extLst>
              <a:ext uri="{FF2B5EF4-FFF2-40B4-BE49-F238E27FC236}">
                <a16:creationId xmlns:a16="http://schemas.microsoft.com/office/drawing/2014/main" id="{3BD30832-ECFB-E765-3F7F-B602D2BCA6A0}"/>
              </a:ext>
            </a:extLst>
          </p:cNvPr>
          <p:cNvSpPr/>
          <p:nvPr/>
        </p:nvSpPr>
        <p:spPr>
          <a:xfrm>
            <a:off x="6503288" y="3785770"/>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17" name="Graphic 315">
            <a:extLst>
              <a:ext uri="{FF2B5EF4-FFF2-40B4-BE49-F238E27FC236}">
                <a16:creationId xmlns:a16="http://schemas.microsoft.com/office/drawing/2014/main" id="{CA01F270-C298-0ABA-FFC9-B264469878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6586" y="3869008"/>
            <a:ext cx="208971" cy="291688"/>
          </a:xfrm>
          <a:prstGeom prst="rect">
            <a:avLst/>
          </a:prstGeom>
          <a:solidFill>
            <a:srgbClr val="FBBA00"/>
          </a:solidFill>
        </p:spPr>
      </p:pic>
      <p:sp>
        <p:nvSpPr>
          <p:cNvPr id="19" name="7 CuadroTexto">
            <a:extLst>
              <a:ext uri="{FF2B5EF4-FFF2-40B4-BE49-F238E27FC236}">
                <a16:creationId xmlns:a16="http://schemas.microsoft.com/office/drawing/2014/main" id="{56F7622A-3C18-CA41-553A-68F5010B3A8D}"/>
              </a:ext>
            </a:extLst>
          </p:cNvPr>
          <p:cNvSpPr txBox="1"/>
          <p:nvPr/>
        </p:nvSpPr>
        <p:spPr>
          <a:xfrm>
            <a:off x="8716114" y="3632206"/>
            <a:ext cx="3002484"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beim Verkauf erzielt die Holding den Veräußerungsgewinn </a:t>
            </a:r>
          </a:p>
        </p:txBody>
      </p:sp>
    </p:spTree>
    <p:extLst>
      <p:ext uri="{BB962C8B-B14F-4D97-AF65-F5344CB8AC3E}">
        <p14:creationId xmlns:p14="http://schemas.microsoft.com/office/powerpoint/2010/main" val="2607387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94327" y="827537"/>
            <a:ext cx="9790546" cy="584775"/>
          </a:xfrm>
          <a:prstGeom prst="rect">
            <a:avLst/>
          </a:prstGeom>
          <a:noFill/>
        </p:spPr>
        <p:txBody>
          <a:bodyPr wrap="square" rtlCol="0">
            <a:spAutoFit/>
          </a:bodyPr>
          <a:lstStyle/>
          <a:p>
            <a:pPr algn="ct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Dr. Lukas Karrenbrock</a:t>
            </a:r>
          </a:p>
        </p:txBody>
      </p:sp>
      <p:pic>
        <p:nvPicPr>
          <p:cNvPr id="4" name="Bildplatzhalter 3"/>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18440" t="1691" r="38827" b="18807"/>
          <a:stretch/>
        </p:blipFill>
        <p:spPr>
          <a:xfrm>
            <a:off x="963999" y="1934268"/>
            <a:ext cx="2002306" cy="2328279"/>
          </a:xfrm>
        </p:spPr>
      </p:pic>
      <p:grpSp>
        <p:nvGrpSpPr>
          <p:cNvPr id="10" name="Gruppieren 9">
            <a:extLst>
              <a:ext uri="{FF2B5EF4-FFF2-40B4-BE49-F238E27FC236}">
                <a16:creationId xmlns:a16="http://schemas.microsoft.com/office/drawing/2014/main" id="{F0A0B7E1-5035-4E1A-BB85-C8370D5F65CA}"/>
              </a:ext>
            </a:extLst>
          </p:cNvPr>
          <p:cNvGrpSpPr/>
          <p:nvPr/>
        </p:nvGrpSpPr>
        <p:grpSpPr>
          <a:xfrm>
            <a:off x="867495" y="4520568"/>
            <a:ext cx="2929805" cy="644651"/>
            <a:chOff x="5487629" y="2373459"/>
            <a:chExt cx="2929805" cy="644651"/>
          </a:xfrm>
        </p:grpSpPr>
        <p:sp>
          <p:nvSpPr>
            <p:cNvPr id="11" name="TextBox 7">
              <a:extLst>
                <a:ext uri="{FF2B5EF4-FFF2-40B4-BE49-F238E27FC236}">
                  <a16:creationId xmlns:a16="http://schemas.microsoft.com/office/drawing/2014/main" id="{7D9EBF1C-A36B-4104-972D-2F25B8F1562F}"/>
                </a:ext>
              </a:extLst>
            </p:cNvPr>
            <p:cNvSpPr txBox="1"/>
            <p:nvPr/>
          </p:nvSpPr>
          <p:spPr>
            <a:xfrm>
              <a:off x="5487629" y="2373459"/>
              <a:ext cx="2929805" cy="400110"/>
            </a:xfrm>
            <a:prstGeom prst="rect">
              <a:avLst/>
            </a:prstGeom>
            <a:noFill/>
          </p:spPr>
          <p:txBody>
            <a:bodyPr wrap="square" rtlCol="0">
              <a:spAutoFit/>
            </a:bodyPr>
            <a:lstStyle/>
            <a:p>
              <a:r>
                <a:rPr lang="en-US" sz="2000" b="1" dirty="0">
                  <a:solidFill>
                    <a:schemeClr val="tx1">
                      <a:lumMod val="75000"/>
                      <a:lumOff val="25000"/>
                    </a:schemeClr>
                  </a:solidFill>
                  <a:latin typeface="Segoe UI" panose="020B0502040204020203" pitchFamily="34" charset="0"/>
                  <a:ea typeface="Lato" charset="0"/>
                  <a:cs typeface="Segoe UI" panose="020B0502040204020203" pitchFamily="34" charset="0"/>
                </a:rPr>
                <a:t>Dr. Lukas Karrenbrock</a:t>
              </a:r>
            </a:p>
          </p:txBody>
        </p:sp>
        <p:sp>
          <p:nvSpPr>
            <p:cNvPr id="12" name="TextBox 8">
              <a:extLst>
                <a:ext uri="{FF2B5EF4-FFF2-40B4-BE49-F238E27FC236}">
                  <a16:creationId xmlns:a16="http://schemas.microsoft.com/office/drawing/2014/main" id="{6B403014-2320-4570-96E4-A5E44663B885}"/>
                </a:ext>
              </a:extLst>
            </p:cNvPr>
            <p:cNvSpPr txBox="1"/>
            <p:nvPr/>
          </p:nvSpPr>
          <p:spPr>
            <a:xfrm>
              <a:off x="5531783" y="2710333"/>
              <a:ext cx="2162985" cy="307777"/>
            </a:xfrm>
            <a:prstGeom prst="rect">
              <a:avLst/>
            </a:prstGeom>
            <a:noFill/>
          </p:spPr>
          <p:txBody>
            <a:bodyPr wrap="square" rtlCol="0">
              <a:spAutoFit/>
            </a:bodyPr>
            <a:lstStyle/>
            <a:p>
              <a:r>
                <a:rPr lang="en-US" sz="1400" dirty="0">
                  <a:solidFill>
                    <a:schemeClr val="bg2">
                      <a:lumMod val="25000"/>
                    </a:schemeClr>
                  </a:solidFill>
                  <a:latin typeface="Segoe UI" panose="020B0502040204020203" pitchFamily="34" charset="0"/>
                  <a:ea typeface="Lato" charset="0"/>
                  <a:cs typeface="Segoe UI" panose="020B0502040204020203" pitchFamily="34" charset="0"/>
                </a:rPr>
                <a:t>Dipl. </a:t>
              </a:r>
              <a:r>
                <a:rPr lang="en-US" sz="1400" dirty="0" err="1">
                  <a:solidFill>
                    <a:schemeClr val="bg2">
                      <a:lumMod val="25000"/>
                    </a:schemeClr>
                  </a:solidFill>
                  <a:latin typeface="Segoe UI" panose="020B0502040204020203" pitchFamily="34" charset="0"/>
                  <a:ea typeface="Lato" charset="0"/>
                  <a:cs typeface="Segoe UI" panose="020B0502040204020203" pitchFamily="34" charset="0"/>
                </a:rPr>
                <a:t>Iur</a:t>
              </a:r>
              <a:r>
                <a:rPr lang="en-US" sz="1400" dirty="0">
                  <a:solidFill>
                    <a:schemeClr val="bg2">
                      <a:lumMod val="25000"/>
                    </a:schemeClr>
                  </a:solidFill>
                  <a:latin typeface="Segoe UI" panose="020B0502040204020203" pitchFamily="34" charset="0"/>
                  <a:ea typeface="Lato" charset="0"/>
                  <a:cs typeface="Segoe UI" panose="020B0502040204020203" pitchFamily="34" charset="0"/>
                </a:rPr>
                <a:t>. </a:t>
              </a:r>
              <a:r>
                <a:rPr lang="en-US" sz="1400" dirty="0" err="1">
                  <a:solidFill>
                    <a:schemeClr val="bg2">
                      <a:lumMod val="25000"/>
                    </a:schemeClr>
                  </a:solidFill>
                  <a:latin typeface="Segoe UI" panose="020B0502040204020203" pitchFamily="34" charset="0"/>
                  <a:ea typeface="Lato" charset="0"/>
                  <a:cs typeface="Segoe UI" panose="020B0502040204020203" pitchFamily="34" charset="0"/>
                </a:rPr>
                <a:t>Oec</a:t>
              </a:r>
              <a:r>
                <a:rPr lang="en-US" sz="1400" dirty="0">
                  <a:solidFill>
                    <a:schemeClr val="bg2">
                      <a:lumMod val="25000"/>
                    </a:schemeClr>
                  </a:solidFill>
                  <a:latin typeface="Segoe UI" panose="020B0502040204020203" pitchFamily="34" charset="0"/>
                  <a:ea typeface="Lato" charset="0"/>
                  <a:cs typeface="Segoe UI" panose="020B0502040204020203" pitchFamily="34" charset="0"/>
                </a:rPr>
                <a:t>. | </a:t>
              </a:r>
              <a:r>
                <a:rPr lang="en-US" sz="1400" dirty="0" err="1">
                  <a:solidFill>
                    <a:schemeClr val="bg2">
                      <a:lumMod val="25000"/>
                    </a:schemeClr>
                  </a:solidFill>
                  <a:latin typeface="Segoe UI" panose="020B0502040204020203" pitchFamily="34" charset="0"/>
                  <a:ea typeface="Lato" charset="0"/>
                  <a:cs typeface="Segoe UI" panose="020B0502040204020203" pitchFamily="34" charset="0"/>
                </a:rPr>
                <a:t>StB</a:t>
              </a:r>
              <a:endParaRPr lang="en-US" sz="1400" dirty="0">
                <a:solidFill>
                  <a:schemeClr val="bg2">
                    <a:lumMod val="25000"/>
                  </a:schemeClr>
                </a:solidFill>
                <a:latin typeface="Segoe UI" panose="020B0502040204020203" pitchFamily="34" charset="0"/>
                <a:ea typeface="Lato" charset="0"/>
                <a:cs typeface="Segoe UI" panose="020B0502040204020203" pitchFamily="34" charset="0"/>
              </a:endParaRPr>
            </a:p>
          </p:txBody>
        </p:sp>
      </p:grpSp>
      <p:sp>
        <p:nvSpPr>
          <p:cNvPr id="3" name="7 CuadroTexto">
            <a:extLst>
              <a:ext uri="{FF2B5EF4-FFF2-40B4-BE49-F238E27FC236}">
                <a16:creationId xmlns:a16="http://schemas.microsoft.com/office/drawing/2014/main" id="{FE3CF2E1-5B4D-DAFA-F27E-842FE7F94EB7}"/>
              </a:ext>
            </a:extLst>
          </p:cNvPr>
          <p:cNvSpPr txBox="1"/>
          <p:nvPr/>
        </p:nvSpPr>
        <p:spPr>
          <a:xfrm>
            <a:off x="3728257" y="1941231"/>
            <a:ext cx="7644594" cy="4438010"/>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r>
              <a:rPr lang="de-DE" sz="1600" dirty="0">
                <a:latin typeface="Segoe UI" panose="020B0502040204020203" pitchFamily="34" charset="0"/>
                <a:cs typeface="Segoe UI" panose="020B0502040204020203" pitchFamily="34" charset="0"/>
              </a:rPr>
              <a:t>Diplom-Wirtschaftsjurist (Deutsches- und Europäisches Wirtschaftsrecht an der Universität Siegen)</a:t>
            </a:r>
          </a:p>
          <a:p>
            <a:pPr marL="285750" indent="-285750">
              <a:lnSpc>
                <a:spcPct val="150000"/>
              </a:lnSpc>
              <a:buFont typeface="Arial" panose="020B0604020202020204" pitchFamily="34" charset="0"/>
              <a:buChar char="•"/>
            </a:pPr>
            <a:r>
              <a:rPr lang="de-DE" sz="1600" dirty="0">
                <a:latin typeface="Segoe UI" panose="020B0502040204020203" pitchFamily="34" charset="0"/>
                <a:cs typeface="Segoe UI" panose="020B0502040204020203" pitchFamily="34" charset="0"/>
              </a:rPr>
              <a:t>Steuerberater, Fachberater für Internationales Steuerrecht </a:t>
            </a:r>
          </a:p>
          <a:p>
            <a:pPr marL="285750" indent="-285750">
              <a:lnSpc>
                <a:spcPct val="150000"/>
              </a:lnSpc>
              <a:buFont typeface="Arial" panose="020B0604020202020204" pitchFamily="34" charset="0"/>
              <a:buChar char="•"/>
            </a:pPr>
            <a:r>
              <a:rPr lang="de-DE" sz="1600" dirty="0">
                <a:latin typeface="Segoe UI" panose="020B0502040204020203" pitchFamily="34" charset="0"/>
                <a:cs typeface="Segoe UI" panose="020B0502040204020203" pitchFamily="34" charset="0"/>
              </a:rPr>
              <a:t>Lehrbeauftragter an der Hochschule Koblenz (Abgabenordnung) </a:t>
            </a:r>
          </a:p>
          <a:p>
            <a:pPr marL="285750" indent="-285750">
              <a:lnSpc>
                <a:spcPct val="150000"/>
              </a:lnSpc>
              <a:buFont typeface="Arial" panose="020B0604020202020204" pitchFamily="34" charset="0"/>
              <a:buChar char="•"/>
            </a:pPr>
            <a:r>
              <a:rPr lang="de-DE" sz="1600" dirty="0">
                <a:latin typeface="Segoe UI" panose="020B0502040204020203" pitchFamily="34" charset="0"/>
                <a:cs typeface="Segoe UI" panose="020B0502040204020203" pitchFamily="34" charset="0"/>
              </a:rPr>
              <a:t>Regelmäßige steuerrechtliche Publikationen </a:t>
            </a:r>
          </a:p>
          <a:p>
            <a:pPr marL="285750" indent="-285750">
              <a:lnSpc>
                <a:spcPct val="150000"/>
              </a:lnSpc>
              <a:buFont typeface="Arial" panose="020B0604020202020204" pitchFamily="34" charset="0"/>
              <a:buChar char="•"/>
            </a:pPr>
            <a:r>
              <a:rPr lang="de-DE" sz="1600" dirty="0">
                <a:latin typeface="Segoe UI" panose="020B0502040204020203" pitchFamily="34" charset="0"/>
                <a:cs typeface="Segoe UI" panose="020B0502040204020203" pitchFamily="34" charset="0"/>
              </a:rPr>
              <a:t>Geschäftsführender Gesellschafter der Dr. Dienst &amp; Partner GmbH &amp; Co. KG </a:t>
            </a:r>
          </a:p>
          <a:p>
            <a:pPr marL="285750" indent="-285750">
              <a:lnSpc>
                <a:spcPct val="150000"/>
              </a:lnSpc>
              <a:buFont typeface="Arial" panose="020B0604020202020204" pitchFamily="34" charset="0"/>
              <a:buChar char="•"/>
            </a:pPr>
            <a:r>
              <a:rPr lang="de-DE" sz="1600" dirty="0">
                <a:latin typeface="Segoe UI" panose="020B0502040204020203" pitchFamily="34" charset="0"/>
                <a:cs typeface="Segoe UI" panose="020B0502040204020203" pitchFamily="34" charset="0"/>
              </a:rPr>
              <a:t>Tätigkeitsschwerpunkte (Auswahl):</a:t>
            </a:r>
          </a:p>
          <a:p>
            <a:pPr marL="742928" lvl="1" indent="-285750">
              <a:lnSpc>
                <a:spcPct val="150000"/>
              </a:lnSpc>
              <a:buFont typeface="Arial" panose="020B0604020202020204" pitchFamily="34" charset="0"/>
              <a:buChar char="•"/>
            </a:pPr>
            <a:r>
              <a:rPr lang="de-DE" sz="1600" dirty="0">
                <a:latin typeface="Segoe UI" panose="020B0502040204020203" pitchFamily="34" charset="0"/>
                <a:cs typeface="Segoe UI" panose="020B0502040204020203" pitchFamily="34" charset="0"/>
              </a:rPr>
              <a:t>Umstrukturierungen</a:t>
            </a:r>
          </a:p>
          <a:p>
            <a:pPr marL="742928" lvl="1" indent="-285750">
              <a:lnSpc>
                <a:spcPct val="150000"/>
              </a:lnSpc>
              <a:buFont typeface="Arial" panose="020B0604020202020204" pitchFamily="34" charset="0"/>
              <a:buChar char="•"/>
            </a:pPr>
            <a:r>
              <a:rPr lang="de-DE" sz="1600" dirty="0">
                <a:latin typeface="Segoe UI" panose="020B0502040204020203" pitchFamily="34" charset="0"/>
                <a:cs typeface="Segoe UI" panose="020B0502040204020203" pitchFamily="34" charset="0"/>
              </a:rPr>
              <a:t>Unternehmensnachfolge </a:t>
            </a:r>
          </a:p>
          <a:p>
            <a:pPr marL="742928" lvl="1" indent="-285750">
              <a:lnSpc>
                <a:spcPct val="150000"/>
              </a:lnSpc>
              <a:buFont typeface="Arial" panose="020B0604020202020204" pitchFamily="34" charset="0"/>
              <a:buChar char="•"/>
            </a:pPr>
            <a:r>
              <a:rPr lang="de-DE" sz="1600" dirty="0">
                <a:latin typeface="Segoe UI" panose="020B0502040204020203" pitchFamily="34" charset="0"/>
                <a:cs typeface="Segoe UI" panose="020B0502040204020203" pitchFamily="34" charset="0"/>
              </a:rPr>
              <a:t>Vermögensnachfolge </a:t>
            </a:r>
          </a:p>
          <a:p>
            <a:pPr marL="742928" lvl="1" indent="-285750">
              <a:lnSpc>
                <a:spcPct val="150000"/>
              </a:lnSpc>
              <a:buFont typeface="Arial" panose="020B0604020202020204" pitchFamily="34" charset="0"/>
              <a:buChar char="•"/>
            </a:pPr>
            <a:r>
              <a:rPr lang="de-DE" sz="1600" dirty="0">
                <a:latin typeface="Segoe UI" panose="020B0502040204020203" pitchFamily="34" charset="0"/>
                <a:cs typeface="Segoe UI" panose="020B0502040204020203" pitchFamily="34" charset="0"/>
              </a:rPr>
              <a:t>(außergerichtliche) Rechtsbehelfsverfahren </a:t>
            </a:r>
          </a:p>
          <a:p>
            <a:pPr marL="742928" lvl="1" indent="-285750">
              <a:lnSpc>
                <a:spcPct val="150000"/>
              </a:lnSpc>
              <a:buFont typeface="Arial" panose="020B0604020202020204" pitchFamily="34" charset="0"/>
              <a:buChar char="•"/>
            </a:pPr>
            <a:endParaRPr lang="de-DE"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14044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Effect transition="in" filter="fade">
                                      <p:cBhvr>
                                        <p:cTn id="13" dur="500"/>
                                        <p:tgtEl>
                                          <p:spTgt spid="3">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animEffect transition="in" filter="fade">
                                      <p:cBhvr>
                                        <p:cTn id="16" dur="500"/>
                                        <p:tgtEl>
                                          <p:spTgt spid="3">
                                            <p:txEl>
                                              <p:pRg st="2" end="2"/>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3">
                                            <p:txEl>
                                              <p:pRg st="0" end="0"/>
                                            </p:txEl>
                                          </p:spTgt>
                                        </p:tgtEl>
                                        <p:attrNameLst>
                                          <p:attrName>style.visibility</p:attrName>
                                        </p:attrNameLst>
                                      </p:cBhvr>
                                      <p:to>
                                        <p:strVal val="visible"/>
                                      </p:to>
                                    </p:set>
                                    <p:animEffect transition="in" filter="fade">
                                      <p:cBhvr>
                                        <p:cTn id="22" dur="500"/>
                                        <p:tgtEl>
                                          <p:spTgt spid="3">
                                            <p:txEl>
                                              <p:pRg st="0" end="0"/>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3">
                                            <p:txEl>
                                              <p:pRg st="7" end="7"/>
                                            </p:txEl>
                                          </p:spTgt>
                                        </p:tgtEl>
                                        <p:attrNameLst>
                                          <p:attrName>style.visibility</p:attrName>
                                        </p:attrNameLst>
                                      </p:cBhvr>
                                      <p:to>
                                        <p:strVal val="visible"/>
                                      </p:to>
                                    </p:set>
                                    <p:animEffect transition="in" filter="fade">
                                      <p:cBhvr>
                                        <p:cTn id="34" dur="500"/>
                                        <p:tgtEl>
                                          <p:spTgt spid="3">
                                            <p:txEl>
                                              <p:pRg st="7" end="7"/>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animEffect transition="in" filter="fade">
                                      <p:cBhvr>
                                        <p:cTn id="37" dur="500"/>
                                        <p:tgtEl>
                                          <p:spTgt spid="3">
                                            <p:txEl>
                                              <p:pRg st="8" end="8"/>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3">
                                            <p:txEl>
                                              <p:pRg st="9" end="9"/>
                                            </p:txEl>
                                          </p:spTgt>
                                        </p:tgtEl>
                                        <p:attrNameLst>
                                          <p:attrName>style.visibility</p:attrName>
                                        </p:attrNameLst>
                                      </p:cBhvr>
                                      <p:to>
                                        <p:strVal val="visible"/>
                                      </p:to>
                                    </p:set>
                                    <p:animEffect transition="in" filter="fade">
                                      <p:cBhvr>
                                        <p:cTn id="40"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6D8833-5FAA-0C66-B11B-E6568A153BCF}"/>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4A3D768E-06EE-B66A-A61B-129E3FA1C51D}"/>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Übertrag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Holding-</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Struktu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t>
            </a:r>
          </a:p>
        </p:txBody>
      </p:sp>
      <p:sp>
        <p:nvSpPr>
          <p:cNvPr id="18" name="Freeform: Shape 142">
            <a:extLst>
              <a:ext uri="{FF2B5EF4-FFF2-40B4-BE49-F238E27FC236}">
                <a16:creationId xmlns:a16="http://schemas.microsoft.com/office/drawing/2014/main" id="{24B71F22-AD1E-F24E-E95C-A81F7D936161}"/>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457CE93E-471A-2F76-E5B0-09425E8D45D2}"/>
              </a:ext>
            </a:extLst>
          </p:cNvPr>
          <p:cNvSpPr txBox="1"/>
          <p:nvPr/>
        </p:nvSpPr>
        <p:spPr>
          <a:xfrm>
            <a:off x="1476643" y="2228687"/>
            <a:ext cx="8647285"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endParaRPr lang="de-DE" sz="1400" dirty="0">
              <a:latin typeface="Segoe UI" panose="020B0502040204020203" pitchFamily="34" charset="0"/>
              <a:cs typeface="Segoe UI" panose="020B0502040204020203" pitchFamily="34" charset="0"/>
            </a:endParaRPr>
          </a:p>
        </p:txBody>
      </p:sp>
      <p:sp>
        <p:nvSpPr>
          <p:cNvPr id="8" name="Plus Sign 6">
            <a:extLst>
              <a:ext uri="{FF2B5EF4-FFF2-40B4-BE49-F238E27FC236}">
                <a16:creationId xmlns:a16="http://schemas.microsoft.com/office/drawing/2014/main" id="{73C69B4C-4D2D-119E-9B16-DAB527345A74}"/>
              </a:ext>
            </a:extLst>
          </p:cNvPr>
          <p:cNvSpPr/>
          <p:nvPr/>
        </p:nvSpPr>
        <p:spPr bwMode="auto">
          <a:xfrm>
            <a:off x="1096689" y="4447839"/>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 name="Rechteck 1">
            <a:extLst>
              <a:ext uri="{FF2B5EF4-FFF2-40B4-BE49-F238E27FC236}">
                <a16:creationId xmlns:a16="http://schemas.microsoft.com/office/drawing/2014/main" id="{42A57FEB-72DD-271E-FB4A-7AB2CDC36220}"/>
              </a:ext>
            </a:extLst>
          </p:cNvPr>
          <p:cNvSpPr/>
          <p:nvPr/>
        </p:nvSpPr>
        <p:spPr>
          <a:xfrm>
            <a:off x="4891046" y="3716560"/>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Holding GmbH</a:t>
            </a:r>
          </a:p>
        </p:txBody>
      </p:sp>
      <p:sp>
        <p:nvSpPr>
          <p:cNvPr id="3" name="Textplatzhalter 1">
            <a:extLst>
              <a:ext uri="{FF2B5EF4-FFF2-40B4-BE49-F238E27FC236}">
                <a16:creationId xmlns:a16="http://schemas.microsoft.com/office/drawing/2014/main" id="{C4A835AE-DCD5-985F-8A9C-A99CE4C09F50}"/>
              </a:ext>
            </a:extLst>
          </p:cNvPr>
          <p:cNvSpPr txBox="1">
            <a:spLocks/>
          </p:cNvSpPr>
          <p:nvPr/>
        </p:nvSpPr>
        <p:spPr>
          <a:xfrm>
            <a:off x="3507265" y="3697255"/>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4" name="Textplatzhalter 1">
            <a:extLst>
              <a:ext uri="{FF2B5EF4-FFF2-40B4-BE49-F238E27FC236}">
                <a16:creationId xmlns:a16="http://schemas.microsoft.com/office/drawing/2014/main" id="{209BE34D-6D8B-9378-EED9-3EC57375211F}"/>
              </a:ext>
            </a:extLst>
          </p:cNvPr>
          <p:cNvSpPr txBox="1">
            <a:spLocks/>
          </p:cNvSpPr>
          <p:nvPr/>
        </p:nvSpPr>
        <p:spPr>
          <a:xfrm>
            <a:off x="3460238" y="1997091"/>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5" name="Gruppieren 4">
            <a:extLst>
              <a:ext uri="{FF2B5EF4-FFF2-40B4-BE49-F238E27FC236}">
                <a16:creationId xmlns:a16="http://schemas.microsoft.com/office/drawing/2014/main" id="{9F3E7FE7-65D6-B242-EF62-48B790810B71}"/>
              </a:ext>
            </a:extLst>
          </p:cNvPr>
          <p:cNvGrpSpPr/>
          <p:nvPr/>
        </p:nvGrpSpPr>
        <p:grpSpPr>
          <a:xfrm>
            <a:off x="5108097" y="1933417"/>
            <a:ext cx="1405717" cy="1714892"/>
            <a:chOff x="2462777" y="1904484"/>
            <a:chExt cx="1405717" cy="1714892"/>
          </a:xfrm>
        </p:grpSpPr>
        <p:grpSp>
          <p:nvGrpSpPr>
            <p:cNvPr id="7" name="Group 138">
              <a:extLst>
                <a:ext uri="{FF2B5EF4-FFF2-40B4-BE49-F238E27FC236}">
                  <a16:creationId xmlns:a16="http://schemas.microsoft.com/office/drawing/2014/main" id="{623D6BDA-D881-92BF-9D10-A9939A1F31B5}"/>
                </a:ext>
              </a:extLst>
            </p:cNvPr>
            <p:cNvGrpSpPr/>
            <p:nvPr/>
          </p:nvGrpSpPr>
          <p:grpSpPr>
            <a:xfrm>
              <a:off x="2934725" y="1904484"/>
              <a:ext cx="461820" cy="461820"/>
              <a:chOff x="1236144" y="1532568"/>
              <a:chExt cx="834324" cy="834324"/>
            </a:xfrm>
          </p:grpSpPr>
          <p:sp>
            <p:nvSpPr>
              <p:cNvPr id="20" name="Freeform: Shape 139">
                <a:extLst>
                  <a:ext uri="{FF2B5EF4-FFF2-40B4-BE49-F238E27FC236}">
                    <a16:creationId xmlns:a16="http://schemas.microsoft.com/office/drawing/2014/main" id="{5D865368-64A4-1F73-18F6-ED2F5AA6A409}"/>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1" name="Freeform: Shape 140">
                <a:extLst>
                  <a:ext uri="{FF2B5EF4-FFF2-40B4-BE49-F238E27FC236}">
                    <a16:creationId xmlns:a16="http://schemas.microsoft.com/office/drawing/2014/main" id="{9839B680-1349-CC2A-2E5D-62FE946C5903}"/>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2" name="Oval 157">
                <a:extLst>
                  <a:ext uri="{FF2B5EF4-FFF2-40B4-BE49-F238E27FC236}">
                    <a16:creationId xmlns:a16="http://schemas.microsoft.com/office/drawing/2014/main" id="{32F4CB8A-E6E2-3DD8-BFCF-5F643BAEEB4E}"/>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23" name="Freeform: Shape 142">
                <a:extLst>
                  <a:ext uri="{FF2B5EF4-FFF2-40B4-BE49-F238E27FC236}">
                    <a16:creationId xmlns:a16="http://schemas.microsoft.com/office/drawing/2014/main" id="{F89474D4-83AD-524A-CC67-A21FAC119AF4}"/>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9" name="Gruppieren 8">
              <a:extLst>
                <a:ext uri="{FF2B5EF4-FFF2-40B4-BE49-F238E27FC236}">
                  <a16:creationId xmlns:a16="http://schemas.microsoft.com/office/drawing/2014/main" id="{15225128-3833-883D-AAFB-995720D146FF}"/>
                </a:ext>
              </a:extLst>
            </p:cNvPr>
            <p:cNvGrpSpPr/>
            <p:nvPr/>
          </p:nvGrpSpPr>
          <p:grpSpPr>
            <a:xfrm>
              <a:off x="2462777" y="2379623"/>
              <a:ext cx="1405717" cy="1239753"/>
              <a:chOff x="2462777" y="2379623"/>
              <a:chExt cx="1405717" cy="1239753"/>
            </a:xfrm>
          </p:grpSpPr>
          <p:sp>
            <p:nvSpPr>
              <p:cNvPr id="10" name="Textfeld 9">
                <a:extLst>
                  <a:ext uri="{FF2B5EF4-FFF2-40B4-BE49-F238E27FC236}">
                    <a16:creationId xmlns:a16="http://schemas.microsoft.com/office/drawing/2014/main" id="{A6298342-AA2F-3484-96A3-E2E464C14958}"/>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1" name="Pfeil nach unten 91">
                <a:extLst>
                  <a:ext uri="{FF2B5EF4-FFF2-40B4-BE49-F238E27FC236}">
                    <a16:creationId xmlns:a16="http://schemas.microsoft.com/office/drawing/2014/main" id="{22F9565F-7C95-5EC2-06A6-3A2E6AD34209}"/>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sp>
        <p:nvSpPr>
          <p:cNvPr id="24" name="Pfeil nach unten 91">
            <a:extLst>
              <a:ext uri="{FF2B5EF4-FFF2-40B4-BE49-F238E27FC236}">
                <a16:creationId xmlns:a16="http://schemas.microsoft.com/office/drawing/2014/main" id="{42F19B5D-4EA0-B8FA-E54A-44D2BCDB79BD}"/>
              </a:ext>
            </a:extLst>
          </p:cNvPr>
          <p:cNvSpPr/>
          <p:nvPr/>
        </p:nvSpPr>
        <p:spPr>
          <a:xfrm>
            <a:off x="8169621" y="4959456"/>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5" name="Rechteck 24">
            <a:extLst>
              <a:ext uri="{FF2B5EF4-FFF2-40B4-BE49-F238E27FC236}">
                <a16:creationId xmlns:a16="http://schemas.microsoft.com/office/drawing/2014/main" id="{957A0272-28CB-E07D-00DE-8B3EAD43D1B1}"/>
              </a:ext>
            </a:extLst>
          </p:cNvPr>
          <p:cNvSpPr/>
          <p:nvPr/>
        </p:nvSpPr>
        <p:spPr>
          <a:xfrm>
            <a:off x="7396700" y="5890236"/>
            <a:ext cx="1836617" cy="475395"/>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26" name="Oval 551">
            <a:extLst>
              <a:ext uri="{FF2B5EF4-FFF2-40B4-BE49-F238E27FC236}">
                <a16:creationId xmlns:a16="http://schemas.microsoft.com/office/drawing/2014/main" id="{E5251411-16F0-1714-9B87-64408901A9F1}"/>
              </a:ext>
            </a:extLst>
          </p:cNvPr>
          <p:cNvSpPr/>
          <p:nvPr/>
        </p:nvSpPr>
        <p:spPr>
          <a:xfrm>
            <a:off x="6860364" y="3778381"/>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27" name="Graphic 315">
            <a:extLst>
              <a:ext uri="{FF2B5EF4-FFF2-40B4-BE49-F238E27FC236}">
                <a16:creationId xmlns:a16="http://schemas.microsoft.com/office/drawing/2014/main" id="{66035711-662A-B2B7-FA9A-E5BCF5EDEE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83662" y="3861619"/>
            <a:ext cx="208971" cy="291688"/>
          </a:xfrm>
          <a:prstGeom prst="rect">
            <a:avLst/>
          </a:prstGeom>
          <a:solidFill>
            <a:srgbClr val="FBBA00"/>
          </a:solidFill>
        </p:spPr>
      </p:pic>
      <p:sp>
        <p:nvSpPr>
          <p:cNvPr id="12" name="Nach oben gekrümmter Pfeil 26">
            <a:extLst>
              <a:ext uri="{FF2B5EF4-FFF2-40B4-BE49-F238E27FC236}">
                <a16:creationId xmlns:a16="http://schemas.microsoft.com/office/drawing/2014/main" id="{FE161148-7683-71DF-43CF-24DD8B6AB07B}"/>
              </a:ext>
            </a:extLst>
          </p:cNvPr>
          <p:cNvSpPr/>
          <p:nvPr/>
        </p:nvSpPr>
        <p:spPr>
          <a:xfrm rot="861081">
            <a:off x="6136964" y="4450531"/>
            <a:ext cx="2044524" cy="698525"/>
          </a:xfrm>
          <a:prstGeom prst="curvedUp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4" name="Oval 157">
            <a:extLst>
              <a:ext uri="{FF2B5EF4-FFF2-40B4-BE49-F238E27FC236}">
                <a16:creationId xmlns:a16="http://schemas.microsoft.com/office/drawing/2014/main" id="{DC39F72F-58B0-03EB-28F0-88C96F4451BB}"/>
              </a:ext>
            </a:extLst>
          </p:cNvPr>
          <p:cNvSpPr/>
          <p:nvPr/>
        </p:nvSpPr>
        <p:spPr>
          <a:xfrm flipH="1">
            <a:off x="8063490" y="4147584"/>
            <a:ext cx="461820" cy="461820"/>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5" name="Freeform: Shape 142">
            <a:extLst>
              <a:ext uri="{FF2B5EF4-FFF2-40B4-BE49-F238E27FC236}">
                <a16:creationId xmlns:a16="http://schemas.microsoft.com/office/drawing/2014/main" id="{9FCE3270-C534-2992-F878-620690AF5409}"/>
              </a:ext>
            </a:extLst>
          </p:cNvPr>
          <p:cNvSpPr/>
          <p:nvPr/>
        </p:nvSpPr>
        <p:spPr bwMode="auto">
          <a:xfrm>
            <a:off x="8194938" y="4234520"/>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6" name="Textfeld 15">
            <a:extLst>
              <a:ext uri="{FF2B5EF4-FFF2-40B4-BE49-F238E27FC236}">
                <a16:creationId xmlns:a16="http://schemas.microsoft.com/office/drawing/2014/main" id="{15F9855E-0AB2-7857-9358-00E2ED018F21}"/>
              </a:ext>
            </a:extLst>
          </p:cNvPr>
          <p:cNvSpPr txBox="1"/>
          <p:nvPr/>
        </p:nvSpPr>
        <p:spPr>
          <a:xfrm>
            <a:off x="7612152" y="4617724"/>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B </a:t>
            </a:r>
          </a:p>
        </p:txBody>
      </p:sp>
      <p:sp>
        <p:nvSpPr>
          <p:cNvPr id="13" name="Oval 551">
            <a:extLst>
              <a:ext uri="{FF2B5EF4-FFF2-40B4-BE49-F238E27FC236}">
                <a16:creationId xmlns:a16="http://schemas.microsoft.com/office/drawing/2014/main" id="{57CF0964-0421-FD06-4E4D-6FDB989EC51D}"/>
              </a:ext>
            </a:extLst>
          </p:cNvPr>
          <p:cNvSpPr/>
          <p:nvPr/>
        </p:nvSpPr>
        <p:spPr>
          <a:xfrm>
            <a:off x="6503288" y="3785770"/>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17" name="Graphic 315">
            <a:extLst>
              <a:ext uri="{FF2B5EF4-FFF2-40B4-BE49-F238E27FC236}">
                <a16:creationId xmlns:a16="http://schemas.microsoft.com/office/drawing/2014/main" id="{96FEE419-F368-ECE7-EE6A-AD54DF197D8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6586" y="3869008"/>
            <a:ext cx="208971" cy="291688"/>
          </a:xfrm>
          <a:prstGeom prst="rect">
            <a:avLst/>
          </a:prstGeom>
          <a:solidFill>
            <a:srgbClr val="FBBA00"/>
          </a:solidFill>
        </p:spPr>
      </p:pic>
      <p:sp>
        <p:nvSpPr>
          <p:cNvPr id="19" name="7 CuadroTexto">
            <a:extLst>
              <a:ext uri="{FF2B5EF4-FFF2-40B4-BE49-F238E27FC236}">
                <a16:creationId xmlns:a16="http://schemas.microsoft.com/office/drawing/2014/main" id="{5F21D6B1-99B4-58B6-AA1E-90435000C627}"/>
              </a:ext>
            </a:extLst>
          </p:cNvPr>
          <p:cNvSpPr txBox="1"/>
          <p:nvPr/>
        </p:nvSpPr>
        <p:spPr>
          <a:xfrm>
            <a:off x="8716114" y="3632206"/>
            <a:ext cx="3002484"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beim Verkauf erzielt die Holding den Veräußerungsgewinn </a:t>
            </a:r>
          </a:p>
        </p:txBody>
      </p:sp>
      <p:sp>
        <p:nvSpPr>
          <p:cNvPr id="28" name="7 CuadroTexto">
            <a:extLst>
              <a:ext uri="{FF2B5EF4-FFF2-40B4-BE49-F238E27FC236}">
                <a16:creationId xmlns:a16="http://schemas.microsoft.com/office/drawing/2014/main" id="{A955D9A2-644A-7ED6-3E04-711B592B6EB1}"/>
              </a:ext>
            </a:extLst>
          </p:cNvPr>
          <p:cNvSpPr txBox="1"/>
          <p:nvPr/>
        </p:nvSpPr>
        <p:spPr>
          <a:xfrm>
            <a:off x="8723368" y="4298473"/>
            <a:ext cx="3002484" cy="1021690"/>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der Gewinn ist zu 95 % steuerfrei, wenn die Holding-Struktur vor mind. sieben Jahren errichtet wurde </a:t>
            </a:r>
          </a:p>
        </p:txBody>
      </p:sp>
    </p:spTree>
    <p:extLst>
      <p:ext uri="{BB962C8B-B14F-4D97-AF65-F5344CB8AC3E}">
        <p14:creationId xmlns:p14="http://schemas.microsoft.com/office/powerpoint/2010/main" val="385283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494571-552E-F41E-CA6E-C5918C01D38E}"/>
            </a:ext>
          </a:extLst>
        </p:cNvPr>
        <p:cNvGrpSpPr/>
        <p:nvPr/>
      </p:nvGrpSpPr>
      <p:grpSpPr>
        <a:xfrm>
          <a:off x="0" y="0"/>
          <a:ext cx="0" cy="0"/>
          <a:chOff x="0" y="0"/>
          <a:chExt cx="0" cy="0"/>
        </a:xfrm>
      </p:grpSpPr>
      <p:sp>
        <p:nvSpPr>
          <p:cNvPr id="55" name="Slide Number Placeholder 5">
            <a:extLst>
              <a:ext uri="{FF2B5EF4-FFF2-40B4-BE49-F238E27FC236}">
                <a16:creationId xmlns:a16="http://schemas.microsoft.com/office/drawing/2014/main" id="{4EEA37F1-DD5E-4F23-6DE0-17444C548329}"/>
              </a:ext>
            </a:extLst>
          </p:cNvPr>
          <p:cNvSpPr txBox="1">
            <a:spLocks/>
          </p:cNvSpPr>
          <p:nvPr>
            <p:custDataLst>
              <p:tags r:id="rId1"/>
            </p:custDataLst>
          </p:nvPr>
        </p:nvSpPr>
        <p:spPr>
          <a:xfrm>
            <a:off x="896416" y="7855507"/>
            <a:ext cx="283900" cy="151200"/>
          </a:xfrm>
          <a:prstGeom prst="rect">
            <a:avLst/>
          </a:prstGeom>
        </p:spPr>
        <p:txBody>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fld id="{3A5C5CA0-F2C0-43F9-B89F-AC7FA210C1FD}" type="slidenum">
              <a:rPr lang="en-GB" smtClean="0"/>
              <a:pPr/>
              <a:t>41</a:t>
            </a:fld>
            <a:endParaRPr lang="en-GB" dirty="0"/>
          </a:p>
        </p:txBody>
      </p:sp>
      <p:sp>
        <p:nvSpPr>
          <p:cNvPr id="85" name="TextBox 1">
            <a:extLst>
              <a:ext uri="{FF2B5EF4-FFF2-40B4-BE49-F238E27FC236}">
                <a16:creationId xmlns:a16="http://schemas.microsoft.com/office/drawing/2014/main" id="{F9412228-E092-4E8B-3C9A-D010BA9E8995}"/>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Übertrag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Holding-</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Struktu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t>
            </a:r>
          </a:p>
        </p:txBody>
      </p:sp>
      <p:sp>
        <p:nvSpPr>
          <p:cNvPr id="18" name="Freeform: Shape 142">
            <a:extLst>
              <a:ext uri="{FF2B5EF4-FFF2-40B4-BE49-F238E27FC236}">
                <a16:creationId xmlns:a16="http://schemas.microsoft.com/office/drawing/2014/main" id="{91E0DBDE-1CAE-7CF4-B8A4-BDD465FB7AB4}"/>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02D1D0A7-9D8F-B74B-EE86-9331B87748CF}"/>
              </a:ext>
            </a:extLst>
          </p:cNvPr>
          <p:cNvSpPr txBox="1"/>
          <p:nvPr/>
        </p:nvSpPr>
        <p:spPr>
          <a:xfrm>
            <a:off x="1476643" y="2228687"/>
            <a:ext cx="8647285"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endParaRPr lang="de-DE" sz="1400" dirty="0">
              <a:latin typeface="Segoe UI" panose="020B0502040204020203" pitchFamily="34" charset="0"/>
              <a:cs typeface="Segoe UI" panose="020B0502040204020203" pitchFamily="34" charset="0"/>
            </a:endParaRPr>
          </a:p>
        </p:txBody>
      </p:sp>
      <p:sp>
        <p:nvSpPr>
          <p:cNvPr id="8" name="Plus Sign 6">
            <a:extLst>
              <a:ext uri="{FF2B5EF4-FFF2-40B4-BE49-F238E27FC236}">
                <a16:creationId xmlns:a16="http://schemas.microsoft.com/office/drawing/2014/main" id="{0D742E82-7389-676D-73A6-596429862010}"/>
              </a:ext>
            </a:extLst>
          </p:cNvPr>
          <p:cNvSpPr/>
          <p:nvPr/>
        </p:nvSpPr>
        <p:spPr bwMode="auto">
          <a:xfrm>
            <a:off x="1096689" y="4447839"/>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 name="Rechteck 1">
            <a:extLst>
              <a:ext uri="{FF2B5EF4-FFF2-40B4-BE49-F238E27FC236}">
                <a16:creationId xmlns:a16="http://schemas.microsoft.com/office/drawing/2014/main" id="{F411E4F1-850E-B8EB-09ED-6BF6AAE7EF3D}"/>
              </a:ext>
            </a:extLst>
          </p:cNvPr>
          <p:cNvSpPr/>
          <p:nvPr/>
        </p:nvSpPr>
        <p:spPr>
          <a:xfrm>
            <a:off x="4891046" y="3716560"/>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Holding GmbH</a:t>
            </a:r>
          </a:p>
        </p:txBody>
      </p:sp>
      <p:sp>
        <p:nvSpPr>
          <p:cNvPr id="3" name="Textplatzhalter 1">
            <a:extLst>
              <a:ext uri="{FF2B5EF4-FFF2-40B4-BE49-F238E27FC236}">
                <a16:creationId xmlns:a16="http://schemas.microsoft.com/office/drawing/2014/main" id="{7E6ADC00-E2FF-4435-EFE5-DA0DC9978F67}"/>
              </a:ext>
            </a:extLst>
          </p:cNvPr>
          <p:cNvSpPr txBox="1">
            <a:spLocks/>
          </p:cNvSpPr>
          <p:nvPr/>
        </p:nvSpPr>
        <p:spPr>
          <a:xfrm>
            <a:off x="3507265" y="3697255"/>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4" name="Textplatzhalter 1">
            <a:extLst>
              <a:ext uri="{FF2B5EF4-FFF2-40B4-BE49-F238E27FC236}">
                <a16:creationId xmlns:a16="http://schemas.microsoft.com/office/drawing/2014/main" id="{4C7E6181-A1EC-2EF8-B963-32BBBAFB1B29}"/>
              </a:ext>
            </a:extLst>
          </p:cNvPr>
          <p:cNvSpPr txBox="1">
            <a:spLocks/>
          </p:cNvSpPr>
          <p:nvPr/>
        </p:nvSpPr>
        <p:spPr>
          <a:xfrm>
            <a:off x="3460238" y="1997091"/>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5" name="Gruppieren 4">
            <a:extLst>
              <a:ext uri="{FF2B5EF4-FFF2-40B4-BE49-F238E27FC236}">
                <a16:creationId xmlns:a16="http://schemas.microsoft.com/office/drawing/2014/main" id="{DDABF711-F3D9-16A1-5A75-D8A4DF37FD86}"/>
              </a:ext>
            </a:extLst>
          </p:cNvPr>
          <p:cNvGrpSpPr/>
          <p:nvPr/>
        </p:nvGrpSpPr>
        <p:grpSpPr>
          <a:xfrm>
            <a:off x="5108097" y="1933417"/>
            <a:ext cx="1405717" cy="1714892"/>
            <a:chOff x="2462777" y="1904484"/>
            <a:chExt cx="1405717" cy="1714892"/>
          </a:xfrm>
        </p:grpSpPr>
        <p:grpSp>
          <p:nvGrpSpPr>
            <p:cNvPr id="7" name="Group 138">
              <a:extLst>
                <a:ext uri="{FF2B5EF4-FFF2-40B4-BE49-F238E27FC236}">
                  <a16:creationId xmlns:a16="http://schemas.microsoft.com/office/drawing/2014/main" id="{3104D25F-8FC4-30A2-5DF7-EBE510E2B193}"/>
                </a:ext>
              </a:extLst>
            </p:cNvPr>
            <p:cNvGrpSpPr/>
            <p:nvPr/>
          </p:nvGrpSpPr>
          <p:grpSpPr>
            <a:xfrm>
              <a:off x="2934725" y="1904484"/>
              <a:ext cx="461820" cy="461820"/>
              <a:chOff x="1236144" y="1532568"/>
              <a:chExt cx="834324" cy="834324"/>
            </a:xfrm>
          </p:grpSpPr>
          <p:sp>
            <p:nvSpPr>
              <p:cNvPr id="20" name="Freeform: Shape 139">
                <a:extLst>
                  <a:ext uri="{FF2B5EF4-FFF2-40B4-BE49-F238E27FC236}">
                    <a16:creationId xmlns:a16="http://schemas.microsoft.com/office/drawing/2014/main" id="{A30B4878-3164-4C28-5315-C15957F08F95}"/>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1" name="Freeform: Shape 140">
                <a:extLst>
                  <a:ext uri="{FF2B5EF4-FFF2-40B4-BE49-F238E27FC236}">
                    <a16:creationId xmlns:a16="http://schemas.microsoft.com/office/drawing/2014/main" id="{E807CBD7-595A-D43A-B0A6-19A8E3EDB2BA}"/>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2" name="Oval 157">
                <a:extLst>
                  <a:ext uri="{FF2B5EF4-FFF2-40B4-BE49-F238E27FC236}">
                    <a16:creationId xmlns:a16="http://schemas.microsoft.com/office/drawing/2014/main" id="{00CA6E98-3B52-5362-83C8-9B999CBA5BCB}"/>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23" name="Freeform: Shape 142">
                <a:extLst>
                  <a:ext uri="{FF2B5EF4-FFF2-40B4-BE49-F238E27FC236}">
                    <a16:creationId xmlns:a16="http://schemas.microsoft.com/office/drawing/2014/main" id="{25431B63-D542-AF9A-4D57-8307164016C7}"/>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9" name="Gruppieren 8">
              <a:extLst>
                <a:ext uri="{FF2B5EF4-FFF2-40B4-BE49-F238E27FC236}">
                  <a16:creationId xmlns:a16="http://schemas.microsoft.com/office/drawing/2014/main" id="{634E0FD3-330A-25AC-9F96-0184429876DD}"/>
                </a:ext>
              </a:extLst>
            </p:cNvPr>
            <p:cNvGrpSpPr/>
            <p:nvPr/>
          </p:nvGrpSpPr>
          <p:grpSpPr>
            <a:xfrm>
              <a:off x="2462777" y="2379623"/>
              <a:ext cx="1405717" cy="1239753"/>
              <a:chOff x="2462777" y="2379623"/>
              <a:chExt cx="1405717" cy="1239753"/>
            </a:xfrm>
          </p:grpSpPr>
          <p:sp>
            <p:nvSpPr>
              <p:cNvPr id="10" name="Textfeld 9">
                <a:extLst>
                  <a:ext uri="{FF2B5EF4-FFF2-40B4-BE49-F238E27FC236}">
                    <a16:creationId xmlns:a16="http://schemas.microsoft.com/office/drawing/2014/main" id="{1EE235B9-A1FF-7390-29E8-E133702727EB}"/>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1" name="Pfeil nach unten 91">
                <a:extLst>
                  <a:ext uri="{FF2B5EF4-FFF2-40B4-BE49-F238E27FC236}">
                    <a16:creationId xmlns:a16="http://schemas.microsoft.com/office/drawing/2014/main" id="{4BB0F047-B139-DEEF-B9F5-1C917B966274}"/>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sp>
        <p:nvSpPr>
          <p:cNvPr id="24" name="Pfeil nach unten 91">
            <a:extLst>
              <a:ext uri="{FF2B5EF4-FFF2-40B4-BE49-F238E27FC236}">
                <a16:creationId xmlns:a16="http://schemas.microsoft.com/office/drawing/2014/main" id="{BD81A9E6-DE08-CD6F-7B33-D79D6FB22926}"/>
              </a:ext>
            </a:extLst>
          </p:cNvPr>
          <p:cNvSpPr/>
          <p:nvPr/>
        </p:nvSpPr>
        <p:spPr>
          <a:xfrm>
            <a:off x="8169621" y="4959456"/>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5" name="Rechteck 24">
            <a:extLst>
              <a:ext uri="{FF2B5EF4-FFF2-40B4-BE49-F238E27FC236}">
                <a16:creationId xmlns:a16="http://schemas.microsoft.com/office/drawing/2014/main" id="{FC7FC3B6-4C7D-E518-4A71-BCC2AE1A841E}"/>
              </a:ext>
            </a:extLst>
          </p:cNvPr>
          <p:cNvSpPr/>
          <p:nvPr/>
        </p:nvSpPr>
        <p:spPr>
          <a:xfrm>
            <a:off x="7396700" y="5890236"/>
            <a:ext cx="1836617" cy="46836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26" name="Oval 551">
            <a:extLst>
              <a:ext uri="{FF2B5EF4-FFF2-40B4-BE49-F238E27FC236}">
                <a16:creationId xmlns:a16="http://schemas.microsoft.com/office/drawing/2014/main" id="{4DF55510-F289-0D6D-B336-02E5EC15C9FE}"/>
              </a:ext>
            </a:extLst>
          </p:cNvPr>
          <p:cNvSpPr/>
          <p:nvPr/>
        </p:nvSpPr>
        <p:spPr>
          <a:xfrm>
            <a:off x="6860364" y="3778381"/>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27" name="Graphic 315">
            <a:extLst>
              <a:ext uri="{FF2B5EF4-FFF2-40B4-BE49-F238E27FC236}">
                <a16:creationId xmlns:a16="http://schemas.microsoft.com/office/drawing/2014/main" id="{CED71547-2ABF-4C18-BCE5-CB8EA742E9F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83662" y="3861619"/>
            <a:ext cx="208971" cy="291688"/>
          </a:xfrm>
          <a:prstGeom prst="rect">
            <a:avLst/>
          </a:prstGeom>
          <a:solidFill>
            <a:srgbClr val="FBBA00"/>
          </a:solidFill>
        </p:spPr>
      </p:pic>
      <p:sp>
        <p:nvSpPr>
          <p:cNvPr id="12" name="Nach oben gekrümmter Pfeil 26">
            <a:extLst>
              <a:ext uri="{FF2B5EF4-FFF2-40B4-BE49-F238E27FC236}">
                <a16:creationId xmlns:a16="http://schemas.microsoft.com/office/drawing/2014/main" id="{802B6D4D-9CF4-839E-769D-11BBA42BBF1B}"/>
              </a:ext>
            </a:extLst>
          </p:cNvPr>
          <p:cNvSpPr/>
          <p:nvPr/>
        </p:nvSpPr>
        <p:spPr>
          <a:xfrm rot="861081">
            <a:off x="6136964" y="4450531"/>
            <a:ext cx="2044524" cy="698525"/>
          </a:xfrm>
          <a:prstGeom prst="curvedUp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4" name="Oval 157">
            <a:extLst>
              <a:ext uri="{FF2B5EF4-FFF2-40B4-BE49-F238E27FC236}">
                <a16:creationId xmlns:a16="http://schemas.microsoft.com/office/drawing/2014/main" id="{5DD4FA17-5E0F-DA67-C251-86CCAAD83E6B}"/>
              </a:ext>
            </a:extLst>
          </p:cNvPr>
          <p:cNvSpPr/>
          <p:nvPr/>
        </p:nvSpPr>
        <p:spPr>
          <a:xfrm flipH="1">
            <a:off x="8063490" y="4147584"/>
            <a:ext cx="461820" cy="461820"/>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5" name="Freeform: Shape 142">
            <a:extLst>
              <a:ext uri="{FF2B5EF4-FFF2-40B4-BE49-F238E27FC236}">
                <a16:creationId xmlns:a16="http://schemas.microsoft.com/office/drawing/2014/main" id="{2BA3E5D9-D964-3747-1761-05EFBB85DE80}"/>
              </a:ext>
            </a:extLst>
          </p:cNvPr>
          <p:cNvSpPr/>
          <p:nvPr/>
        </p:nvSpPr>
        <p:spPr bwMode="auto">
          <a:xfrm>
            <a:off x="8194938" y="4234520"/>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6" name="Textfeld 15">
            <a:extLst>
              <a:ext uri="{FF2B5EF4-FFF2-40B4-BE49-F238E27FC236}">
                <a16:creationId xmlns:a16="http://schemas.microsoft.com/office/drawing/2014/main" id="{5E78FA0D-C2BF-F6D3-85E4-352395F73A7C}"/>
              </a:ext>
            </a:extLst>
          </p:cNvPr>
          <p:cNvSpPr txBox="1"/>
          <p:nvPr/>
        </p:nvSpPr>
        <p:spPr>
          <a:xfrm>
            <a:off x="7612152" y="4617724"/>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B </a:t>
            </a:r>
          </a:p>
        </p:txBody>
      </p:sp>
      <p:sp>
        <p:nvSpPr>
          <p:cNvPr id="13" name="Oval 551">
            <a:extLst>
              <a:ext uri="{FF2B5EF4-FFF2-40B4-BE49-F238E27FC236}">
                <a16:creationId xmlns:a16="http://schemas.microsoft.com/office/drawing/2014/main" id="{8AA34E58-E4BD-1BEA-786E-1D5AD14E9CE0}"/>
              </a:ext>
            </a:extLst>
          </p:cNvPr>
          <p:cNvSpPr/>
          <p:nvPr/>
        </p:nvSpPr>
        <p:spPr>
          <a:xfrm>
            <a:off x="6503288" y="3785770"/>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17" name="Graphic 315">
            <a:extLst>
              <a:ext uri="{FF2B5EF4-FFF2-40B4-BE49-F238E27FC236}">
                <a16:creationId xmlns:a16="http://schemas.microsoft.com/office/drawing/2014/main" id="{904FAF0B-2938-6625-1A18-A77FBC81804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626586" y="3869008"/>
            <a:ext cx="208971" cy="291688"/>
          </a:xfrm>
          <a:prstGeom prst="rect">
            <a:avLst/>
          </a:prstGeom>
          <a:solidFill>
            <a:srgbClr val="FBBA00"/>
          </a:solidFill>
        </p:spPr>
      </p:pic>
      <p:sp>
        <p:nvSpPr>
          <p:cNvPr id="19" name="7 CuadroTexto">
            <a:extLst>
              <a:ext uri="{FF2B5EF4-FFF2-40B4-BE49-F238E27FC236}">
                <a16:creationId xmlns:a16="http://schemas.microsoft.com/office/drawing/2014/main" id="{2A8E574C-3EDD-004D-1BF7-5FD9E666EF41}"/>
              </a:ext>
            </a:extLst>
          </p:cNvPr>
          <p:cNvSpPr txBox="1"/>
          <p:nvPr/>
        </p:nvSpPr>
        <p:spPr>
          <a:xfrm>
            <a:off x="8716114" y="3632206"/>
            <a:ext cx="3002484"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beim Verkauf erzielt die Holding den Veräußerungsgewinn </a:t>
            </a:r>
          </a:p>
        </p:txBody>
      </p:sp>
      <p:sp>
        <p:nvSpPr>
          <p:cNvPr id="28" name="7 CuadroTexto">
            <a:extLst>
              <a:ext uri="{FF2B5EF4-FFF2-40B4-BE49-F238E27FC236}">
                <a16:creationId xmlns:a16="http://schemas.microsoft.com/office/drawing/2014/main" id="{E04E40E9-B74B-BD76-7A2C-4542907FDF5E}"/>
              </a:ext>
            </a:extLst>
          </p:cNvPr>
          <p:cNvSpPr txBox="1"/>
          <p:nvPr/>
        </p:nvSpPr>
        <p:spPr>
          <a:xfrm>
            <a:off x="8723368" y="4298473"/>
            <a:ext cx="3002484" cy="1021690"/>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der Gewinn ist zu 95 % Steuerfrei, wenn die Holding-Struktur vor mind. sieben Jahren errichtet wurde </a:t>
            </a:r>
          </a:p>
        </p:txBody>
      </p:sp>
      <p:sp>
        <p:nvSpPr>
          <p:cNvPr id="29" name="7 CuadroTexto">
            <a:extLst>
              <a:ext uri="{FF2B5EF4-FFF2-40B4-BE49-F238E27FC236}">
                <a16:creationId xmlns:a16="http://schemas.microsoft.com/office/drawing/2014/main" id="{E267DDBD-7A97-1A3F-7DFA-9457F4125517}"/>
              </a:ext>
            </a:extLst>
          </p:cNvPr>
          <p:cNvSpPr txBox="1"/>
          <p:nvPr/>
        </p:nvSpPr>
        <p:spPr>
          <a:xfrm>
            <a:off x="6128743" y="1829129"/>
            <a:ext cx="3002484" cy="1021690"/>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auf privater Ebene wird die Pension nur ratierlich bei Zufluss besteuert </a:t>
            </a:r>
          </a:p>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p:txBody>
      </p:sp>
    </p:spTree>
    <p:extLst>
      <p:ext uri="{BB962C8B-B14F-4D97-AF65-F5344CB8AC3E}">
        <p14:creationId xmlns:p14="http://schemas.microsoft.com/office/powerpoint/2010/main" val="3770508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DDCBDA-5822-E62F-9B43-91E9B2F0E55D}"/>
            </a:ext>
          </a:extLst>
        </p:cNvPr>
        <p:cNvGrpSpPr/>
        <p:nvPr/>
      </p:nvGrpSpPr>
      <p:grpSpPr>
        <a:xfrm>
          <a:off x="0" y="0"/>
          <a:ext cx="0" cy="0"/>
          <a:chOff x="0" y="0"/>
          <a:chExt cx="0" cy="0"/>
        </a:xfrm>
      </p:grpSpPr>
      <p:sp>
        <p:nvSpPr>
          <p:cNvPr id="55" name="Slide Number Placeholder 5">
            <a:extLst>
              <a:ext uri="{FF2B5EF4-FFF2-40B4-BE49-F238E27FC236}">
                <a16:creationId xmlns:a16="http://schemas.microsoft.com/office/drawing/2014/main" id="{95BEA085-46C1-A7FA-652F-8C5C25B0CA92}"/>
              </a:ext>
            </a:extLst>
          </p:cNvPr>
          <p:cNvSpPr txBox="1">
            <a:spLocks/>
          </p:cNvSpPr>
          <p:nvPr>
            <p:custDataLst>
              <p:tags r:id="rId1"/>
            </p:custDataLst>
          </p:nvPr>
        </p:nvSpPr>
        <p:spPr>
          <a:xfrm>
            <a:off x="896416" y="7855507"/>
            <a:ext cx="283900" cy="151200"/>
          </a:xfrm>
          <a:prstGeom prst="rect">
            <a:avLst/>
          </a:prstGeom>
        </p:spPr>
        <p:txBody>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fld id="{3A5C5CA0-F2C0-43F9-B89F-AC7FA210C1FD}" type="slidenum">
              <a:rPr lang="en-GB" smtClean="0"/>
              <a:pPr/>
              <a:t>42</a:t>
            </a:fld>
            <a:endParaRPr lang="en-GB" dirty="0"/>
          </a:p>
        </p:txBody>
      </p:sp>
      <p:sp>
        <p:nvSpPr>
          <p:cNvPr id="85" name="TextBox 1">
            <a:extLst>
              <a:ext uri="{FF2B5EF4-FFF2-40B4-BE49-F238E27FC236}">
                <a16:creationId xmlns:a16="http://schemas.microsoft.com/office/drawing/2014/main" id="{6D8D0D16-240B-9D57-7A39-F2A4AB42A1D4}"/>
              </a:ext>
            </a:extLst>
          </p:cNvPr>
          <p:cNvSpPr txBox="1"/>
          <p:nvPr/>
        </p:nvSpPr>
        <p:spPr>
          <a:xfrm>
            <a:off x="1670424" y="1084321"/>
            <a:ext cx="8851152"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Übertrag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Holding-</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Struktu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t>
            </a:r>
          </a:p>
        </p:txBody>
      </p:sp>
      <p:sp>
        <p:nvSpPr>
          <p:cNvPr id="18" name="Freeform: Shape 142">
            <a:extLst>
              <a:ext uri="{FF2B5EF4-FFF2-40B4-BE49-F238E27FC236}">
                <a16:creationId xmlns:a16="http://schemas.microsoft.com/office/drawing/2014/main" id="{7ED18985-6742-A41B-76F4-6FF5723CBC86}"/>
              </a:ext>
            </a:extLst>
          </p:cNvPr>
          <p:cNvSpPr/>
          <p:nvPr/>
        </p:nvSpPr>
        <p:spPr bwMode="auto">
          <a:xfrm>
            <a:off x="8703472" y="2803906"/>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6" name="7 CuadroTexto">
            <a:extLst>
              <a:ext uri="{FF2B5EF4-FFF2-40B4-BE49-F238E27FC236}">
                <a16:creationId xmlns:a16="http://schemas.microsoft.com/office/drawing/2014/main" id="{677AE63E-DFFF-AAF9-79A1-32D01BA2A28C}"/>
              </a:ext>
            </a:extLst>
          </p:cNvPr>
          <p:cNvSpPr txBox="1"/>
          <p:nvPr/>
        </p:nvSpPr>
        <p:spPr>
          <a:xfrm>
            <a:off x="1476643" y="2228687"/>
            <a:ext cx="8647285"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endParaRPr lang="de-DE" sz="1400" dirty="0">
              <a:latin typeface="Segoe UI" panose="020B0502040204020203" pitchFamily="34" charset="0"/>
              <a:cs typeface="Segoe UI" panose="020B0502040204020203" pitchFamily="34" charset="0"/>
            </a:endParaRPr>
          </a:p>
        </p:txBody>
      </p:sp>
      <p:sp>
        <p:nvSpPr>
          <p:cNvPr id="8" name="Plus Sign 6">
            <a:extLst>
              <a:ext uri="{FF2B5EF4-FFF2-40B4-BE49-F238E27FC236}">
                <a16:creationId xmlns:a16="http://schemas.microsoft.com/office/drawing/2014/main" id="{DE8D2C0C-0AAB-83C9-6267-67264F373AD4}"/>
              </a:ext>
            </a:extLst>
          </p:cNvPr>
          <p:cNvSpPr/>
          <p:nvPr/>
        </p:nvSpPr>
        <p:spPr bwMode="auto">
          <a:xfrm>
            <a:off x="1096689" y="4447839"/>
            <a:ext cx="274139" cy="274139"/>
          </a:xfrm>
          <a:prstGeom prst="mathPlus">
            <a:avLst/>
          </a:pr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 name="Rechteck 1">
            <a:extLst>
              <a:ext uri="{FF2B5EF4-FFF2-40B4-BE49-F238E27FC236}">
                <a16:creationId xmlns:a16="http://schemas.microsoft.com/office/drawing/2014/main" id="{2A6B5699-38FA-2484-1E1D-0AEFC1539D09}"/>
              </a:ext>
            </a:extLst>
          </p:cNvPr>
          <p:cNvSpPr/>
          <p:nvPr/>
        </p:nvSpPr>
        <p:spPr>
          <a:xfrm>
            <a:off x="4891046" y="3716560"/>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Holding GmbH</a:t>
            </a:r>
          </a:p>
        </p:txBody>
      </p:sp>
      <p:sp>
        <p:nvSpPr>
          <p:cNvPr id="3" name="Textplatzhalter 1">
            <a:extLst>
              <a:ext uri="{FF2B5EF4-FFF2-40B4-BE49-F238E27FC236}">
                <a16:creationId xmlns:a16="http://schemas.microsoft.com/office/drawing/2014/main" id="{B41CAA81-4318-9305-F201-B8E37DD34569}"/>
              </a:ext>
            </a:extLst>
          </p:cNvPr>
          <p:cNvSpPr txBox="1">
            <a:spLocks/>
          </p:cNvSpPr>
          <p:nvPr/>
        </p:nvSpPr>
        <p:spPr>
          <a:xfrm>
            <a:off x="3507265" y="3697255"/>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4" name="Textplatzhalter 1">
            <a:extLst>
              <a:ext uri="{FF2B5EF4-FFF2-40B4-BE49-F238E27FC236}">
                <a16:creationId xmlns:a16="http://schemas.microsoft.com/office/drawing/2014/main" id="{93151A04-D21D-DF26-202C-7BDC7FA6F575}"/>
              </a:ext>
            </a:extLst>
          </p:cNvPr>
          <p:cNvSpPr txBox="1">
            <a:spLocks/>
          </p:cNvSpPr>
          <p:nvPr/>
        </p:nvSpPr>
        <p:spPr>
          <a:xfrm>
            <a:off x="3460238" y="1997091"/>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5" name="Gruppieren 4">
            <a:extLst>
              <a:ext uri="{FF2B5EF4-FFF2-40B4-BE49-F238E27FC236}">
                <a16:creationId xmlns:a16="http://schemas.microsoft.com/office/drawing/2014/main" id="{187E490D-A59A-67FC-8D9C-E4D5900FE954}"/>
              </a:ext>
            </a:extLst>
          </p:cNvPr>
          <p:cNvGrpSpPr/>
          <p:nvPr/>
        </p:nvGrpSpPr>
        <p:grpSpPr>
          <a:xfrm>
            <a:off x="5108097" y="1933417"/>
            <a:ext cx="1405717" cy="1714892"/>
            <a:chOff x="2462777" y="1904484"/>
            <a:chExt cx="1405717" cy="1714892"/>
          </a:xfrm>
        </p:grpSpPr>
        <p:grpSp>
          <p:nvGrpSpPr>
            <p:cNvPr id="7" name="Group 138">
              <a:extLst>
                <a:ext uri="{FF2B5EF4-FFF2-40B4-BE49-F238E27FC236}">
                  <a16:creationId xmlns:a16="http://schemas.microsoft.com/office/drawing/2014/main" id="{599C24C5-78AB-D873-9159-79E27B0EDDAF}"/>
                </a:ext>
              </a:extLst>
            </p:cNvPr>
            <p:cNvGrpSpPr/>
            <p:nvPr/>
          </p:nvGrpSpPr>
          <p:grpSpPr>
            <a:xfrm>
              <a:off x="2934725" y="1904484"/>
              <a:ext cx="461820" cy="461820"/>
              <a:chOff x="1236144" y="1532568"/>
              <a:chExt cx="834324" cy="834324"/>
            </a:xfrm>
          </p:grpSpPr>
          <p:sp>
            <p:nvSpPr>
              <p:cNvPr id="20" name="Freeform: Shape 139">
                <a:extLst>
                  <a:ext uri="{FF2B5EF4-FFF2-40B4-BE49-F238E27FC236}">
                    <a16:creationId xmlns:a16="http://schemas.microsoft.com/office/drawing/2014/main" id="{3F486477-34E8-C5ED-7A24-F2B035D88BFD}"/>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1" name="Freeform: Shape 140">
                <a:extLst>
                  <a:ext uri="{FF2B5EF4-FFF2-40B4-BE49-F238E27FC236}">
                    <a16:creationId xmlns:a16="http://schemas.microsoft.com/office/drawing/2014/main" id="{AA81D1F4-A8CA-3A1B-EE4B-9E480284F53E}"/>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2" name="Oval 157">
                <a:extLst>
                  <a:ext uri="{FF2B5EF4-FFF2-40B4-BE49-F238E27FC236}">
                    <a16:creationId xmlns:a16="http://schemas.microsoft.com/office/drawing/2014/main" id="{9BE42837-6771-AAF3-DFDE-CC92550D9211}"/>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23" name="Freeform: Shape 142">
                <a:extLst>
                  <a:ext uri="{FF2B5EF4-FFF2-40B4-BE49-F238E27FC236}">
                    <a16:creationId xmlns:a16="http://schemas.microsoft.com/office/drawing/2014/main" id="{BCEC32B7-6D52-5ACD-883A-7D2BAA2760AF}"/>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9" name="Gruppieren 8">
              <a:extLst>
                <a:ext uri="{FF2B5EF4-FFF2-40B4-BE49-F238E27FC236}">
                  <a16:creationId xmlns:a16="http://schemas.microsoft.com/office/drawing/2014/main" id="{43328360-E58A-9DC5-75C3-F806AED31320}"/>
                </a:ext>
              </a:extLst>
            </p:cNvPr>
            <p:cNvGrpSpPr/>
            <p:nvPr/>
          </p:nvGrpSpPr>
          <p:grpSpPr>
            <a:xfrm>
              <a:off x="2462777" y="2379623"/>
              <a:ext cx="1405717" cy="1239753"/>
              <a:chOff x="2462777" y="2379623"/>
              <a:chExt cx="1405717" cy="1239753"/>
            </a:xfrm>
          </p:grpSpPr>
          <p:sp>
            <p:nvSpPr>
              <p:cNvPr id="10" name="Textfeld 9">
                <a:extLst>
                  <a:ext uri="{FF2B5EF4-FFF2-40B4-BE49-F238E27FC236}">
                    <a16:creationId xmlns:a16="http://schemas.microsoft.com/office/drawing/2014/main" id="{95042B13-2586-2CEE-CAF5-322BCA6C9009}"/>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1" name="Pfeil nach unten 91">
                <a:extLst>
                  <a:ext uri="{FF2B5EF4-FFF2-40B4-BE49-F238E27FC236}">
                    <a16:creationId xmlns:a16="http://schemas.microsoft.com/office/drawing/2014/main" id="{D0A5740E-EB8C-C966-01D7-58A7E9DECF8A}"/>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sp>
        <p:nvSpPr>
          <p:cNvPr id="24" name="Pfeil nach unten 91">
            <a:extLst>
              <a:ext uri="{FF2B5EF4-FFF2-40B4-BE49-F238E27FC236}">
                <a16:creationId xmlns:a16="http://schemas.microsoft.com/office/drawing/2014/main" id="{6B793CC9-2919-26B9-EE53-49FB835ADB49}"/>
              </a:ext>
            </a:extLst>
          </p:cNvPr>
          <p:cNvSpPr/>
          <p:nvPr/>
        </p:nvSpPr>
        <p:spPr>
          <a:xfrm>
            <a:off x="8169621" y="4959456"/>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25" name="Rechteck 24">
            <a:extLst>
              <a:ext uri="{FF2B5EF4-FFF2-40B4-BE49-F238E27FC236}">
                <a16:creationId xmlns:a16="http://schemas.microsoft.com/office/drawing/2014/main" id="{A6C5ACE1-8ACF-B1A0-0DA4-6F787892B500}"/>
              </a:ext>
            </a:extLst>
          </p:cNvPr>
          <p:cNvSpPr/>
          <p:nvPr/>
        </p:nvSpPr>
        <p:spPr>
          <a:xfrm>
            <a:off x="7396700" y="5890236"/>
            <a:ext cx="1836617" cy="454293"/>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26" name="Oval 551">
            <a:extLst>
              <a:ext uri="{FF2B5EF4-FFF2-40B4-BE49-F238E27FC236}">
                <a16:creationId xmlns:a16="http://schemas.microsoft.com/office/drawing/2014/main" id="{5741D053-108A-416A-884D-8E1420FAD63F}"/>
              </a:ext>
            </a:extLst>
          </p:cNvPr>
          <p:cNvSpPr/>
          <p:nvPr/>
        </p:nvSpPr>
        <p:spPr>
          <a:xfrm>
            <a:off x="6860364" y="3778381"/>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27" name="Graphic 315">
            <a:extLst>
              <a:ext uri="{FF2B5EF4-FFF2-40B4-BE49-F238E27FC236}">
                <a16:creationId xmlns:a16="http://schemas.microsoft.com/office/drawing/2014/main" id="{AE1038BA-9706-C838-48CA-E82DFD33874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83662" y="3861619"/>
            <a:ext cx="208971" cy="291688"/>
          </a:xfrm>
          <a:prstGeom prst="rect">
            <a:avLst/>
          </a:prstGeom>
          <a:solidFill>
            <a:srgbClr val="FBBA00"/>
          </a:solidFill>
        </p:spPr>
      </p:pic>
      <p:sp>
        <p:nvSpPr>
          <p:cNvPr id="12" name="Nach oben gekrümmter Pfeil 26">
            <a:extLst>
              <a:ext uri="{FF2B5EF4-FFF2-40B4-BE49-F238E27FC236}">
                <a16:creationId xmlns:a16="http://schemas.microsoft.com/office/drawing/2014/main" id="{2B8837A6-E3FF-A32E-5C68-BA7C8555C777}"/>
              </a:ext>
            </a:extLst>
          </p:cNvPr>
          <p:cNvSpPr/>
          <p:nvPr/>
        </p:nvSpPr>
        <p:spPr>
          <a:xfrm rot="861081">
            <a:off x="6136964" y="4450531"/>
            <a:ext cx="2044524" cy="698525"/>
          </a:xfrm>
          <a:prstGeom prst="curvedUp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4" name="Oval 157">
            <a:extLst>
              <a:ext uri="{FF2B5EF4-FFF2-40B4-BE49-F238E27FC236}">
                <a16:creationId xmlns:a16="http://schemas.microsoft.com/office/drawing/2014/main" id="{BDCF04D9-44AE-B03A-D8B0-03D54DD43BD0}"/>
              </a:ext>
            </a:extLst>
          </p:cNvPr>
          <p:cNvSpPr/>
          <p:nvPr/>
        </p:nvSpPr>
        <p:spPr>
          <a:xfrm flipH="1">
            <a:off x="8063490" y="4147584"/>
            <a:ext cx="461820" cy="461820"/>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5" name="Freeform: Shape 142">
            <a:extLst>
              <a:ext uri="{FF2B5EF4-FFF2-40B4-BE49-F238E27FC236}">
                <a16:creationId xmlns:a16="http://schemas.microsoft.com/office/drawing/2014/main" id="{9C79854E-C93E-CADB-3A48-855ED7176ED7}"/>
              </a:ext>
            </a:extLst>
          </p:cNvPr>
          <p:cNvSpPr/>
          <p:nvPr/>
        </p:nvSpPr>
        <p:spPr bwMode="auto">
          <a:xfrm>
            <a:off x="8194938" y="4234520"/>
            <a:ext cx="198924" cy="274539"/>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6" name="Textfeld 15">
            <a:extLst>
              <a:ext uri="{FF2B5EF4-FFF2-40B4-BE49-F238E27FC236}">
                <a16:creationId xmlns:a16="http://schemas.microsoft.com/office/drawing/2014/main" id="{FED34A52-3F21-EC4B-7D66-E1E59DF4DB8C}"/>
              </a:ext>
            </a:extLst>
          </p:cNvPr>
          <p:cNvSpPr txBox="1"/>
          <p:nvPr/>
        </p:nvSpPr>
        <p:spPr>
          <a:xfrm>
            <a:off x="7612152" y="4617724"/>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B </a:t>
            </a:r>
          </a:p>
        </p:txBody>
      </p:sp>
      <p:sp>
        <p:nvSpPr>
          <p:cNvPr id="13" name="Oval 551">
            <a:extLst>
              <a:ext uri="{FF2B5EF4-FFF2-40B4-BE49-F238E27FC236}">
                <a16:creationId xmlns:a16="http://schemas.microsoft.com/office/drawing/2014/main" id="{1C1A1B0D-0D66-0C9E-1202-93CBB31D294E}"/>
              </a:ext>
            </a:extLst>
          </p:cNvPr>
          <p:cNvSpPr/>
          <p:nvPr/>
        </p:nvSpPr>
        <p:spPr>
          <a:xfrm>
            <a:off x="6503288" y="3785770"/>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17" name="Graphic 315">
            <a:extLst>
              <a:ext uri="{FF2B5EF4-FFF2-40B4-BE49-F238E27FC236}">
                <a16:creationId xmlns:a16="http://schemas.microsoft.com/office/drawing/2014/main" id="{EE427813-21CA-D758-35EF-B9AA5EDEA9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626586" y="3869008"/>
            <a:ext cx="208971" cy="291688"/>
          </a:xfrm>
          <a:prstGeom prst="rect">
            <a:avLst/>
          </a:prstGeom>
          <a:solidFill>
            <a:srgbClr val="FBBA00"/>
          </a:solidFill>
        </p:spPr>
      </p:pic>
      <p:sp>
        <p:nvSpPr>
          <p:cNvPr id="19" name="7 CuadroTexto">
            <a:extLst>
              <a:ext uri="{FF2B5EF4-FFF2-40B4-BE49-F238E27FC236}">
                <a16:creationId xmlns:a16="http://schemas.microsoft.com/office/drawing/2014/main" id="{36A37D55-F6BF-A3BF-D345-E91518EB5347}"/>
              </a:ext>
            </a:extLst>
          </p:cNvPr>
          <p:cNvSpPr txBox="1"/>
          <p:nvPr/>
        </p:nvSpPr>
        <p:spPr>
          <a:xfrm>
            <a:off x="8716114" y="3632206"/>
            <a:ext cx="3002484"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beim Verkauf erzielt die Holding den Veräußerungsgewinn </a:t>
            </a:r>
          </a:p>
        </p:txBody>
      </p:sp>
      <p:sp>
        <p:nvSpPr>
          <p:cNvPr id="28" name="7 CuadroTexto">
            <a:extLst>
              <a:ext uri="{FF2B5EF4-FFF2-40B4-BE49-F238E27FC236}">
                <a16:creationId xmlns:a16="http://schemas.microsoft.com/office/drawing/2014/main" id="{35CC7C09-5CEC-BCFF-9C49-44270DE0FDB8}"/>
              </a:ext>
            </a:extLst>
          </p:cNvPr>
          <p:cNvSpPr txBox="1"/>
          <p:nvPr/>
        </p:nvSpPr>
        <p:spPr>
          <a:xfrm>
            <a:off x="8723368" y="4298473"/>
            <a:ext cx="3002484" cy="1021690"/>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der Gewinn ist zu 95 % Steuerfrei, wenn die Holding-Struktur vor mind. sieben Jahren errichtet wurde </a:t>
            </a:r>
          </a:p>
        </p:txBody>
      </p:sp>
      <p:sp>
        <p:nvSpPr>
          <p:cNvPr id="29" name="7 CuadroTexto">
            <a:extLst>
              <a:ext uri="{FF2B5EF4-FFF2-40B4-BE49-F238E27FC236}">
                <a16:creationId xmlns:a16="http://schemas.microsoft.com/office/drawing/2014/main" id="{8459D1EA-C40C-8EC2-C88F-1173B8FF795D}"/>
              </a:ext>
            </a:extLst>
          </p:cNvPr>
          <p:cNvSpPr txBox="1"/>
          <p:nvPr/>
        </p:nvSpPr>
        <p:spPr>
          <a:xfrm>
            <a:off x="6128743" y="1829129"/>
            <a:ext cx="3002484" cy="1021690"/>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auf privater Ebene wird die Pension nur ratierlich bei Zufluss besteuert </a:t>
            </a:r>
          </a:p>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p:txBody>
      </p:sp>
      <p:sp>
        <p:nvSpPr>
          <p:cNvPr id="30" name="7 CuadroTexto">
            <a:extLst>
              <a:ext uri="{FF2B5EF4-FFF2-40B4-BE49-F238E27FC236}">
                <a16:creationId xmlns:a16="http://schemas.microsoft.com/office/drawing/2014/main" id="{78F104D8-A958-400D-C132-97204657F3A7}"/>
              </a:ext>
            </a:extLst>
          </p:cNvPr>
          <p:cNvSpPr txBox="1"/>
          <p:nvPr/>
        </p:nvSpPr>
        <p:spPr>
          <a:xfrm>
            <a:off x="6128743" y="2459363"/>
            <a:ext cx="3002484" cy="1021690"/>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im Übrigen Besteuerung nur bei Ausschüttungen durch Holding </a:t>
            </a:r>
          </a:p>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p:txBody>
      </p:sp>
    </p:spTree>
    <p:extLst>
      <p:ext uri="{BB962C8B-B14F-4D97-AF65-F5344CB8AC3E}">
        <p14:creationId xmlns:p14="http://schemas.microsoft.com/office/powerpoint/2010/main" val="313129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B6DCC4-2AAD-A46A-913B-DD20554586E1}"/>
            </a:ext>
          </a:extLst>
        </p:cNvPr>
        <p:cNvGrpSpPr/>
        <p:nvPr/>
      </p:nvGrpSpPr>
      <p:grpSpPr>
        <a:xfrm>
          <a:off x="0" y="0"/>
          <a:ext cx="0" cy="0"/>
          <a:chOff x="0" y="0"/>
          <a:chExt cx="0" cy="0"/>
        </a:xfrm>
      </p:grpSpPr>
      <p:sp>
        <p:nvSpPr>
          <p:cNvPr id="6" name="TextBox 18">
            <a:extLst>
              <a:ext uri="{FF2B5EF4-FFF2-40B4-BE49-F238E27FC236}">
                <a16:creationId xmlns:a16="http://schemas.microsoft.com/office/drawing/2014/main" id="{2C8BE95F-8429-C851-3EC7-D7F9416AE25F}"/>
              </a:ext>
            </a:extLst>
          </p:cNvPr>
          <p:cNvSpPr txBox="1"/>
          <p:nvPr/>
        </p:nvSpPr>
        <p:spPr>
          <a:xfrm>
            <a:off x="896416" y="1021332"/>
            <a:ext cx="5513909" cy="584775"/>
          </a:xfrm>
          <a:prstGeom prst="rect">
            <a:avLst/>
          </a:prstGeom>
          <a:noFill/>
        </p:spPr>
        <p:txBody>
          <a:bodyPr wrap="square" rtlCol="0">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genda</a:t>
            </a:r>
          </a:p>
        </p:txBody>
      </p:sp>
      <p:graphicFrame>
        <p:nvGraphicFramePr>
          <p:cNvPr id="8" name="OT_AgendaTable">
            <a:extLst>
              <a:ext uri="{FF2B5EF4-FFF2-40B4-BE49-F238E27FC236}">
                <a16:creationId xmlns:a16="http://schemas.microsoft.com/office/drawing/2014/main" id="{81563A14-10D3-38F9-6424-87A19A536D56}"/>
              </a:ext>
            </a:extLst>
          </p:cNvPr>
          <p:cNvGraphicFramePr>
            <a:graphicFrameLocks noGrp="1"/>
          </p:cNvGraphicFramePr>
          <p:nvPr>
            <p:custDataLst>
              <p:tags r:id="rId1"/>
            </p:custDataLst>
            <p:extLst>
              <p:ext uri="{D42A27DB-BD31-4B8C-83A1-F6EECF244321}">
                <p14:modId xmlns:p14="http://schemas.microsoft.com/office/powerpoint/2010/main" val="779648842"/>
              </p:ext>
            </p:extLst>
          </p:nvPr>
        </p:nvGraphicFramePr>
        <p:xfrm>
          <a:off x="909551" y="1923728"/>
          <a:ext cx="9907131" cy="3386664"/>
        </p:xfrm>
        <a:graphic>
          <a:graphicData uri="http://schemas.openxmlformats.org/drawingml/2006/table">
            <a:tbl>
              <a:tblPr firstRow="1" bandRow="1">
                <a:tableStyleId>{2D5ABB26-0587-4C30-8999-92F81FD0307C}</a:tableStyleId>
              </a:tblPr>
              <a:tblGrid>
                <a:gridCol w="9907131">
                  <a:extLst>
                    <a:ext uri="{9D8B030D-6E8A-4147-A177-3AD203B41FA5}">
                      <a16:colId xmlns:a16="http://schemas.microsoft.com/office/drawing/2014/main" val="3315970368"/>
                    </a:ext>
                  </a:extLst>
                </a:gridCol>
              </a:tblGrid>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kern="1200" dirty="0">
                          <a:solidFill>
                            <a:schemeClr val="tx1"/>
                          </a:solidFill>
                          <a:latin typeface="Segoe UI" panose="020B0502040204020203" pitchFamily="34" charset="0"/>
                          <a:ea typeface="+mn-ea"/>
                          <a:cs typeface="Segoe UI" panose="020B0502040204020203" pitchFamily="34" charset="0"/>
                        </a:rPr>
                        <a:t>Bedeutung von Pensionszusagen beim Unternehmensverkauf </a:t>
                      </a:r>
                    </a:p>
                  </a:txBody>
                  <a:tcPr anchor="ctr">
                    <a:noFill/>
                  </a:tcPr>
                </a:tc>
                <a:extLst>
                  <a:ext uri="{0D108BD9-81ED-4DB2-BD59-A6C34878D82A}">
                    <a16:rowId xmlns:a16="http://schemas.microsoft.com/office/drawing/2014/main" val="3130548413"/>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Die „richtige“ Bewertung der Pensionsverpflichtung </a:t>
                      </a:r>
                    </a:p>
                  </a:txBody>
                  <a:tcPr anchor="ctr">
                    <a:noFill/>
                  </a:tcPr>
                </a:tc>
                <a:extLst>
                  <a:ext uri="{0D108BD9-81ED-4DB2-BD59-A6C34878D82A}">
                    <a16:rowId xmlns:a16="http://schemas.microsoft.com/office/drawing/2014/main" val="3106507590"/>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Folgen des vollständigen Verzichtes auf eine Pensionszusage </a:t>
                      </a:r>
                    </a:p>
                  </a:txBody>
                  <a:tcPr anchor="ctr">
                    <a:noFill/>
                  </a:tcPr>
                </a:tc>
                <a:extLst>
                  <a:ext uri="{0D108BD9-81ED-4DB2-BD59-A6C34878D82A}">
                    <a16:rowId xmlns:a16="http://schemas.microsoft.com/office/drawing/2014/main" val="541056519"/>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mögliche Lösung: </a:t>
                      </a:r>
                      <a:r>
                        <a:rPr lang="de-DE" sz="1800" b="0" dirty="0" err="1">
                          <a:solidFill>
                            <a:schemeClr val="tx1"/>
                          </a:solidFill>
                          <a:latin typeface="Segoe UI" panose="020B0502040204020203" pitchFamily="34" charset="0"/>
                          <a:cs typeface="Segoe UI" panose="020B0502040204020203" pitchFamily="34" charset="0"/>
                        </a:rPr>
                        <a:t>asset</a:t>
                      </a:r>
                      <a:r>
                        <a:rPr lang="de-DE" sz="1800" b="0" dirty="0">
                          <a:solidFill>
                            <a:schemeClr val="tx1"/>
                          </a:solidFill>
                          <a:latin typeface="Segoe UI" panose="020B0502040204020203" pitchFamily="34" charset="0"/>
                          <a:cs typeface="Segoe UI" panose="020B0502040204020203" pitchFamily="34" charset="0"/>
                        </a:rPr>
                        <a:t>-deal statt share-deal </a:t>
                      </a:r>
                    </a:p>
                  </a:txBody>
                  <a:tcPr anchor="ctr">
                    <a:noFill/>
                  </a:tcPr>
                </a:tc>
                <a:extLst>
                  <a:ext uri="{0D108BD9-81ED-4DB2-BD59-A6C34878D82A}">
                    <a16:rowId xmlns:a16="http://schemas.microsoft.com/office/drawing/2014/main" val="1873190663"/>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1" dirty="0">
                          <a:solidFill>
                            <a:schemeClr val="tx1"/>
                          </a:solidFill>
                          <a:latin typeface="Segoe UI" panose="020B0502040204020203" pitchFamily="34" charset="0"/>
                          <a:cs typeface="Segoe UI" panose="020B0502040204020203" pitchFamily="34" charset="0"/>
                        </a:rPr>
                        <a:t>„</a:t>
                      </a:r>
                      <a:r>
                        <a:rPr lang="de-DE" sz="1800" b="0" dirty="0">
                          <a:solidFill>
                            <a:schemeClr val="tx1"/>
                          </a:solidFill>
                          <a:latin typeface="Segoe UI" panose="020B0502040204020203" pitchFamily="34" charset="0"/>
                          <a:cs typeface="Segoe UI" panose="020B0502040204020203" pitchFamily="34" charset="0"/>
                        </a:rPr>
                        <a:t>echte“ Auslagerung auf einen externen Versorgungsträger  </a:t>
                      </a:r>
                    </a:p>
                  </a:txBody>
                  <a:tcPr anchor="ctr">
                    <a:noFill/>
                  </a:tcPr>
                </a:tc>
                <a:extLst>
                  <a:ext uri="{0D108BD9-81ED-4DB2-BD59-A6C34878D82A}">
                    <a16:rowId xmlns:a16="http://schemas.microsoft.com/office/drawing/2014/main" val="847646844"/>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Übertragung auf eine „Rentner-GmbH“ / „Holding-Struktur“ </a:t>
                      </a:r>
                    </a:p>
                  </a:txBody>
                  <a:tcPr anchor="ctr">
                    <a:solidFill>
                      <a:schemeClr val="bg1"/>
                    </a:solidFill>
                  </a:tcPr>
                </a:tc>
                <a:extLst>
                  <a:ext uri="{0D108BD9-81ED-4DB2-BD59-A6C34878D82A}">
                    <a16:rowId xmlns:a16="http://schemas.microsoft.com/office/drawing/2014/main" val="353730752"/>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1" dirty="0">
                          <a:solidFill>
                            <a:schemeClr val="tx1"/>
                          </a:solidFill>
                          <a:latin typeface="Segoe UI" panose="020B0502040204020203" pitchFamily="34" charset="0"/>
                          <a:cs typeface="Segoe UI" panose="020B0502040204020203" pitchFamily="34" charset="0"/>
                        </a:rPr>
                        <a:t>Teilverzicht / Verzicht auf den „</a:t>
                      </a:r>
                      <a:r>
                        <a:rPr lang="de-DE" sz="1800" b="1" dirty="0" err="1">
                          <a:solidFill>
                            <a:schemeClr val="tx1"/>
                          </a:solidFill>
                          <a:latin typeface="Segoe UI" panose="020B0502040204020203" pitchFamily="34" charset="0"/>
                          <a:cs typeface="Segoe UI" panose="020B0502040204020203" pitchFamily="34" charset="0"/>
                        </a:rPr>
                        <a:t>future</a:t>
                      </a:r>
                      <a:r>
                        <a:rPr lang="de-DE" sz="1800" b="1" dirty="0">
                          <a:solidFill>
                            <a:schemeClr val="tx1"/>
                          </a:solidFill>
                          <a:latin typeface="Segoe UI" panose="020B0502040204020203" pitchFamily="34" charset="0"/>
                          <a:cs typeface="Segoe UI" panose="020B0502040204020203" pitchFamily="34" charset="0"/>
                        </a:rPr>
                        <a:t>-service“ </a:t>
                      </a:r>
                    </a:p>
                  </a:txBody>
                  <a:tcPr anchor="ctr">
                    <a:solidFill>
                      <a:srgbClr val="FBBA00"/>
                    </a:solidFill>
                  </a:tcPr>
                </a:tc>
                <a:extLst>
                  <a:ext uri="{0D108BD9-81ED-4DB2-BD59-A6C34878D82A}">
                    <a16:rowId xmlns:a16="http://schemas.microsoft.com/office/drawing/2014/main" val="3390285067"/>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Dringende Empfehlung: Vereinbarung der </a:t>
                      </a:r>
                      <a:r>
                        <a:rPr lang="de-DE" sz="1800" b="0" i="1" dirty="0">
                          <a:solidFill>
                            <a:schemeClr val="tx1"/>
                          </a:solidFill>
                          <a:latin typeface="Segoe UI" panose="020B0502040204020203" pitchFamily="34" charset="0"/>
                          <a:cs typeface="Segoe UI" panose="020B0502040204020203" pitchFamily="34" charset="0"/>
                        </a:rPr>
                        <a:t>Möglichkeit</a:t>
                      </a:r>
                      <a:r>
                        <a:rPr lang="de-DE" sz="1800" b="0" dirty="0">
                          <a:solidFill>
                            <a:schemeClr val="tx1"/>
                          </a:solidFill>
                          <a:latin typeface="Segoe UI" panose="020B0502040204020203" pitchFamily="34" charset="0"/>
                          <a:cs typeface="Segoe UI" panose="020B0502040204020203" pitchFamily="34" charset="0"/>
                        </a:rPr>
                        <a:t> einer einmaligen Kapitalabfindung </a:t>
                      </a:r>
                    </a:p>
                  </a:txBody>
                  <a:tcPr anchor="ctr">
                    <a:solidFill>
                      <a:schemeClr val="bg1"/>
                    </a:solidFill>
                  </a:tcPr>
                </a:tc>
                <a:extLst>
                  <a:ext uri="{0D108BD9-81ED-4DB2-BD59-A6C34878D82A}">
                    <a16:rowId xmlns:a16="http://schemas.microsoft.com/office/drawing/2014/main" val="2691783076"/>
                  </a:ext>
                </a:extLst>
              </a:tr>
            </a:tbl>
          </a:graphicData>
        </a:graphic>
      </p:graphicFrame>
    </p:spTree>
    <p:extLst>
      <p:ext uri="{BB962C8B-B14F-4D97-AF65-F5344CB8AC3E}">
        <p14:creationId xmlns:p14="http://schemas.microsoft.com/office/powerpoint/2010/main" val="1194983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393C74-70A7-9E37-CD98-F7F6232A94B0}"/>
            </a:ext>
          </a:extLst>
        </p:cNvPr>
        <p:cNvGrpSpPr/>
        <p:nvPr/>
      </p:nvGrpSpPr>
      <p:grpSpPr>
        <a:xfrm>
          <a:off x="0" y="0"/>
          <a:ext cx="0" cy="0"/>
          <a:chOff x="0" y="0"/>
          <a:chExt cx="0" cy="0"/>
        </a:xfrm>
      </p:grpSpPr>
      <p:sp>
        <p:nvSpPr>
          <p:cNvPr id="55" name="Slide Number Placeholder 5">
            <a:extLst>
              <a:ext uri="{FF2B5EF4-FFF2-40B4-BE49-F238E27FC236}">
                <a16:creationId xmlns:a16="http://schemas.microsoft.com/office/drawing/2014/main" id="{EACC2CD1-2CE4-D23D-5847-5D397CBB2A36}"/>
              </a:ext>
            </a:extLst>
          </p:cNvPr>
          <p:cNvSpPr txBox="1">
            <a:spLocks/>
          </p:cNvSpPr>
          <p:nvPr>
            <p:custDataLst>
              <p:tags r:id="rId1"/>
            </p:custDataLst>
          </p:nvPr>
        </p:nvSpPr>
        <p:spPr>
          <a:xfrm>
            <a:off x="896416" y="7855507"/>
            <a:ext cx="283900" cy="151200"/>
          </a:xfrm>
          <a:prstGeom prst="rect">
            <a:avLst/>
          </a:prstGeom>
        </p:spPr>
        <p:txBody>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fld id="{3A5C5CA0-F2C0-43F9-B89F-AC7FA210C1FD}" type="slidenum">
              <a:rPr lang="en-GB" smtClean="0"/>
              <a:pPr/>
              <a:t>44</a:t>
            </a:fld>
            <a:endParaRPr lang="en-GB" dirty="0"/>
          </a:p>
        </p:txBody>
      </p:sp>
      <p:sp>
        <p:nvSpPr>
          <p:cNvPr id="85" name="TextBox 1">
            <a:extLst>
              <a:ext uri="{FF2B5EF4-FFF2-40B4-BE49-F238E27FC236}">
                <a16:creationId xmlns:a16="http://schemas.microsoft.com/office/drawing/2014/main" id="{FD21B97D-6A37-30A8-10B0-1566E9573243}"/>
              </a:ext>
            </a:extLst>
          </p:cNvPr>
          <p:cNvSpPr txBox="1"/>
          <p:nvPr/>
        </p:nvSpPr>
        <p:spPr>
          <a:xfrm>
            <a:off x="1670424" y="1084321"/>
            <a:ext cx="9324678"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Teil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den “future-service” </a:t>
            </a:r>
          </a:p>
        </p:txBody>
      </p:sp>
      <p:sp>
        <p:nvSpPr>
          <p:cNvPr id="3" name="7 CuadroTexto">
            <a:extLst>
              <a:ext uri="{FF2B5EF4-FFF2-40B4-BE49-F238E27FC236}">
                <a16:creationId xmlns:a16="http://schemas.microsoft.com/office/drawing/2014/main" id="{782E5CF2-4C26-3A2B-BCC3-816DFF947FEF}"/>
              </a:ext>
            </a:extLst>
          </p:cNvPr>
          <p:cNvSpPr txBox="1"/>
          <p:nvPr/>
        </p:nvSpPr>
        <p:spPr>
          <a:xfrm>
            <a:off x="1445111" y="2166666"/>
            <a:ext cx="8647285" cy="3607013"/>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rPr>
              <a:t>Zur Reduzierung von Pensionslasten kommt auch ein teilweiser Verzicht in Betracht</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rPr>
              <a:t>Fiktive </a:t>
            </a:r>
            <a:r>
              <a:rPr lang="de-DE" sz="1400" dirty="0" err="1">
                <a:latin typeface="Segoe UI" panose="020B0502040204020203" pitchFamily="34" charset="0"/>
                <a:cs typeface="Segoe UI" panose="020B0502040204020203" pitchFamily="34" charset="0"/>
              </a:rPr>
              <a:t>Zuflussbesteuerung</a:t>
            </a:r>
            <a:r>
              <a:rPr lang="de-DE" sz="1400" dirty="0">
                <a:latin typeface="Segoe UI" panose="020B0502040204020203" pitchFamily="34" charset="0"/>
                <a:cs typeface="Segoe UI" panose="020B0502040204020203" pitchFamily="34" charset="0"/>
              </a:rPr>
              <a:t> wird vermieden, wenn der Verzicht nur in Bezug auf die noch nicht </a:t>
            </a:r>
            <a:r>
              <a:rPr lang="de-DE" sz="1400" dirty="0" err="1">
                <a:latin typeface="Segoe UI" panose="020B0502040204020203" pitchFamily="34" charset="0"/>
                <a:cs typeface="Segoe UI" panose="020B0502040204020203" pitchFamily="34" charset="0"/>
              </a:rPr>
              <a:t>erdienten</a:t>
            </a:r>
            <a:r>
              <a:rPr lang="de-DE" sz="1400" dirty="0">
                <a:latin typeface="Segoe UI" panose="020B0502040204020203" pitchFamily="34" charset="0"/>
                <a:cs typeface="Segoe UI" panose="020B0502040204020203" pitchFamily="34" charset="0"/>
              </a:rPr>
              <a:t> Anwartschaften („</a:t>
            </a:r>
            <a:r>
              <a:rPr lang="de-DE" sz="1400" dirty="0" err="1">
                <a:latin typeface="Segoe UI" panose="020B0502040204020203" pitchFamily="34" charset="0"/>
                <a:cs typeface="Segoe UI" panose="020B0502040204020203" pitchFamily="34" charset="0"/>
              </a:rPr>
              <a:t>future</a:t>
            </a:r>
            <a:r>
              <a:rPr lang="de-DE" sz="1400" dirty="0">
                <a:latin typeface="Segoe UI" panose="020B0502040204020203" pitchFamily="34" charset="0"/>
                <a:cs typeface="Segoe UI" panose="020B0502040204020203" pitchFamily="34" charset="0"/>
              </a:rPr>
              <a:t>-service“) erfolgt. Die Pensionszusage wird auf den bereits </a:t>
            </a:r>
            <a:r>
              <a:rPr lang="de-DE" sz="1400" dirty="0" err="1">
                <a:latin typeface="Segoe UI" panose="020B0502040204020203" pitchFamily="34" charset="0"/>
                <a:cs typeface="Segoe UI" panose="020B0502040204020203" pitchFamily="34" charset="0"/>
              </a:rPr>
              <a:t>erdienten</a:t>
            </a:r>
            <a:r>
              <a:rPr lang="de-DE" sz="1400" dirty="0">
                <a:latin typeface="Segoe UI" panose="020B0502040204020203" pitchFamily="34" charset="0"/>
                <a:cs typeface="Segoe UI" panose="020B0502040204020203" pitchFamily="34" charset="0"/>
              </a:rPr>
              <a:t> Teil („</a:t>
            </a:r>
            <a:r>
              <a:rPr lang="de-DE" sz="1400" dirty="0" err="1">
                <a:latin typeface="Segoe UI" panose="020B0502040204020203" pitchFamily="34" charset="0"/>
                <a:cs typeface="Segoe UI" panose="020B0502040204020203" pitchFamily="34" charset="0"/>
              </a:rPr>
              <a:t>past</a:t>
            </a:r>
            <a:r>
              <a:rPr lang="de-DE" sz="1400" dirty="0">
                <a:latin typeface="Segoe UI" panose="020B0502040204020203" pitchFamily="34" charset="0"/>
                <a:cs typeface="Segoe UI" panose="020B0502040204020203" pitchFamily="34" charset="0"/>
              </a:rPr>
              <a:t>-service“) eingefroren.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Insbesondere, wenn noch einige Jahre bis zum Ruhestand verbleiben, kann so die Pensionslast mitunter erheblich </a:t>
            </a:r>
            <a:r>
              <a:rPr lang="de-DE" sz="1400" u="sng" dirty="0">
                <a:latin typeface="Segoe UI" panose="020B0502040204020203" pitchFamily="34" charset="0"/>
                <a:cs typeface="Segoe UI" panose="020B0502040204020203" pitchFamily="34" charset="0"/>
                <a:sym typeface="Wingdings" panose="05000000000000000000" pitchFamily="2" charset="2"/>
              </a:rPr>
              <a:t>ohne</a:t>
            </a:r>
            <a:r>
              <a:rPr lang="de-DE" sz="1400" dirty="0">
                <a:latin typeface="Segoe UI" panose="020B0502040204020203" pitchFamily="34" charset="0"/>
                <a:cs typeface="Segoe UI" panose="020B0502040204020203" pitchFamily="34" charset="0"/>
                <a:sym typeface="Wingdings" panose="05000000000000000000" pitchFamily="2" charset="2"/>
              </a:rPr>
              <a:t> fiktive </a:t>
            </a:r>
            <a:r>
              <a:rPr lang="de-DE" sz="1400" dirty="0" err="1">
                <a:latin typeface="Segoe UI" panose="020B0502040204020203" pitchFamily="34" charset="0"/>
                <a:cs typeface="Segoe UI" panose="020B0502040204020203" pitchFamily="34" charset="0"/>
                <a:sym typeface="Wingdings" panose="05000000000000000000" pitchFamily="2" charset="2"/>
              </a:rPr>
              <a:t>Zuflussbesteuerung</a:t>
            </a:r>
            <a:r>
              <a:rPr lang="de-DE" sz="1400" dirty="0">
                <a:latin typeface="Segoe UI" panose="020B0502040204020203" pitchFamily="34" charset="0"/>
                <a:cs typeface="Segoe UI" panose="020B0502040204020203" pitchFamily="34" charset="0"/>
                <a:sym typeface="Wingdings" panose="05000000000000000000" pitchFamily="2" charset="2"/>
              </a:rPr>
              <a:t> reduziert werden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Durch weitere planmäßige Einzahlungen in die Rückdeckungsversicherung kann eine bestehende Deckungslücke verringert oder geschlossen werden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Vereinfachungsregelung zur Berechnung des „</a:t>
            </a:r>
            <a:r>
              <a:rPr lang="de-DE" sz="1400" dirty="0" err="1">
                <a:latin typeface="Segoe UI" panose="020B0502040204020203" pitchFamily="34" charset="0"/>
                <a:cs typeface="Segoe UI" panose="020B0502040204020203" pitchFamily="34" charset="0"/>
                <a:sym typeface="Wingdings" panose="05000000000000000000" pitchFamily="2" charset="2"/>
              </a:rPr>
              <a:t>future</a:t>
            </a:r>
            <a:r>
              <a:rPr lang="de-DE" sz="1400" dirty="0">
                <a:latin typeface="Segoe UI" panose="020B0502040204020203" pitchFamily="34" charset="0"/>
                <a:cs typeface="Segoe UI" panose="020B0502040204020203" pitchFamily="34" charset="0"/>
                <a:sym typeface="Wingdings" panose="05000000000000000000" pitchFamily="2" charset="2"/>
              </a:rPr>
              <a:t>-service“ mit BMF vom 14.08.2012                                (vgl. dazu nachfolgendes Beispiel) </a:t>
            </a:r>
          </a:p>
          <a:p>
            <a:pPr>
              <a:lnSpc>
                <a:spcPct val="150000"/>
              </a:lnSpc>
            </a:pPr>
            <a:endParaRPr lang="de-DE"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9418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8AC3C8-683C-0361-4D6E-D3A233F59E0B}"/>
            </a:ext>
          </a:extLst>
        </p:cNvPr>
        <p:cNvGrpSpPr/>
        <p:nvPr/>
      </p:nvGrpSpPr>
      <p:grpSpPr>
        <a:xfrm>
          <a:off x="0" y="0"/>
          <a:ext cx="0" cy="0"/>
          <a:chOff x="0" y="0"/>
          <a:chExt cx="0" cy="0"/>
        </a:xfrm>
      </p:grpSpPr>
      <p:sp>
        <p:nvSpPr>
          <p:cNvPr id="55" name="Slide Number Placeholder 5">
            <a:extLst>
              <a:ext uri="{FF2B5EF4-FFF2-40B4-BE49-F238E27FC236}">
                <a16:creationId xmlns:a16="http://schemas.microsoft.com/office/drawing/2014/main" id="{36A9F72B-0E1F-CF4E-F964-3B5FCED2FDBB}"/>
              </a:ext>
            </a:extLst>
          </p:cNvPr>
          <p:cNvSpPr txBox="1">
            <a:spLocks/>
          </p:cNvSpPr>
          <p:nvPr>
            <p:custDataLst>
              <p:tags r:id="rId1"/>
            </p:custDataLst>
          </p:nvPr>
        </p:nvSpPr>
        <p:spPr>
          <a:xfrm>
            <a:off x="896416" y="7855507"/>
            <a:ext cx="283900" cy="151200"/>
          </a:xfrm>
          <a:prstGeom prst="rect">
            <a:avLst/>
          </a:prstGeom>
        </p:spPr>
        <p:txBody>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fld id="{3A5C5CA0-F2C0-43F9-B89F-AC7FA210C1FD}" type="slidenum">
              <a:rPr lang="en-GB" smtClean="0"/>
              <a:pPr/>
              <a:t>45</a:t>
            </a:fld>
            <a:endParaRPr lang="en-GB" dirty="0"/>
          </a:p>
        </p:txBody>
      </p:sp>
      <p:sp>
        <p:nvSpPr>
          <p:cNvPr id="85" name="TextBox 1">
            <a:extLst>
              <a:ext uri="{FF2B5EF4-FFF2-40B4-BE49-F238E27FC236}">
                <a16:creationId xmlns:a16="http://schemas.microsoft.com/office/drawing/2014/main" id="{1E01CB80-FE42-B1D7-25B7-E386BB17E942}"/>
              </a:ext>
            </a:extLst>
          </p:cNvPr>
          <p:cNvSpPr txBox="1"/>
          <p:nvPr/>
        </p:nvSpPr>
        <p:spPr>
          <a:xfrm>
            <a:off x="1670424" y="1084321"/>
            <a:ext cx="9324678"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Teil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den “future-service” </a:t>
            </a:r>
          </a:p>
        </p:txBody>
      </p:sp>
      <p:sp>
        <p:nvSpPr>
          <p:cNvPr id="3" name="7 CuadroTexto">
            <a:extLst>
              <a:ext uri="{FF2B5EF4-FFF2-40B4-BE49-F238E27FC236}">
                <a16:creationId xmlns:a16="http://schemas.microsoft.com/office/drawing/2014/main" id="{4ECE8721-9B7B-3CD3-330B-98E6BFAFFE05}"/>
              </a:ext>
            </a:extLst>
          </p:cNvPr>
          <p:cNvSpPr txBox="1"/>
          <p:nvPr/>
        </p:nvSpPr>
        <p:spPr>
          <a:xfrm>
            <a:off x="1487314" y="2879367"/>
            <a:ext cx="8647285" cy="2960682"/>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b="1" dirty="0">
                <a:latin typeface="Segoe UI" panose="020B0502040204020203" pitchFamily="34" charset="0"/>
                <a:cs typeface="Segoe UI" panose="020B0502040204020203" pitchFamily="34" charset="0"/>
              </a:rPr>
              <a:t>Beispiel</a:t>
            </a:r>
            <a:r>
              <a:rPr lang="de-DE" sz="1400" dirty="0">
                <a:latin typeface="Segoe UI" panose="020B0502040204020203" pitchFamily="34" charset="0"/>
                <a:cs typeface="Segoe UI" panose="020B0502040204020203" pitchFamily="34" charset="0"/>
              </a:rPr>
              <a:t> </a:t>
            </a:r>
          </a:p>
          <a:p>
            <a:pPr>
              <a:lnSpc>
                <a:spcPct val="150000"/>
              </a:lnSpc>
            </a:pPr>
            <a:r>
              <a:rPr lang="de-DE" sz="1400" dirty="0">
                <a:latin typeface="Segoe UI" panose="020B0502040204020203" pitchFamily="34" charset="0"/>
                <a:cs typeface="Segoe UI" panose="020B0502040204020203" pitchFamily="34" charset="0"/>
              </a:rPr>
              <a:t>(in Anlehnung an BMF-Schreiben vom 14.08.2012) </a:t>
            </a:r>
          </a:p>
          <a:p>
            <a:pPr>
              <a:lnSpc>
                <a:spcPct val="150000"/>
              </a:lnSpc>
            </a:pPr>
            <a:endParaRPr lang="de-DE" sz="1400" dirty="0">
              <a:latin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rPr>
              <a:t>Gesellschafter-Geschäftsführer einer GmbH, geb. 01.01.1974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Diensteintritt in die GmbH am 01.01.2000</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Zusage am 01.01.2010 einer Altersrente über 3.000 € / Monat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Pensionseintritt mit Vollendung des 66. Lebensjahres (2040)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Prüfung eines Teilverzichts zum 01.01.2025  „</a:t>
            </a:r>
            <a:r>
              <a:rPr lang="de-DE" sz="1400" dirty="0" err="1">
                <a:latin typeface="Segoe UI" panose="020B0502040204020203" pitchFamily="34" charset="0"/>
                <a:cs typeface="Segoe UI" panose="020B0502040204020203" pitchFamily="34" charset="0"/>
                <a:sym typeface="Wingdings" panose="05000000000000000000" pitchFamily="2" charset="2"/>
              </a:rPr>
              <a:t>future</a:t>
            </a:r>
            <a:r>
              <a:rPr lang="de-DE" sz="1400" dirty="0">
                <a:latin typeface="Segoe UI" panose="020B0502040204020203" pitchFamily="34" charset="0"/>
                <a:cs typeface="Segoe UI" panose="020B0502040204020203" pitchFamily="34" charset="0"/>
                <a:sym typeface="Wingdings" panose="05000000000000000000" pitchFamily="2" charset="2"/>
              </a:rPr>
              <a:t>-service“ beträgt 1.500 € / Monat</a:t>
            </a:r>
          </a:p>
          <a:p>
            <a:pPr>
              <a:lnSpc>
                <a:spcPct val="150000"/>
              </a:lnSpc>
            </a:pPr>
            <a:endParaRPr lang="de-DE"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92789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fade">
                                      <p:cBhvr>
                                        <p:cTn id="32" dur="500"/>
                                        <p:tgtEl>
                                          <p:spTgt spid="3">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animEffect transition="in" filter="fade">
                                      <p:cBhvr>
                                        <p:cTn id="37"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591162-C874-8729-8D60-541230E3A7C1}"/>
            </a:ext>
          </a:extLst>
        </p:cNvPr>
        <p:cNvGrpSpPr/>
        <p:nvPr/>
      </p:nvGrpSpPr>
      <p:grpSpPr>
        <a:xfrm>
          <a:off x="0" y="0"/>
          <a:ext cx="0" cy="0"/>
          <a:chOff x="0" y="0"/>
          <a:chExt cx="0" cy="0"/>
        </a:xfrm>
      </p:grpSpPr>
      <p:sp>
        <p:nvSpPr>
          <p:cNvPr id="55" name="Slide Number Placeholder 5">
            <a:extLst>
              <a:ext uri="{FF2B5EF4-FFF2-40B4-BE49-F238E27FC236}">
                <a16:creationId xmlns:a16="http://schemas.microsoft.com/office/drawing/2014/main" id="{E5FCCF48-6F12-CA9C-4C57-840AF588CF90}"/>
              </a:ext>
            </a:extLst>
          </p:cNvPr>
          <p:cNvSpPr txBox="1">
            <a:spLocks/>
          </p:cNvSpPr>
          <p:nvPr>
            <p:custDataLst>
              <p:tags r:id="rId1"/>
            </p:custDataLst>
          </p:nvPr>
        </p:nvSpPr>
        <p:spPr>
          <a:xfrm>
            <a:off x="896416" y="7855507"/>
            <a:ext cx="283900" cy="151200"/>
          </a:xfrm>
          <a:prstGeom prst="rect">
            <a:avLst/>
          </a:prstGeom>
        </p:spPr>
        <p:txBody>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fld id="{3A5C5CA0-F2C0-43F9-B89F-AC7FA210C1FD}" type="slidenum">
              <a:rPr lang="en-GB" smtClean="0"/>
              <a:pPr/>
              <a:t>46</a:t>
            </a:fld>
            <a:endParaRPr lang="en-GB" dirty="0"/>
          </a:p>
        </p:txBody>
      </p:sp>
      <p:sp>
        <p:nvSpPr>
          <p:cNvPr id="85" name="TextBox 1">
            <a:extLst>
              <a:ext uri="{FF2B5EF4-FFF2-40B4-BE49-F238E27FC236}">
                <a16:creationId xmlns:a16="http://schemas.microsoft.com/office/drawing/2014/main" id="{95E1D2FF-238C-7C26-704C-0D4C9D31E7C1}"/>
              </a:ext>
            </a:extLst>
          </p:cNvPr>
          <p:cNvSpPr txBox="1"/>
          <p:nvPr/>
        </p:nvSpPr>
        <p:spPr>
          <a:xfrm>
            <a:off x="1670424" y="1084321"/>
            <a:ext cx="9324678"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Teil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den “future-service” </a:t>
            </a:r>
          </a:p>
        </p:txBody>
      </p:sp>
      <p:grpSp>
        <p:nvGrpSpPr>
          <p:cNvPr id="2" name="Gruppieren 1">
            <a:extLst>
              <a:ext uri="{FF2B5EF4-FFF2-40B4-BE49-F238E27FC236}">
                <a16:creationId xmlns:a16="http://schemas.microsoft.com/office/drawing/2014/main" id="{5812DEA8-E16D-A4E5-68CA-4D6700698022}"/>
              </a:ext>
            </a:extLst>
          </p:cNvPr>
          <p:cNvGrpSpPr/>
          <p:nvPr/>
        </p:nvGrpSpPr>
        <p:grpSpPr>
          <a:xfrm>
            <a:off x="1733333" y="2478753"/>
            <a:ext cx="8384600" cy="3881839"/>
            <a:chOff x="1733333" y="2478753"/>
            <a:chExt cx="8384600" cy="3881839"/>
          </a:xfrm>
        </p:grpSpPr>
        <p:sp>
          <p:nvSpPr>
            <p:cNvPr id="6" name="AutoShape 3">
              <a:extLst>
                <a:ext uri="{FF2B5EF4-FFF2-40B4-BE49-F238E27FC236}">
                  <a16:creationId xmlns:a16="http://schemas.microsoft.com/office/drawing/2014/main" id="{3CF67768-A54A-FC00-D7A5-945F5E7880A1}"/>
                </a:ext>
              </a:extLst>
            </p:cNvPr>
            <p:cNvSpPr>
              <a:spLocks noChangeArrowheads="1"/>
            </p:cNvSpPr>
            <p:nvPr>
              <p:custDataLst>
                <p:tags r:id="rId6"/>
              </p:custDataLst>
            </p:nvPr>
          </p:nvSpPr>
          <p:spPr bwMode="auto">
            <a:xfrm>
              <a:off x="2053037" y="3351780"/>
              <a:ext cx="8064896" cy="584775"/>
            </a:xfrm>
            <a:prstGeom prst="rightArrow">
              <a:avLst>
                <a:gd name="adj1" fmla="val 67556"/>
                <a:gd name="adj2" fmla="val 90801"/>
              </a:avLst>
            </a:prstGeom>
            <a:solidFill>
              <a:srgbClr val="0093A7"/>
            </a:solidFill>
            <a:ln w="9525" cap="flat" cmpd="sng" algn="ctr">
              <a:noFill/>
              <a:prstDash val="solid"/>
              <a:miter lim="800000"/>
              <a:headEnd type="none" w="med" len="med"/>
              <a:tailEnd type="none" w="med" len="med"/>
            </a:ln>
            <a:effectLst>
              <a:outerShdw blurRad="76200" dist="12700" dir="2700000" sy="-23000" kx="-800400" algn="bl" rotWithShape="0">
                <a:prstClr val="black">
                  <a:alpha val="20000"/>
                </a:prstClr>
              </a:outerShdw>
            </a:effectLst>
          </p:spPr>
          <p:txBody>
            <a:bodyPr lIns="144000" tIns="108000" rIns="144000" bIns="108000" anchor="ctr"/>
            <a:lstStyle/>
            <a:p>
              <a:pPr marL="1588" lvl="1" algn="ctr">
                <a:spcBef>
                  <a:spcPct val="40000"/>
                </a:spcBef>
              </a:pPr>
              <a:endParaRPr lang="en-GB" b="1" dirty="0">
                <a:solidFill>
                  <a:schemeClr val="bg1"/>
                </a:solidFill>
                <a:latin typeface="Segoe UI" panose="020B0502040204020203" pitchFamily="34" charset="0"/>
                <a:cs typeface="Segoe UI" panose="020B0502040204020203" pitchFamily="34" charset="0"/>
              </a:endParaRPr>
            </a:p>
          </p:txBody>
        </p:sp>
        <p:sp>
          <p:nvSpPr>
            <p:cNvPr id="14" name="Line 8">
              <a:extLst>
                <a:ext uri="{FF2B5EF4-FFF2-40B4-BE49-F238E27FC236}">
                  <a16:creationId xmlns:a16="http://schemas.microsoft.com/office/drawing/2014/main" id="{2EAEB104-7BF5-12F3-47E9-8CD4094ED8B3}"/>
                </a:ext>
              </a:extLst>
            </p:cNvPr>
            <p:cNvSpPr>
              <a:spLocks noChangeShapeType="1"/>
            </p:cNvSpPr>
            <p:nvPr>
              <p:custDataLst>
                <p:tags r:id="rId7"/>
              </p:custDataLst>
            </p:nvPr>
          </p:nvSpPr>
          <p:spPr bwMode="auto">
            <a:xfrm>
              <a:off x="2387209" y="3001973"/>
              <a:ext cx="0" cy="291876"/>
            </a:xfrm>
            <a:prstGeom prst="line">
              <a:avLst/>
            </a:prstGeom>
            <a:noFill/>
            <a:ln w="9525">
              <a:solidFill>
                <a:schemeClr val="accent6"/>
              </a:solidFill>
              <a:round/>
              <a:headEnd type="none" w="sm" len="sm"/>
              <a:tailEnd type="triangle" w="med" len="med"/>
            </a:ln>
            <a:effectLst/>
          </p:spPr>
          <p:txBody>
            <a:bodyPr wrap="none" anchor="ctr"/>
            <a:lstStyle/>
            <a:p>
              <a:endParaRPr lang="en-GB" dirty="0"/>
            </a:p>
          </p:txBody>
        </p:sp>
        <p:grpSp>
          <p:nvGrpSpPr>
            <p:cNvPr id="16" name="Group 177">
              <a:extLst>
                <a:ext uri="{FF2B5EF4-FFF2-40B4-BE49-F238E27FC236}">
                  <a16:creationId xmlns:a16="http://schemas.microsoft.com/office/drawing/2014/main" id="{DB2712DE-0D50-F17B-D2A0-7879D2A2CDA7}"/>
                </a:ext>
              </a:extLst>
            </p:cNvPr>
            <p:cNvGrpSpPr/>
            <p:nvPr/>
          </p:nvGrpSpPr>
          <p:grpSpPr>
            <a:xfrm>
              <a:off x="3013348" y="6117145"/>
              <a:ext cx="284708" cy="243447"/>
              <a:chOff x="2784953" y="5451296"/>
              <a:chExt cx="468912" cy="400954"/>
            </a:xfrm>
            <a:solidFill>
              <a:srgbClr val="FBBA00"/>
            </a:solidFill>
          </p:grpSpPr>
          <p:sp>
            <p:nvSpPr>
              <p:cNvPr id="21" name="Line 1242">
                <a:extLst>
                  <a:ext uri="{FF2B5EF4-FFF2-40B4-BE49-F238E27FC236}">
                    <a16:creationId xmlns:a16="http://schemas.microsoft.com/office/drawing/2014/main" id="{E82CCC89-2756-E471-DDB9-68F4942B70F2}"/>
                  </a:ext>
                </a:extLst>
              </p:cNvPr>
              <p:cNvSpPr>
                <a:spLocks noChangeShapeType="1"/>
              </p:cNvSpPr>
              <p:nvPr/>
            </p:nvSpPr>
            <p:spPr bwMode="auto">
              <a:xfrm flipH="1" flipV="1">
                <a:off x="3026847" y="5451296"/>
                <a:ext cx="0" cy="92172"/>
              </a:xfrm>
              <a:prstGeom prst="line">
                <a:avLst/>
              </a:prstGeom>
              <a:grpFill/>
              <a:ln w="19050" cmpd="sng">
                <a:solidFill>
                  <a:schemeClr val="bg1"/>
                </a:solidFill>
                <a:round/>
                <a:headEnd/>
                <a:tailEnd/>
              </a:ln>
            </p:spPr>
            <p:txBody>
              <a:bodyPr/>
              <a:lstStyle/>
              <a:p>
                <a:endParaRPr lang="de-DE" dirty="0"/>
              </a:p>
            </p:txBody>
          </p:sp>
          <p:sp>
            <p:nvSpPr>
              <p:cNvPr id="22" name="Line 1243">
                <a:extLst>
                  <a:ext uri="{FF2B5EF4-FFF2-40B4-BE49-F238E27FC236}">
                    <a16:creationId xmlns:a16="http://schemas.microsoft.com/office/drawing/2014/main" id="{E2C565B9-4AE5-E998-269D-586B40AB2295}"/>
                  </a:ext>
                </a:extLst>
              </p:cNvPr>
              <p:cNvSpPr>
                <a:spLocks noChangeShapeType="1"/>
              </p:cNvSpPr>
              <p:nvPr/>
            </p:nvSpPr>
            <p:spPr bwMode="auto">
              <a:xfrm flipV="1">
                <a:off x="3165652" y="5580342"/>
                <a:ext cx="78927" cy="46086"/>
              </a:xfrm>
              <a:prstGeom prst="line">
                <a:avLst/>
              </a:prstGeom>
              <a:grpFill/>
              <a:ln w="19050" cmpd="sng">
                <a:solidFill>
                  <a:schemeClr val="bg1"/>
                </a:solidFill>
                <a:round/>
                <a:headEnd/>
                <a:tailEnd/>
              </a:ln>
            </p:spPr>
            <p:txBody>
              <a:bodyPr/>
              <a:lstStyle/>
              <a:p>
                <a:endParaRPr lang="de-DE" dirty="0"/>
              </a:p>
            </p:txBody>
          </p:sp>
          <p:sp>
            <p:nvSpPr>
              <p:cNvPr id="23" name="Line 1244">
                <a:extLst>
                  <a:ext uri="{FF2B5EF4-FFF2-40B4-BE49-F238E27FC236}">
                    <a16:creationId xmlns:a16="http://schemas.microsoft.com/office/drawing/2014/main" id="{D154467D-3415-3149-44E6-1AD3469F1D69}"/>
                  </a:ext>
                </a:extLst>
              </p:cNvPr>
              <p:cNvSpPr>
                <a:spLocks noChangeShapeType="1"/>
              </p:cNvSpPr>
              <p:nvPr/>
            </p:nvSpPr>
            <p:spPr bwMode="auto">
              <a:xfrm>
                <a:off x="3170296" y="5796945"/>
                <a:ext cx="83569" cy="46086"/>
              </a:xfrm>
              <a:prstGeom prst="line">
                <a:avLst/>
              </a:prstGeom>
              <a:grpFill/>
              <a:ln w="19050" cmpd="sng">
                <a:solidFill>
                  <a:schemeClr val="bg1"/>
                </a:solidFill>
                <a:round/>
                <a:headEnd/>
                <a:tailEnd/>
              </a:ln>
            </p:spPr>
            <p:txBody>
              <a:bodyPr/>
              <a:lstStyle/>
              <a:p>
                <a:endParaRPr lang="de-DE" dirty="0"/>
              </a:p>
            </p:txBody>
          </p:sp>
          <p:sp>
            <p:nvSpPr>
              <p:cNvPr id="24" name="Line 1245">
                <a:extLst>
                  <a:ext uri="{FF2B5EF4-FFF2-40B4-BE49-F238E27FC236}">
                    <a16:creationId xmlns:a16="http://schemas.microsoft.com/office/drawing/2014/main" id="{2F392439-7D06-44BC-6BCF-89AABC4DAA61}"/>
                  </a:ext>
                </a:extLst>
              </p:cNvPr>
              <p:cNvSpPr>
                <a:spLocks noChangeShapeType="1"/>
              </p:cNvSpPr>
              <p:nvPr/>
            </p:nvSpPr>
            <p:spPr bwMode="auto">
              <a:xfrm flipH="1">
                <a:off x="2789591" y="5806164"/>
                <a:ext cx="78927" cy="46086"/>
              </a:xfrm>
              <a:prstGeom prst="line">
                <a:avLst/>
              </a:prstGeom>
              <a:grpFill/>
              <a:ln w="19050" cmpd="sng">
                <a:solidFill>
                  <a:schemeClr val="bg1"/>
                </a:solidFill>
                <a:round/>
                <a:headEnd/>
                <a:tailEnd/>
              </a:ln>
            </p:spPr>
            <p:txBody>
              <a:bodyPr/>
              <a:lstStyle/>
              <a:p>
                <a:endParaRPr lang="de-DE" dirty="0"/>
              </a:p>
            </p:txBody>
          </p:sp>
          <p:sp>
            <p:nvSpPr>
              <p:cNvPr id="25" name="Line 1246">
                <a:extLst>
                  <a:ext uri="{FF2B5EF4-FFF2-40B4-BE49-F238E27FC236}">
                    <a16:creationId xmlns:a16="http://schemas.microsoft.com/office/drawing/2014/main" id="{8DBA7AFD-DDEA-50B8-4EE8-4A6F72822772}"/>
                  </a:ext>
                </a:extLst>
              </p:cNvPr>
              <p:cNvSpPr>
                <a:spLocks noChangeShapeType="1"/>
              </p:cNvSpPr>
              <p:nvPr/>
            </p:nvSpPr>
            <p:spPr bwMode="auto">
              <a:xfrm flipH="1" flipV="1">
                <a:off x="2784953" y="5589554"/>
                <a:ext cx="83569" cy="41479"/>
              </a:xfrm>
              <a:prstGeom prst="line">
                <a:avLst/>
              </a:prstGeom>
              <a:grpFill/>
              <a:ln w="19050" cmpd="sng">
                <a:solidFill>
                  <a:schemeClr val="bg1"/>
                </a:solidFill>
                <a:round/>
                <a:headEnd/>
                <a:tailEnd/>
              </a:ln>
            </p:spPr>
            <p:txBody>
              <a:bodyPr/>
              <a:lstStyle/>
              <a:p>
                <a:endParaRPr lang="de-DE" dirty="0"/>
              </a:p>
            </p:txBody>
          </p:sp>
        </p:grpSp>
        <p:sp>
          <p:nvSpPr>
            <p:cNvPr id="18" name="PrognosTextBox">
              <a:extLst>
                <a:ext uri="{FF2B5EF4-FFF2-40B4-BE49-F238E27FC236}">
                  <a16:creationId xmlns:a16="http://schemas.microsoft.com/office/drawing/2014/main" id="{AC72638B-9619-148E-9C7C-1993262DACB3}"/>
                </a:ext>
              </a:extLst>
            </p:cNvPr>
            <p:cNvSpPr>
              <a:spLocks/>
            </p:cNvSpPr>
            <p:nvPr>
              <p:custDataLst>
                <p:tags r:id="rId8"/>
              </p:custDataLst>
            </p:nvPr>
          </p:nvSpPr>
          <p:spPr>
            <a:xfrm>
              <a:off x="1733333" y="2478753"/>
              <a:ext cx="1492233" cy="523220"/>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err="1">
                  <a:latin typeface="Segoe UI" panose="020B0502040204020203" pitchFamily="34" charset="0"/>
                  <a:cs typeface="Segoe UI" panose="020B0502040204020203" pitchFamily="34" charset="0"/>
                </a:rPr>
                <a:t>Pensionszusage</a:t>
              </a:r>
              <a:r>
                <a:rPr lang="en-GB" sz="1400" dirty="0">
                  <a:latin typeface="Segoe UI" panose="020B0502040204020203" pitchFamily="34" charset="0"/>
                  <a:cs typeface="Segoe UI" panose="020B0502040204020203" pitchFamily="34" charset="0"/>
                </a:rPr>
                <a:t> 3.000 €</a:t>
              </a:r>
            </a:p>
          </p:txBody>
        </p:sp>
      </p:grpSp>
      <p:sp>
        <p:nvSpPr>
          <p:cNvPr id="35" name="PrognosTextBox">
            <a:extLst>
              <a:ext uri="{FF2B5EF4-FFF2-40B4-BE49-F238E27FC236}">
                <a16:creationId xmlns:a16="http://schemas.microsoft.com/office/drawing/2014/main" id="{4461F15B-1AB9-C601-64D0-BB1750384525}"/>
              </a:ext>
            </a:extLst>
          </p:cNvPr>
          <p:cNvSpPr>
            <a:spLocks/>
          </p:cNvSpPr>
          <p:nvPr>
            <p:custDataLst>
              <p:tags r:id="rId2"/>
            </p:custDataLst>
          </p:nvPr>
        </p:nvSpPr>
        <p:spPr>
          <a:xfrm>
            <a:off x="1795275" y="3882748"/>
            <a:ext cx="1492233" cy="307777"/>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a:latin typeface="Segoe UI" panose="020B0502040204020203" pitchFamily="34" charset="0"/>
                <a:cs typeface="Segoe UI" panose="020B0502040204020203" pitchFamily="34" charset="0"/>
              </a:rPr>
              <a:t>01.01.2010</a:t>
            </a:r>
          </a:p>
        </p:txBody>
      </p:sp>
      <p:sp>
        <p:nvSpPr>
          <p:cNvPr id="38" name="PrognosTextBox">
            <a:extLst>
              <a:ext uri="{FF2B5EF4-FFF2-40B4-BE49-F238E27FC236}">
                <a16:creationId xmlns:a16="http://schemas.microsoft.com/office/drawing/2014/main" id="{38DD1EA8-3007-4F0D-BDF7-F7DE412A14E2}"/>
              </a:ext>
            </a:extLst>
          </p:cNvPr>
          <p:cNvSpPr>
            <a:spLocks/>
          </p:cNvSpPr>
          <p:nvPr>
            <p:custDataLst>
              <p:tags r:id="rId3"/>
            </p:custDataLst>
          </p:nvPr>
        </p:nvSpPr>
        <p:spPr>
          <a:xfrm>
            <a:off x="7937110" y="2493519"/>
            <a:ext cx="1492233" cy="566309"/>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err="1">
                <a:latin typeface="Segoe UI" panose="020B0502040204020203" pitchFamily="34" charset="0"/>
                <a:cs typeface="Segoe UI" panose="020B0502040204020203" pitchFamily="34" charset="0"/>
              </a:rPr>
              <a:t>Eintritt</a:t>
            </a:r>
            <a:r>
              <a:rPr lang="en-GB" sz="1400" dirty="0">
                <a:latin typeface="Segoe UI" panose="020B0502040204020203" pitchFamily="34" charset="0"/>
                <a:cs typeface="Segoe UI" panose="020B0502040204020203" pitchFamily="34" charset="0"/>
              </a:rPr>
              <a:t> in </a:t>
            </a:r>
          </a:p>
          <a:p>
            <a:pPr lvl="1" algn="ctr"/>
            <a:r>
              <a:rPr lang="en-GB" sz="1400" dirty="0" err="1">
                <a:latin typeface="Segoe UI" panose="020B0502040204020203" pitchFamily="34" charset="0"/>
                <a:cs typeface="Segoe UI" panose="020B0502040204020203" pitchFamily="34" charset="0"/>
              </a:rPr>
              <a:t>Ruhestand</a:t>
            </a:r>
            <a:endParaRPr lang="en-GB" sz="1400" dirty="0">
              <a:latin typeface="Segoe UI" panose="020B0502040204020203" pitchFamily="34" charset="0"/>
              <a:cs typeface="Segoe UI" panose="020B0502040204020203" pitchFamily="34" charset="0"/>
            </a:endParaRPr>
          </a:p>
        </p:txBody>
      </p:sp>
      <p:sp>
        <p:nvSpPr>
          <p:cNvPr id="39" name="Line 8">
            <a:extLst>
              <a:ext uri="{FF2B5EF4-FFF2-40B4-BE49-F238E27FC236}">
                <a16:creationId xmlns:a16="http://schemas.microsoft.com/office/drawing/2014/main" id="{1A804431-B28A-8229-0AA9-E57036B15560}"/>
              </a:ext>
            </a:extLst>
          </p:cNvPr>
          <p:cNvSpPr>
            <a:spLocks noChangeShapeType="1"/>
          </p:cNvSpPr>
          <p:nvPr>
            <p:custDataLst>
              <p:tags r:id="rId4"/>
            </p:custDataLst>
          </p:nvPr>
        </p:nvSpPr>
        <p:spPr bwMode="auto">
          <a:xfrm>
            <a:off x="8697205" y="3031607"/>
            <a:ext cx="0" cy="291876"/>
          </a:xfrm>
          <a:prstGeom prst="line">
            <a:avLst/>
          </a:prstGeom>
          <a:noFill/>
          <a:ln w="9525">
            <a:solidFill>
              <a:schemeClr val="accent6"/>
            </a:solidFill>
            <a:round/>
            <a:headEnd type="none" w="sm" len="sm"/>
            <a:tailEnd type="triangle" w="med" len="med"/>
          </a:ln>
          <a:effectLst/>
        </p:spPr>
        <p:txBody>
          <a:bodyPr wrap="none" anchor="ctr"/>
          <a:lstStyle/>
          <a:p>
            <a:endParaRPr lang="en-GB" dirty="0"/>
          </a:p>
        </p:txBody>
      </p:sp>
      <p:sp>
        <p:nvSpPr>
          <p:cNvPr id="40" name="PrognosTextBox">
            <a:extLst>
              <a:ext uri="{FF2B5EF4-FFF2-40B4-BE49-F238E27FC236}">
                <a16:creationId xmlns:a16="http://schemas.microsoft.com/office/drawing/2014/main" id="{27F3C61E-B792-6E95-A25B-C717C97ABA23}"/>
              </a:ext>
            </a:extLst>
          </p:cNvPr>
          <p:cNvSpPr>
            <a:spLocks/>
          </p:cNvSpPr>
          <p:nvPr>
            <p:custDataLst>
              <p:tags r:id="rId5"/>
            </p:custDataLst>
          </p:nvPr>
        </p:nvSpPr>
        <p:spPr>
          <a:xfrm>
            <a:off x="7985981" y="3876941"/>
            <a:ext cx="1492233" cy="307777"/>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a:latin typeface="Segoe UI" panose="020B0502040204020203" pitchFamily="34" charset="0"/>
                <a:cs typeface="Segoe UI" panose="020B0502040204020203" pitchFamily="34" charset="0"/>
              </a:rPr>
              <a:t>01.01.2040</a:t>
            </a:r>
          </a:p>
        </p:txBody>
      </p:sp>
    </p:spTree>
    <p:extLst>
      <p:ext uri="{BB962C8B-B14F-4D97-AF65-F5344CB8AC3E}">
        <p14:creationId xmlns:p14="http://schemas.microsoft.com/office/powerpoint/2010/main" val="413842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5F96DF-6572-21B4-9CAA-F7E7772281F1}"/>
            </a:ext>
          </a:extLst>
        </p:cNvPr>
        <p:cNvGrpSpPr/>
        <p:nvPr/>
      </p:nvGrpSpPr>
      <p:grpSpPr>
        <a:xfrm>
          <a:off x="0" y="0"/>
          <a:ext cx="0" cy="0"/>
          <a:chOff x="0" y="0"/>
          <a:chExt cx="0" cy="0"/>
        </a:xfrm>
      </p:grpSpPr>
      <p:sp>
        <p:nvSpPr>
          <p:cNvPr id="55" name="Slide Number Placeholder 5">
            <a:extLst>
              <a:ext uri="{FF2B5EF4-FFF2-40B4-BE49-F238E27FC236}">
                <a16:creationId xmlns:a16="http://schemas.microsoft.com/office/drawing/2014/main" id="{FB007AB2-0EBE-ECF1-C14A-79B526DD91AA}"/>
              </a:ext>
            </a:extLst>
          </p:cNvPr>
          <p:cNvSpPr txBox="1">
            <a:spLocks/>
          </p:cNvSpPr>
          <p:nvPr>
            <p:custDataLst>
              <p:tags r:id="rId1"/>
            </p:custDataLst>
          </p:nvPr>
        </p:nvSpPr>
        <p:spPr>
          <a:xfrm>
            <a:off x="896416" y="7855507"/>
            <a:ext cx="283900" cy="151200"/>
          </a:xfrm>
          <a:prstGeom prst="rect">
            <a:avLst/>
          </a:prstGeom>
        </p:spPr>
        <p:txBody>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fld id="{3A5C5CA0-F2C0-43F9-B89F-AC7FA210C1FD}" type="slidenum">
              <a:rPr lang="en-GB" smtClean="0"/>
              <a:pPr/>
              <a:t>47</a:t>
            </a:fld>
            <a:endParaRPr lang="en-GB" dirty="0"/>
          </a:p>
        </p:txBody>
      </p:sp>
      <p:sp>
        <p:nvSpPr>
          <p:cNvPr id="85" name="TextBox 1">
            <a:extLst>
              <a:ext uri="{FF2B5EF4-FFF2-40B4-BE49-F238E27FC236}">
                <a16:creationId xmlns:a16="http://schemas.microsoft.com/office/drawing/2014/main" id="{E1E3FC85-A5CF-A71A-9F85-920077AD19BA}"/>
              </a:ext>
            </a:extLst>
          </p:cNvPr>
          <p:cNvSpPr txBox="1"/>
          <p:nvPr/>
        </p:nvSpPr>
        <p:spPr>
          <a:xfrm>
            <a:off x="1670424" y="1084321"/>
            <a:ext cx="9324678"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Teil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den “future-service” </a:t>
            </a:r>
          </a:p>
        </p:txBody>
      </p:sp>
      <p:grpSp>
        <p:nvGrpSpPr>
          <p:cNvPr id="2" name="Gruppieren 1">
            <a:extLst>
              <a:ext uri="{FF2B5EF4-FFF2-40B4-BE49-F238E27FC236}">
                <a16:creationId xmlns:a16="http://schemas.microsoft.com/office/drawing/2014/main" id="{4306EE1D-6929-DC73-F45C-A2FF094A54A8}"/>
              </a:ext>
            </a:extLst>
          </p:cNvPr>
          <p:cNvGrpSpPr/>
          <p:nvPr/>
        </p:nvGrpSpPr>
        <p:grpSpPr>
          <a:xfrm>
            <a:off x="1733333" y="2478753"/>
            <a:ext cx="8384600" cy="3881839"/>
            <a:chOff x="1733333" y="2478753"/>
            <a:chExt cx="8384600" cy="3881839"/>
          </a:xfrm>
        </p:grpSpPr>
        <p:sp>
          <p:nvSpPr>
            <p:cNvPr id="6" name="AutoShape 3">
              <a:extLst>
                <a:ext uri="{FF2B5EF4-FFF2-40B4-BE49-F238E27FC236}">
                  <a16:creationId xmlns:a16="http://schemas.microsoft.com/office/drawing/2014/main" id="{484931D2-D3F8-5451-B62D-A26DD187891E}"/>
                </a:ext>
              </a:extLst>
            </p:cNvPr>
            <p:cNvSpPr>
              <a:spLocks noChangeArrowheads="1"/>
            </p:cNvSpPr>
            <p:nvPr>
              <p:custDataLst>
                <p:tags r:id="rId8"/>
              </p:custDataLst>
            </p:nvPr>
          </p:nvSpPr>
          <p:spPr bwMode="auto">
            <a:xfrm>
              <a:off x="2053037" y="3351780"/>
              <a:ext cx="8064896" cy="584775"/>
            </a:xfrm>
            <a:prstGeom prst="rightArrow">
              <a:avLst>
                <a:gd name="adj1" fmla="val 67556"/>
                <a:gd name="adj2" fmla="val 90801"/>
              </a:avLst>
            </a:prstGeom>
            <a:solidFill>
              <a:srgbClr val="0093A7"/>
            </a:solidFill>
            <a:ln w="9525" cap="flat" cmpd="sng" algn="ctr">
              <a:noFill/>
              <a:prstDash val="solid"/>
              <a:miter lim="800000"/>
              <a:headEnd type="none" w="med" len="med"/>
              <a:tailEnd type="none" w="med" len="med"/>
            </a:ln>
            <a:effectLst>
              <a:outerShdw blurRad="76200" dist="12700" dir="2700000" sy="-23000" kx="-800400" algn="bl" rotWithShape="0">
                <a:prstClr val="black">
                  <a:alpha val="20000"/>
                </a:prstClr>
              </a:outerShdw>
            </a:effectLst>
          </p:spPr>
          <p:txBody>
            <a:bodyPr lIns="144000" tIns="108000" rIns="144000" bIns="108000" anchor="ctr"/>
            <a:lstStyle/>
            <a:p>
              <a:pPr marL="1588" lvl="1" algn="ctr">
                <a:spcBef>
                  <a:spcPct val="40000"/>
                </a:spcBef>
              </a:pPr>
              <a:endParaRPr lang="en-GB" b="1" dirty="0">
                <a:solidFill>
                  <a:schemeClr val="bg1"/>
                </a:solidFill>
                <a:latin typeface="Segoe UI" panose="020B0502040204020203" pitchFamily="34" charset="0"/>
                <a:cs typeface="Segoe UI" panose="020B0502040204020203" pitchFamily="34" charset="0"/>
              </a:endParaRPr>
            </a:p>
          </p:txBody>
        </p:sp>
        <p:sp>
          <p:nvSpPr>
            <p:cNvPr id="7" name="Line 8">
              <a:extLst>
                <a:ext uri="{FF2B5EF4-FFF2-40B4-BE49-F238E27FC236}">
                  <a16:creationId xmlns:a16="http://schemas.microsoft.com/office/drawing/2014/main" id="{72BA6AD4-ACA0-B3E2-810D-11A599966912}"/>
                </a:ext>
              </a:extLst>
            </p:cNvPr>
            <p:cNvSpPr>
              <a:spLocks noChangeShapeType="1"/>
            </p:cNvSpPr>
            <p:nvPr>
              <p:custDataLst>
                <p:tags r:id="rId9"/>
              </p:custDataLst>
            </p:nvPr>
          </p:nvSpPr>
          <p:spPr bwMode="auto">
            <a:xfrm>
              <a:off x="5578594" y="3031607"/>
              <a:ext cx="0" cy="291876"/>
            </a:xfrm>
            <a:prstGeom prst="line">
              <a:avLst/>
            </a:prstGeom>
            <a:noFill/>
            <a:ln w="9525">
              <a:solidFill>
                <a:schemeClr val="accent6"/>
              </a:solidFill>
              <a:round/>
              <a:headEnd type="none" w="sm" len="sm"/>
              <a:tailEnd type="triangle" w="med" len="med"/>
            </a:ln>
            <a:effectLst/>
          </p:spPr>
          <p:txBody>
            <a:bodyPr wrap="none" anchor="ctr"/>
            <a:lstStyle/>
            <a:p>
              <a:endParaRPr lang="en-GB" dirty="0"/>
            </a:p>
          </p:txBody>
        </p:sp>
        <p:sp>
          <p:nvSpPr>
            <p:cNvPr id="14" name="Line 8">
              <a:extLst>
                <a:ext uri="{FF2B5EF4-FFF2-40B4-BE49-F238E27FC236}">
                  <a16:creationId xmlns:a16="http://schemas.microsoft.com/office/drawing/2014/main" id="{1BB889A5-17B1-F096-E932-5CED2D4A447A}"/>
                </a:ext>
              </a:extLst>
            </p:cNvPr>
            <p:cNvSpPr>
              <a:spLocks noChangeShapeType="1"/>
            </p:cNvSpPr>
            <p:nvPr>
              <p:custDataLst>
                <p:tags r:id="rId10"/>
              </p:custDataLst>
            </p:nvPr>
          </p:nvSpPr>
          <p:spPr bwMode="auto">
            <a:xfrm>
              <a:off x="2387209" y="3001973"/>
              <a:ext cx="0" cy="291876"/>
            </a:xfrm>
            <a:prstGeom prst="line">
              <a:avLst/>
            </a:prstGeom>
            <a:noFill/>
            <a:ln w="9525">
              <a:solidFill>
                <a:schemeClr val="accent6"/>
              </a:solidFill>
              <a:round/>
              <a:headEnd type="none" w="sm" len="sm"/>
              <a:tailEnd type="triangle" w="med" len="med"/>
            </a:ln>
            <a:effectLst/>
          </p:spPr>
          <p:txBody>
            <a:bodyPr wrap="none" anchor="ctr"/>
            <a:lstStyle/>
            <a:p>
              <a:endParaRPr lang="en-GB" dirty="0"/>
            </a:p>
          </p:txBody>
        </p:sp>
        <p:grpSp>
          <p:nvGrpSpPr>
            <p:cNvPr id="16" name="Group 177">
              <a:extLst>
                <a:ext uri="{FF2B5EF4-FFF2-40B4-BE49-F238E27FC236}">
                  <a16:creationId xmlns:a16="http://schemas.microsoft.com/office/drawing/2014/main" id="{57FC7D72-C641-8F15-94E7-659862454822}"/>
                </a:ext>
              </a:extLst>
            </p:cNvPr>
            <p:cNvGrpSpPr/>
            <p:nvPr/>
          </p:nvGrpSpPr>
          <p:grpSpPr>
            <a:xfrm>
              <a:off x="3013348" y="6117145"/>
              <a:ext cx="284708" cy="243447"/>
              <a:chOff x="2784953" y="5451296"/>
              <a:chExt cx="468912" cy="400954"/>
            </a:xfrm>
            <a:solidFill>
              <a:srgbClr val="FBBA00"/>
            </a:solidFill>
          </p:grpSpPr>
          <p:sp>
            <p:nvSpPr>
              <p:cNvPr id="21" name="Line 1242">
                <a:extLst>
                  <a:ext uri="{FF2B5EF4-FFF2-40B4-BE49-F238E27FC236}">
                    <a16:creationId xmlns:a16="http://schemas.microsoft.com/office/drawing/2014/main" id="{2E52E514-0F53-8D45-9C38-F115D3C9618D}"/>
                  </a:ext>
                </a:extLst>
              </p:cNvPr>
              <p:cNvSpPr>
                <a:spLocks noChangeShapeType="1"/>
              </p:cNvSpPr>
              <p:nvPr/>
            </p:nvSpPr>
            <p:spPr bwMode="auto">
              <a:xfrm flipH="1" flipV="1">
                <a:off x="3026847" y="5451296"/>
                <a:ext cx="0" cy="92172"/>
              </a:xfrm>
              <a:prstGeom prst="line">
                <a:avLst/>
              </a:prstGeom>
              <a:grpFill/>
              <a:ln w="19050" cmpd="sng">
                <a:solidFill>
                  <a:schemeClr val="bg1"/>
                </a:solidFill>
                <a:round/>
                <a:headEnd/>
                <a:tailEnd/>
              </a:ln>
            </p:spPr>
            <p:txBody>
              <a:bodyPr/>
              <a:lstStyle/>
              <a:p>
                <a:endParaRPr lang="de-DE" dirty="0"/>
              </a:p>
            </p:txBody>
          </p:sp>
          <p:sp>
            <p:nvSpPr>
              <p:cNvPr id="22" name="Line 1243">
                <a:extLst>
                  <a:ext uri="{FF2B5EF4-FFF2-40B4-BE49-F238E27FC236}">
                    <a16:creationId xmlns:a16="http://schemas.microsoft.com/office/drawing/2014/main" id="{E56719A3-CECC-A29A-B8DA-6F377406F6AB}"/>
                  </a:ext>
                </a:extLst>
              </p:cNvPr>
              <p:cNvSpPr>
                <a:spLocks noChangeShapeType="1"/>
              </p:cNvSpPr>
              <p:nvPr/>
            </p:nvSpPr>
            <p:spPr bwMode="auto">
              <a:xfrm flipV="1">
                <a:off x="3165652" y="5580342"/>
                <a:ext cx="78927" cy="46086"/>
              </a:xfrm>
              <a:prstGeom prst="line">
                <a:avLst/>
              </a:prstGeom>
              <a:grpFill/>
              <a:ln w="19050" cmpd="sng">
                <a:solidFill>
                  <a:schemeClr val="bg1"/>
                </a:solidFill>
                <a:round/>
                <a:headEnd/>
                <a:tailEnd/>
              </a:ln>
            </p:spPr>
            <p:txBody>
              <a:bodyPr/>
              <a:lstStyle/>
              <a:p>
                <a:endParaRPr lang="de-DE" dirty="0"/>
              </a:p>
            </p:txBody>
          </p:sp>
          <p:sp>
            <p:nvSpPr>
              <p:cNvPr id="23" name="Line 1244">
                <a:extLst>
                  <a:ext uri="{FF2B5EF4-FFF2-40B4-BE49-F238E27FC236}">
                    <a16:creationId xmlns:a16="http://schemas.microsoft.com/office/drawing/2014/main" id="{392FB3B1-15D1-3A85-DDAD-F29222A34CE4}"/>
                  </a:ext>
                </a:extLst>
              </p:cNvPr>
              <p:cNvSpPr>
                <a:spLocks noChangeShapeType="1"/>
              </p:cNvSpPr>
              <p:nvPr/>
            </p:nvSpPr>
            <p:spPr bwMode="auto">
              <a:xfrm>
                <a:off x="3170296" y="5796945"/>
                <a:ext cx="83569" cy="46086"/>
              </a:xfrm>
              <a:prstGeom prst="line">
                <a:avLst/>
              </a:prstGeom>
              <a:grpFill/>
              <a:ln w="19050" cmpd="sng">
                <a:solidFill>
                  <a:schemeClr val="bg1"/>
                </a:solidFill>
                <a:round/>
                <a:headEnd/>
                <a:tailEnd/>
              </a:ln>
            </p:spPr>
            <p:txBody>
              <a:bodyPr/>
              <a:lstStyle/>
              <a:p>
                <a:endParaRPr lang="de-DE" dirty="0"/>
              </a:p>
            </p:txBody>
          </p:sp>
          <p:sp>
            <p:nvSpPr>
              <p:cNvPr id="24" name="Line 1245">
                <a:extLst>
                  <a:ext uri="{FF2B5EF4-FFF2-40B4-BE49-F238E27FC236}">
                    <a16:creationId xmlns:a16="http://schemas.microsoft.com/office/drawing/2014/main" id="{DB1618EF-ED66-D74A-5895-958A16DCAC69}"/>
                  </a:ext>
                </a:extLst>
              </p:cNvPr>
              <p:cNvSpPr>
                <a:spLocks noChangeShapeType="1"/>
              </p:cNvSpPr>
              <p:nvPr/>
            </p:nvSpPr>
            <p:spPr bwMode="auto">
              <a:xfrm flipH="1">
                <a:off x="2789591" y="5806164"/>
                <a:ext cx="78927" cy="46086"/>
              </a:xfrm>
              <a:prstGeom prst="line">
                <a:avLst/>
              </a:prstGeom>
              <a:grpFill/>
              <a:ln w="19050" cmpd="sng">
                <a:solidFill>
                  <a:schemeClr val="bg1"/>
                </a:solidFill>
                <a:round/>
                <a:headEnd/>
                <a:tailEnd/>
              </a:ln>
            </p:spPr>
            <p:txBody>
              <a:bodyPr/>
              <a:lstStyle/>
              <a:p>
                <a:endParaRPr lang="de-DE" dirty="0"/>
              </a:p>
            </p:txBody>
          </p:sp>
          <p:sp>
            <p:nvSpPr>
              <p:cNvPr id="25" name="Line 1246">
                <a:extLst>
                  <a:ext uri="{FF2B5EF4-FFF2-40B4-BE49-F238E27FC236}">
                    <a16:creationId xmlns:a16="http://schemas.microsoft.com/office/drawing/2014/main" id="{1D008A6C-8D8D-0C8D-0D3F-583AF31DD027}"/>
                  </a:ext>
                </a:extLst>
              </p:cNvPr>
              <p:cNvSpPr>
                <a:spLocks noChangeShapeType="1"/>
              </p:cNvSpPr>
              <p:nvPr/>
            </p:nvSpPr>
            <p:spPr bwMode="auto">
              <a:xfrm flipH="1" flipV="1">
                <a:off x="2784953" y="5589554"/>
                <a:ext cx="83569" cy="41479"/>
              </a:xfrm>
              <a:prstGeom prst="line">
                <a:avLst/>
              </a:prstGeom>
              <a:grpFill/>
              <a:ln w="19050" cmpd="sng">
                <a:solidFill>
                  <a:schemeClr val="bg1"/>
                </a:solidFill>
                <a:round/>
                <a:headEnd/>
                <a:tailEnd/>
              </a:ln>
            </p:spPr>
            <p:txBody>
              <a:bodyPr/>
              <a:lstStyle/>
              <a:p>
                <a:endParaRPr lang="de-DE" dirty="0"/>
              </a:p>
            </p:txBody>
          </p:sp>
        </p:grpSp>
        <p:sp>
          <p:nvSpPr>
            <p:cNvPr id="18" name="PrognosTextBox">
              <a:extLst>
                <a:ext uri="{FF2B5EF4-FFF2-40B4-BE49-F238E27FC236}">
                  <a16:creationId xmlns:a16="http://schemas.microsoft.com/office/drawing/2014/main" id="{6455CC12-ECF6-C2BB-5603-7163E4978EDF}"/>
                </a:ext>
              </a:extLst>
            </p:cNvPr>
            <p:cNvSpPr>
              <a:spLocks/>
            </p:cNvSpPr>
            <p:nvPr>
              <p:custDataLst>
                <p:tags r:id="rId11"/>
              </p:custDataLst>
            </p:nvPr>
          </p:nvSpPr>
          <p:spPr>
            <a:xfrm>
              <a:off x="1733333" y="2478753"/>
              <a:ext cx="1492233" cy="523220"/>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err="1">
                  <a:latin typeface="Segoe UI" panose="020B0502040204020203" pitchFamily="34" charset="0"/>
                  <a:cs typeface="Segoe UI" panose="020B0502040204020203" pitchFamily="34" charset="0"/>
                </a:rPr>
                <a:t>Pensionszusage</a:t>
              </a:r>
              <a:r>
                <a:rPr lang="en-GB" sz="1400" dirty="0">
                  <a:latin typeface="Segoe UI" panose="020B0502040204020203" pitchFamily="34" charset="0"/>
                  <a:cs typeface="Segoe UI" panose="020B0502040204020203" pitchFamily="34" charset="0"/>
                </a:rPr>
                <a:t> 3.000 €</a:t>
              </a:r>
            </a:p>
          </p:txBody>
        </p:sp>
      </p:grpSp>
      <p:sp>
        <p:nvSpPr>
          <p:cNvPr id="35" name="PrognosTextBox">
            <a:extLst>
              <a:ext uri="{FF2B5EF4-FFF2-40B4-BE49-F238E27FC236}">
                <a16:creationId xmlns:a16="http://schemas.microsoft.com/office/drawing/2014/main" id="{3121A0B5-C124-C612-6A98-CB5C4F76780B}"/>
              </a:ext>
            </a:extLst>
          </p:cNvPr>
          <p:cNvSpPr>
            <a:spLocks/>
          </p:cNvSpPr>
          <p:nvPr>
            <p:custDataLst>
              <p:tags r:id="rId2"/>
            </p:custDataLst>
          </p:nvPr>
        </p:nvSpPr>
        <p:spPr>
          <a:xfrm>
            <a:off x="1795275" y="3882748"/>
            <a:ext cx="1492233" cy="307777"/>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a:latin typeface="Segoe UI" panose="020B0502040204020203" pitchFamily="34" charset="0"/>
                <a:cs typeface="Segoe UI" panose="020B0502040204020203" pitchFamily="34" charset="0"/>
              </a:rPr>
              <a:t>01.01.2010</a:t>
            </a:r>
          </a:p>
        </p:txBody>
      </p:sp>
      <p:sp>
        <p:nvSpPr>
          <p:cNvPr id="36" name="PrognosTextBox">
            <a:extLst>
              <a:ext uri="{FF2B5EF4-FFF2-40B4-BE49-F238E27FC236}">
                <a16:creationId xmlns:a16="http://schemas.microsoft.com/office/drawing/2014/main" id="{327414DD-0279-8858-7545-10C17461A6B0}"/>
              </a:ext>
            </a:extLst>
          </p:cNvPr>
          <p:cNvSpPr>
            <a:spLocks/>
          </p:cNvSpPr>
          <p:nvPr>
            <p:custDataLst>
              <p:tags r:id="rId3"/>
            </p:custDataLst>
          </p:nvPr>
        </p:nvSpPr>
        <p:spPr>
          <a:xfrm>
            <a:off x="4843788" y="3882748"/>
            <a:ext cx="1492233" cy="307777"/>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a:latin typeface="Segoe UI" panose="020B0502040204020203" pitchFamily="34" charset="0"/>
                <a:cs typeface="Segoe UI" panose="020B0502040204020203" pitchFamily="34" charset="0"/>
              </a:rPr>
              <a:t>01.01.2025</a:t>
            </a:r>
          </a:p>
        </p:txBody>
      </p:sp>
      <p:sp>
        <p:nvSpPr>
          <p:cNvPr id="37" name="PrognosTextBox">
            <a:extLst>
              <a:ext uri="{FF2B5EF4-FFF2-40B4-BE49-F238E27FC236}">
                <a16:creationId xmlns:a16="http://schemas.microsoft.com/office/drawing/2014/main" id="{F0B1669C-3A25-0B8B-6112-2AA7F03BBE97}"/>
              </a:ext>
            </a:extLst>
          </p:cNvPr>
          <p:cNvSpPr>
            <a:spLocks/>
          </p:cNvSpPr>
          <p:nvPr>
            <p:custDataLst>
              <p:tags r:id="rId4"/>
            </p:custDataLst>
          </p:nvPr>
        </p:nvSpPr>
        <p:spPr>
          <a:xfrm>
            <a:off x="4867461" y="2493560"/>
            <a:ext cx="1492233" cy="523220"/>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err="1">
                <a:latin typeface="Segoe UI" panose="020B0502040204020203" pitchFamily="34" charset="0"/>
                <a:cs typeface="Segoe UI" panose="020B0502040204020203" pitchFamily="34" charset="0"/>
              </a:rPr>
              <a:t>Absenkung</a:t>
            </a:r>
            <a:r>
              <a:rPr lang="en-GB" sz="1400" dirty="0">
                <a:latin typeface="Segoe UI" panose="020B0502040204020203" pitchFamily="34" charset="0"/>
                <a:cs typeface="Segoe UI" panose="020B0502040204020203" pitchFamily="34" charset="0"/>
              </a:rPr>
              <a:t> auf 1.500 €</a:t>
            </a:r>
          </a:p>
        </p:txBody>
      </p:sp>
      <p:sp>
        <p:nvSpPr>
          <p:cNvPr id="38" name="PrognosTextBox">
            <a:extLst>
              <a:ext uri="{FF2B5EF4-FFF2-40B4-BE49-F238E27FC236}">
                <a16:creationId xmlns:a16="http://schemas.microsoft.com/office/drawing/2014/main" id="{9CEC5F55-E555-6AA3-E28E-797476A12846}"/>
              </a:ext>
            </a:extLst>
          </p:cNvPr>
          <p:cNvSpPr>
            <a:spLocks/>
          </p:cNvSpPr>
          <p:nvPr>
            <p:custDataLst>
              <p:tags r:id="rId5"/>
            </p:custDataLst>
          </p:nvPr>
        </p:nvSpPr>
        <p:spPr>
          <a:xfrm>
            <a:off x="7937110" y="2493519"/>
            <a:ext cx="1492233" cy="566309"/>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err="1">
                <a:latin typeface="Segoe UI" panose="020B0502040204020203" pitchFamily="34" charset="0"/>
                <a:cs typeface="Segoe UI" panose="020B0502040204020203" pitchFamily="34" charset="0"/>
              </a:rPr>
              <a:t>Eintritt</a:t>
            </a:r>
            <a:r>
              <a:rPr lang="en-GB" sz="1400" dirty="0">
                <a:latin typeface="Segoe UI" panose="020B0502040204020203" pitchFamily="34" charset="0"/>
                <a:cs typeface="Segoe UI" panose="020B0502040204020203" pitchFamily="34" charset="0"/>
              </a:rPr>
              <a:t> in </a:t>
            </a:r>
          </a:p>
          <a:p>
            <a:pPr lvl="1" algn="ctr"/>
            <a:r>
              <a:rPr lang="en-GB" sz="1400" dirty="0" err="1">
                <a:latin typeface="Segoe UI" panose="020B0502040204020203" pitchFamily="34" charset="0"/>
                <a:cs typeface="Segoe UI" panose="020B0502040204020203" pitchFamily="34" charset="0"/>
              </a:rPr>
              <a:t>Ruhestand</a:t>
            </a:r>
            <a:endParaRPr lang="en-GB" sz="1400" dirty="0">
              <a:latin typeface="Segoe UI" panose="020B0502040204020203" pitchFamily="34" charset="0"/>
              <a:cs typeface="Segoe UI" panose="020B0502040204020203" pitchFamily="34" charset="0"/>
            </a:endParaRPr>
          </a:p>
        </p:txBody>
      </p:sp>
      <p:sp>
        <p:nvSpPr>
          <p:cNvPr id="39" name="Line 8">
            <a:extLst>
              <a:ext uri="{FF2B5EF4-FFF2-40B4-BE49-F238E27FC236}">
                <a16:creationId xmlns:a16="http://schemas.microsoft.com/office/drawing/2014/main" id="{1CD81C2F-3310-B2D8-5182-48C010733763}"/>
              </a:ext>
            </a:extLst>
          </p:cNvPr>
          <p:cNvSpPr>
            <a:spLocks noChangeShapeType="1"/>
          </p:cNvSpPr>
          <p:nvPr>
            <p:custDataLst>
              <p:tags r:id="rId6"/>
            </p:custDataLst>
          </p:nvPr>
        </p:nvSpPr>
        <p:spPr bwMode="auto">
          <a:xfrm>
            <a:off x="8697205" y="3031607"/>
            <a:ext cx="0" cy="291876"/>
          </a:xfrm>
          <a:prstGeom prst="line">
            <a:avLst/>
          </a:prstGeom>
          <a:noFill/>
          <a:ln w="9525">
            <a:solidFill>
              <a:schemeClr val="accent6"/>
            </a:solidFill>
            <a:round/>
            <a:headEnd type="none" w="sm" len="sm"/>
            <a:tailEnd type="triangle" w="med" len="med"/>
          </a:ln>
          <a:effectLst/>
        </p:spPr>
        <p:txBody>
          <a:bodyPr wrap="none" anchor="ctr"/>
          <a:lstStyle/>
          <a:p>
            <a:endParaRPr lang="en-GB" dirty="0"/>
          </a:p>
        </p:txBody>
      </p:sp>
      <p:sp>
        <p:nvSpPr>
          <p:cNvPr id="40" name="PrognosTextBox">
            <a:extLst>
              <a:ext uri="{FF2B5EF4-FFF2-40B4-BE49-F238E27FC236}">
                <a16:creationId xmlns:a16="http://schemas.microsoft.com/office/drawing/2014/main" id="{A3A5CAB6-6985-C8A0-CD5C-54154A7C52C4}"/>
              </a:ext>
            </a:extLst>
          </p:cNvPr>
          <p:cNvSpPr>
            <a:spLocks/>
          </p:cNvSpPr>
          <p:nvPr>
            <p:custDataLst>
              <p:tags r:id="rId7"/>
            </p:custDataLst>
          </p:nvPr>
        </p:nvSpPr>
        <p:spPr>
          <a:xfrm>
            <a:off x="7985981" y="3876941"/>
            <a:ext cx="1492233" cy="307777"/>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a:latin typeface="Segoe UI" panose="020B0502040204020203" pitchFamily="34" charset="0"/>
                <a:cs typeface="Segoe UI" panose="020B0502040204020203" pitchFamily="34" charset="0"/>
              </a:rPr>
              <a:t>01.01.2040</a:t>
            </a:r>
          </a:p>
        </p:txBody>
      </p:sp>
    </p:spTree>
    <p:extLst>
      <p:ext uri="{BB962C8B-B14F-4D97-AF65-F5344CB8AC3E}">
        <p14:creationId xmlns:p14="http://schemas.microsoft.com/office/powerpoint/2010/main" val="2995381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C6775F-2977-7BAD-B2FD-71C08B18F655}"/>
            </a:ext>
          </a:extLst>
        </p:cNvPr>
        <p:cNvGrpSpPr/>
        <p:nvPr/>
      </p:nvGrpSpPr>
      <p:grpSpPr>
        <a:xfrm>
          <a:off x="0" y="0"/>
          <a:ext cx="0" cy="0"/>
          <a:chOff x="0" y="0"/>
          <a:chExt cx="0" cy="0"/>
        </a:xfrm>
      </p:grpSpPr>
      <p:sp>
        <p:nvSpPr>
          <p:cNvPr id="55" name="Slide Number Placeholder 5">
            <a:extLst>
              <a:ext uri="{FF2B5EF4-FFF2-40B4-BE49-F238E27FC236}">
                <a16:creationId xmlns:a16="http://schemas.microsoft.com/office/drawing/2014/main" id="{855B7827-143D-610E-0668-85425ED7205B}"/>
              </a:ext>
            </a:extLst>
          </p:cNvPr>
          <p:cNvSpPr txBox="1">
            <a:spLocks/>
          </p:cNvSpPr>
          <p:nvPr>
            <p:custDataLst>
              <p:tags r:id="rId1"/>
            </p:custDataLst>
          </p:nvPr>
        </p:nvSpPr>
        <p:spPr>
          <a:xfrm>
            <a:off x="896416" y="7855507"/>
            <a:ext cx="283900" cy="151200"/>
          </a:xfrm>
          <a:prstGeom prst="rect">
            <a:avLst/>
          </a:prstGeom>
        </p:spPr>
        <p:txBody>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fld id="{3A5C5CA0-F2C0-43F9-B89F-AC7FA210C1FD}" type="slidenum">
              <a:rPr lang="en-GB" smtClean="0"/>
              <a:pPr/>
              <a:t>48</a:t>
            </a:fld>
            <a:endParaRPr lang="en-GB" dirty="0"/>
          </a:p>
        </p:txBody>
      </p:sp>
      <p:sp>
        <p:nvSpPr>
          <p:cNvPr id="85" name="TextBox 1">
            <a:extLst>
              <a:ext uri="{FF2B5EF4-FFF2-40B4-BE49-F238E27FC236}">
                <a16:creationId xmlns:a16="http://schemas.microsoft.com/office/drawing/2014/main" id="{7A01EE5E-D28F-4E4D-2B57-8D63F84C4792}"/>
              </a:ext>
            </a:extLst>
          </p:cNvPr>
          <p:cNvSpPr txBox="1"/>
          <p:nvPr/>
        </p:nvSpPr>
        <p:spPr>
          <a:xfrm>
            <a:off x="1670424" y="1084321"/>
            <a:ext cx="9324678"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Teil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den “future-service” </a:t>
            </a:r>
          </a:p>
        </p:txBody>
      </p:sp>
      <p:grpSp>
        <p:nvGrpSpPr>
          <p:cNvPr id="2" name="Gruppieren 1">
            <a:extLst>
              <a:ext uri="{FF2B5EF4-FFF2-40B4-BE49-F238E27FC236}">
                <a16:creationId xmlns:a16="http://schemas.microsoft.com/office/drawing/2014/main" id="{AC525427-9E4E-E941-CC05-740B5715696C}"/>
              </a:ext>
            </a:extLst>
          </p:cNvPr>
          <p:cNvGrpSpPr/>
          <p:nvPr/>
        </p:nvGrpSpPr>
        <p:grpSpPr>
          <a:xfrm>
            <a:off x="1733333" y="2478753"/>
            <a:ext cx="8384600" cy="3881839"/>
            <a:chOff x="1733333" y="2478753"/>
            <a:chExt cx="8384600" cy="3881839"/>
          </a:xfrm>
        </p:grpSpPr>
        <p:sp>
          <p:nvSpPr>
            <p:cNvPr id="6" name="AutoShape 3">
              <a:extLst>
                <a:ext uri="{FF2B5EF4-FFF2-40B4-BE49-F238E27FC236}">
                  <a16:creationId xmlns:a16="http://schemas.microsoft.com/office/drawing/2014/main" id="{C843939C-8E6D-B166-7A3C-ED7F38B95ACF}"/>
                </a:ext>
              </a:extLst>
            </p:cNvPr>
            <p:cNvSpPr>
              <a:spLocks noChangeArrowheads="1"/>
            </p:cNvSpPr>
            <p:nvPr>
              <p:custDataLst>
                <p:tags r:id="rId8"/>
              </p:custDataLst>
            </p:nvPr>
          </p:nvSpPr>
          <p:spPr bwMode="auto">
            <a:xfrm>
              <a:off x="2053037" y="3351780"/>
              <a:ext cx="8064896" cy="584775"/>
            </a:xfrm>
            <a:prstGeom prst="rightArrow">
              <a:avLst>
                <a:gd name="adj1" fmla="val 67556"/>
                <a:gd name="adj2" fmla="val 90801"/>
              </a:avLst>
            </a:prstGeom>
            <a:solidFill>
              <a:srgbClr val="0093A7"/>
            </a:solidFill>
            <a:ln w="9525" cap="flat" cmpd="sng" algn="ctr">
              <a:noFill/>
              <a:prstDash val="solid"/>
              <a:miter lim="800000"/>
              <a:headEnd type="none" w="med" len="med"/>
              <a:tailEnd type="none" w="med" len="med"/>
            </a:ln>
            <a:effectLst>
              <a:outerShdw blurRad="76200" dist="12700" dir="2700000" sy="-23000" kx="-800400" algn="bl" rotWithShape="0">
                <a:prstClr val="black">
                  <a:alpha val="20000"/>
                </a:prstClr>
              </a:outerShdw>
            </a:effectLst>
          </p:spPr>
          <p:txBody>
            <a:bodyPr lIns="144000" tIns="108000" rIns="144000" bIns="108000" anchor="ctr"/>
            <a:lstStyle/>
            <a:p>
              <a:pPr marL="1588" lvl="1" algn="ctr">
                <a:spcBef>
                  <a:spcPct val="40000"/>
                </a:spcBef>
              </a:pPr>
              <a:r>
                <a:rPr lang="en-GB" b="1" dirty="0" err="1">
                  <a:solidFill>
                    <a:schemeClr val="bg1"/>
                  </a:solidFill>
                  <a:latin typeface="Segoe UI" panose="020B0502040204020203" pitchFamily="34" charset="0"/>
                  <a:cs typeface="Segoe UI" panose="020B0502040204020203" pitchFamily="34" charset="0"/>
                </a:rPr>
                <a:t>gesamter</a:t>
              </a:r>
              <a:r>
                <a:rPr lang="en-GB" b="1" dirty="0">
                  <a:solidFill>
                    <a:schemeClr val="bg1"/>
                  </a:solidFill>
                  <a:latin typeface="Segoe UI" panose="020B0502040204020203" pitchFamily="34" charset="0"/>
                  <a:cs typeface="Segoe UI" panose="020B0502040204020203" pitchFamily="34" charset="0"/>
                </a:rPr>
                <a:t> </a:t>
              </a:r>
              <a:r>
                <a:rPr lang="en-GB" b="1" dirty="0" err="1">
                  <a:solidFill>
                    <a:schemeClr val="bg1"/>
                  </a:solidFill>
                  <a:latin typeface="Segoe UI" panose="020B0502040204020203" pitchFamily="34" charset="0"/>
                  <a:cs typeface="Segoe UI" panose="020B0502040204020203" pitchFamily="34" charset="0"/>
                </a:rPr>
                <a:t>Erdienungszeitraum</a:t>
              </a:r>
              <a:r>
                <a:rPr lang="en-GB" b="1" dirty="0">
                  <a:solidFill>
                    <a:schemeClr val="bg1"/>
                  </a:solidFill>
                  <a:latin typeface="Segoe UI" panose="020B0502040204020203" pitchFamily="34" charset="0"/>
                  <a:cs typeface="Segoe UI" panose="020B0502040204020203" pitchFamily="34" charset="0"/>
                </a:rPr>
                <a:t> 30 Jahre </a:t>
              </a:r>
            </a:p>
          </p:txBody>
        </p:sp>
        <p:sp>
          <p:nvSpPr>
            <p:cNvPr id="7" name="Line 8">
              <a:extLst>
                <a:ext uri="{FF2B5EF4-FFF2-40B4-BE49-F238E27FC236}">
                  <a16:creationId xmlns:a16="http://schemas.microsoft.com/office/drawing/2014/main" id="{6CF41856-00A7-4D83-ADDC-CC728863CF74}"/>
                </a:ext>
              </a:extLst>
            </p:cNvPr>
            <p:cNvSpPr>
              <a:spLocks noChangeShapeType="1"/>
            </p:cNvSpPr>
            <p:nvPr>
              <p:custDataLst>
                <p:tags r:id="rId9"/>
              </p:custDataLst>
            </p:nvPr>
          </p:nvSpPr>
          <p:spPr bwMode="auto">
            <a:xfrm>
              <a:off x="5578594" y="3031607"/>
              <a:ext cx="0" cy="291876"/>
            </a:xfrm>
            <a:prstGeom prst="line">
              <a:avLst/>
            </a:prstGeom>
            <a:noFill/>
            <a:ln w="9525">
              <a:solidFill>
                <a:schemeClr val="accent6"/>
              </a:solidFill>
              <a:round/>
              <a:headEnd type="none" w="sm" len="sm"/>
              <a:tailEnd type="triangle" w="med" len="med"/>
            </a:ln>
            <a:effectLst/>
          </p:spPr>
          <p:txBody>
            <a:bodyPr wrap="none" anchor="ctr"/>
            <a:lstStyle/>
            <a:p>
              <a:endParaRPr lang="en-GB" dirty="0"/>
            </a:p>
          </p:txBody>
        </p:sp>
        <p:sp>
          <p:nvSpPr>
            <p:cNvPr id="14" name="Line 8">
              <a:extLst>
                <a:ext uri="{FF2B5EF4-FFF2-40B4-BE49-F238E27FC236}">
                  <a16:creationId xmlns:a16="http://schemas.microsoft.com/office/drawing/2014/main" id="{1C18775D-3F43-D9EC-46B6-C11D7527C10B}"/>
                </a:ext>
              </a:extLst>
            </p:cNvPr>
            <p:cNvSpPr>
              <a:spLocks noChangeShapeType="1"/>
            </p:cNvSpPr>
            <p:nvPr>
              <p:custDataLst>
                <p:tags r:id="rId10"/>
              </p:custDataLst>
            </p:nvPr>
          </p:nvSpPr>
          <p:spPr bwMode="auto">
            <a:xfrm>
              <a:off x="2387209" y="3001973"/>
              <a:ext cx="0" cy="291876"/>
            </a:xfrm>
            <a:prstGeom prst="line">
              <a:avLst/>
            </a:prstGeom>
            <a:noFill/>
            <a:ln w="9525">
              <a:solidFill>
                <a:schemeClr val="accent6"/>
              </a:solidFill>
              <a:round/>
              <a:headEnd type="none" w="sm" len="sm"/>
              <a:tailEnd type="triangle" w="med" len="med"/>
            </a:ln>
            <a:effectLst/>
          </p:spPr>
          <p:txBody>
            <a:bodyPr wrap="none" anchor="ctr"/>
            <a:lstStyle/>
            <a:p>
              <a:endParaRPr lang="en-GB" dirty="0"/>
            </a:p>
          </p:txBody>
        </p:sp>
        <p:grpSp>
          <p:nvGrpSpPr>
            <p:cNvPr id="16" name="Group 177">
              <a:extLst>
                <a:ext uri="{FF2B5EF4-FFF2-40B4-BE49-F238E27FC236}">
                  <a16:creationId xmlns:a16="http://schemas.microsoft.com/office/drawing/2014/main" id="{2FC29379-41B5-4F36-E1C3-AC585B69EA27}"/>
                </a:ext>
              </a:extLst>
            </p:cNvPr>
            <p:cNvGrpSpPr/>
            <p:nvPr/>
          </p:nvGrpSpPr>
          <p:grpSpPr>
            <a:xfrm>
              <a:off x="3013348" y="6117145"/>
              <a:ext cx="284708" cy="243447"/>
              <a:chOff x="2784953" y="5451296"/>
              <a:chExt cx="468912" cy="400954"/>
            </a:xfrm>
            <a:solidFill>
              <a:srgbClr val="FBBA00"/>
            </a:solidFill>
          </p:grpSpPr>
          <p:sp>
            <p:nvSpPr>
              <p:cNvPr id="21" name="Line 1242">
                <a:extLst>
                  <a:ext uri="{FF2B5EF4-FFF2-40B4-BE49-F238E27FC236}">
                    <a16:creationId xmlns:a16="http://schemas.microsoft.com/office/drawing/2014/main" id="{E3CD9451-2F66-5131-E981-A34092637B7B}"/>
                  </a:ext>
                </a:extLst>
              </p:cNvPr>
              <p:cNvSpPr>
                <a:spLocks noChangeShapeType="1"/>
              </p:cNvSpPr>
              <p:nvPr/>
            </p:nvSpPr>
            <p:spPr bwMode="auto">
              <a:xfrm flipH="1" flipV="1">
                <a:off x="3026847" y="5451296"/>
                <a:ext cx="0" cy="92172"/>
              </a:xfrm>
              <a:prstGeom prst="line">
                <a:avLst/>
              </a:prstGeom>
              <a:grpFill/>
              <a:ln w="19050" cmpd="sng">
                <a:solidFill>
                  <a:schemeClr val="bg1"/>
                </a:solidFill>
                <a:round/>
                <a:headEnd/>
                <a:tailEnd/>
              </a:ln>
            </p:spPr>
            <p:txBody>
              <a:bodyPr/>
              <a:lstStyle/>
              <a:p>
                <a:endParaRPr lang="de-DE" dirty="0"/>
              </a:p>
            </p:txBody>
          </p:sp>
          <p:sp>
            <p:nvSpPr>
              <p:cNvPr id="22" name="Line 1243">
                <a:extLst>
                  <a:ext uri="{FF2B5EF4-FFF2-40B4-BE49-F238E27FC236}">
                    <a16:creationId xmlns:a16="http://schemas.microsoft.com/office/drawing/2014/main" id="{34DD779A-AD6A-EE99-C15F-0FD20B0ACDA2}"/>
                  </a:ext>
                </a:extLst>
              </p:cNvPr>
              <p:cNvSpPr>
                <a:spLocks noChangeShapeType="1"/>
              </p:cNvSpPr>
              <p:nvPr/>
            </p:nvSpPr>
            <p:spPr bwMode="auto">
              <a:xfrm flipV="1">
                <a:off x="3165652" y="5580342"/>
                <a:ext cx="78927" cy="46086"/>
              </a:xfrm>
              <a:prstGeom prst="line">
                <a:avLst/>
              </a:prstGeom>
              <a:grpFill/>
              <a:ln w="19050" cmpd="sng">
                <a:solidFill>
                  <a:schemeClr val="bg1"/>
                </a:solidFill>
                <a:round/>
                <a:headEnd/>
                <a:tailEnd/>
              </a:ln>
            </p:spPr>
            <p:txBody>
              <a:bodyPr/>
              <a:lstStyle/>
              <a:p>
                <a:endParaRPr lang="de-DE" dirty="0"/>
              </a:p>
            </p:txBody>
          </p:sp>
          <p:sp>
            <p:nvSpPr>
              <p:cNvPr id="23" name="Line 1244">
                <a:extLst>
                  <a:ext uri="{FF2B5EF4-FFF2-40B4-BE49-F238E27FC236}">
                    <a16:creationId xmlns:a16="http://schemas.microsoft.com/office/drawing/2014/main" id="{C571FE49-20BB-8D6C-1298-54F6BFDC4CAD}"/>
                  </a:ext>
                </a:extLst>
              </p:cNvPr>
              <p:cNvSpPr>
                <a:spLocks noChangeShapeType="1"/>
              </p:cNvSpPr>
              <p:nvPr/>
            </p:nvSpPr>
            <p:spPr bwMode="auto">
              <a:xfrm>
                <a:off x="3170296" y="5796945"/>
                <a:ext cx="83569" cy="46086"/>
              </a:xfrm>
              <a:prstGeom prst="line">
                <a:avLst/>
              </a:prstGeom>
              <a:grpFill/>
              <a:ln w="19050" cmpd="sng">
                <a:solidFill>
                  <a:schemeClr val="bg1"/>
                </a:solidFill>
                <a:round/>
                <a:headEnd/>
                <a:tailEnd/>
              </a:ln>
            </p:spPr>
            <p:txBody>
              <a:bodyPr/>
              <a:lstStyle/>
              <a:p>
                <a:endParaRPr lang="de-DE" dirty="0"/>
              </a:p>
            </p:txBody>
          </p:sp>
          <p:sp>
            <p:nvSpPr>
              <p:cNvPr id="24" name="Line 1245">
                <a:extLst>
                  <a:ext uri="{FF2B5EF4-FFF2-40B4-BE49-F238E27FC236}">
                    <a16:creationId xmlns:a16="http://schemas.microsoft.com/office/drawing/2014/main" id="{E5CDA61F-CB6B-32E5-C40A-C4CEB852FF11}"/>
                  </a:ext>
                </a:extLst>
              </p:cNvPr>
              <p:cNvSpPr>
                <a:spLocks noChangeShapeType="1"/>
              </p:cNvSpPr>
              <p:nvPr/>
            </p:nvSpPr>
            <p:spPr bwMode="auto">
              <a:xfrm flipH="1">
                <a:off x="2789591" y="5806164"/>
                <a:ext cx="78927" cy="46086"/>
              </a:xfrm>
              <a:prstGeom prst="line">
                <a:avLst/>
              </a:prstGeom>
              <a:grpFill/>
              <a:ln w="19050" cmpd="sng">
                <a:solidFill>
                  <a:schemeClr val="bg1"/>
                </a:solidFill>
                <a:round/>
                <a:headEnd/>
                <a:tailEnd/>
              </a:ln>
            </p:spPr>
            <p:txBody>
              <a:bodyPr/>
              <a:lstStyle/>
              <a:p>
                <a:endParaRPr lang="de-DE" dirty="0"/>
              </a:p>
            </p:txBody>
          </p:sp>
          <p:sp>
            <p:nvSpPr>
              <p:cNvPr id="25" name="Line 1246">
                <a:extLst>
                  <a:ext uri="{FF2B5EF4-FFF2-40B4-BE49-F238E27FC236}">
                    <a16:creationId xmlns:a16="http://schemas.microsoft.com/office/drawing/2014/main" id="{9E13151E-2ADF-044B-4A75-81F7DCB0E62B}"/>
                  </a:ext>
                </a:extLst>
              </p:cNvPr>
              <p:cNvSpPr>
                <a:spLocks noChangeShapeType="1"/>
              </p:cNvSpPr>
              <p:nvPr/>
            </p:nvSpPr>
            <p:spPr bwMode="auto">
              <a:xfrm flipH="1" flipV="1">
                <a:off x="2784953" y="5589554"/>
                <a:ext cx="83569" cy="41479"/>
              </a:xfrm>
              <a:prstGeom prst="line">
                <a:avLst/>
              </a:prstGeom>
              <a:grpFill/>
              <a:ln w="19050" cmpd="sng">
                <a:solidFill>
                  <a:schemeClr val="bg1"/>
                </a:solidFill>
                <a:round/>
                <a:headEnd/>
                <a:tailEnd/>
              </a:ln>
            </p:spPr>
            <p:txBody>
              <a:bodyPr/>
              <a:lstStyle/>
              <a:p>
                <a:endParaRPr lang="de-DE" dirty="0"/>
              </a:p>
            </p:txBody>
          </p:sp>
        </p:grpSp>
        <p:sp>
          <p:nvSpPr>
            <p:cNvPr id="18" name="PrognosTextBox">
              <a:extLst>
                <a:ext uri="{FF2B5EF4-FFF2-40B4-BE49-F238E27FC236}">
                  <a16:creationId xmlns:a16="http://schemas.microsoft.com/office/drawing/2014/main" id="{4E2DAC69-5D43-5206-1E12-7B1F42BFC9E8}"/>
                </a:ext>
              </a:extLst>
            </p:cNvPr>
            <p:cNvSpPr>
              <a:spLocks/>
            </p:cNvSpPr>
            <p:nvPr>
              <p:custDataLst>
                <p:tags r:id="rId11"/>
              </p:custDataLst>
            </p:nvPr>
          </p:nvSpPr>
          <p:spPr>
            <a:xfrm>
              <a:off x="1733333" y="2478753"/>
              <a:ext cx="1492233" cy="523220"/>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err="1">
                  <a:latin typeface="Segoe UI" panose="020B0502040204020203" pitchFamily="34" charset="0"/>
                  <a:cs typeface="Segoe UI" panose="020B0502040204020203" pitchFamily="34" charset="0"/>
                </a:rPr>
                <a:t>Pensionszusage</a:t>
              </a:r>
              <a:r>
                <a:rPr lang="en-GB" sz="1400" dirty="0">
                  <a:latin typeface="Segoe UI" panose="020B0502040204020203" pitchFamily="34" charset="0"/>
                  <a:cs typeface="Segoe UI" panose="020B0502040204020203" pitchFamily="34" charset="0"/>
                </a:rPr>
                <a:t> 3.000 €</a:t>
              </a:r>
            </a:p>
          </p:txBody>
        </p:sp>
      </p:grpSp>
      <p:sp>
        <p:nvSpPr>
          <p:cNvPr id="35" name="PrognosTextBox">
            <a:extLst>
              <a:ext uri="{FF2B5EF4-FFF2-40B4-BE49-F238E27FC236}">
                <a16:creationId xmlns:a16="http://schemas.microsoft.com/office/drawing/2014/main" id="{C9C52ADD-7F34-E9DE-F336-67B076E38382}"/>
              </a:ext>
            </a:extLst>
          </p:cNvPr>
          <p:cNvSpPr>
            <a:spLocks/>
          </p:cNvSpPr>
          <p:nvPr>
            <p:custDataLst>
              <p:tags r:id="rId2"/>
            </p:custDataLst>
          </p:nvPr>
        </p:nvSpPr>
        <p:spPr>
          <a:xfrm>
            <a:off x="1795275" y="3882748"/>
            <a:ext cx="1492233" cy="307777"/>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a:latin typeface="Segoe UI" panose="020B0502040204020203" pitchFamily="34" charset="0"/>
                <a:cs typeface="Segoe UI" panose="020B0502040204020203" pitchFamily="34" charset="0"/>
              </a:rPr>
              <a:t>01.01.2010</a:t>
            </a:r>
          </a:p>
        </p:txBody>
      </p:sp>
      <p:sp>
        <p:nvSpPr>
          <p:cNvPr id="36" name="PrognosTextBox">
            <a:extLst>
              <a:ext uri="{FF2B5EF4-FFF2-40B4-BE49-F238E27FC236}">
                <a16:creationId xmlns:a16="http://schemas.microsoft.com/office/drawing/2014/main" id="{04C2EA32-9A7E-02E4-1675-8BBF9017A7A6}"/>
              </a:ext>
            </a:extLst>
          </p:cNvPr>
          <p:cNvSpPr>
            <a:spLocks/>
          </p:cNvSpPr>
          <p:nvPr>
            <p:custDataLst>
              <p:tags r:id="rId3"/>
            </p:custDataLst>
          </p:nvPr>
        </p:nvSpPr>
        <p:spPr>
          <a:xfrm>
            <a:off x="4843788" y="3882748"/>
            <a:ext cx="1492233" cy="307777"/>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a:latin typeface="Segoe UI" panose="020B0502040204020203" pitchFamily="34" charset="0"/>
                <a:cs typeface="Segoe UI" panose="020B0502040204020203" pitchFamily="34" charset="0"/>
              </a:rPr>
              <a:t>01.01.2025</a:t>
            </a:r>
          </a:p>
        </p:txBody>
      </p:sp>
      <p:sp>
        <p:nvSpPr>
          <p:cNvPr id="37" name="PrognosTextBox">
            <a:extLst>
              <a:ext uri="{FF2B5EF4-FFF2-40B4-BE49-F238E27FC236}">
                <a16:creationId xmlns:a16="http://schemas.microsoft.com/office/drawing/2014/main" id="{78367F02-3057-A023-88DE-48FEF00CF075}"/>
              </a:ext>
            </a:extLst>
          </p:cNvPr>
          <p:cNvSpPr>
            <a:spLocks/>
          </p:cNvSpPr>
          <p:nvPr>
            <p:custDataLst>
              <p:tags r:id="rId4"/>
            </p:custDataLst>
          </p:nvPr>
        </p:nvSpPr>
        <p:spPr>
          <a:xfrm>
            <a:off x="4867461" y="2493560"/>
            <a:ext cx="1492233" cy="523220"/>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err="1">
                <a:latin typeface="Segoe UI" panose="020B0502040204020203" pitchFamily="34" charset="0"/>
                <a:cs typeface="Segoe UI" panose="020B0502040204020203" pitchFamily="34" charset="0"/>
              </a:rPr>
              <a:t>Absenkung</a:t>
            </a:r>
            <a:r>
              <a:rPr lang="en-GB" sz="1400" dirty="0">
                <a:latin typeface="Segoe UI" panose="020B0502040204020203" pitchFamily="34" charset="0"/>
                <a:cs typeface="Segoe UI" panose="020B0502040204020203" pitchFamily="34" charset="0"/>
              </a:rPr>
              <a:t> auf 1.500 €</a:t>
            </a:r>
          </a:p>
        </p:txBody>
      </p:sp>
      <p:sp>
        <p:nvSpPr>
          <p:cNvPr id="38" name="PrognosTextBox">
            <a:extLst>
              <a:ext uri="{FF2B5EF4-FFF2-40B4-BE49-F238E27FC236}">
                <a16:creationId xmlns:a16="http://schemas.microsoft.com/office/drawing/2014/main" id="{940F68D5-EE21-212F-F8C3-28D35C4EB8C7}"/>
              </a:ext>
            </a:extLst>
          </p:cNvPr>
          <p:cNvSpPr>
            <a:spLocks/>
          </p:cNvSpPr>
          <p:nvPr>
            <p:custDataLst>
              <p:tags r:id="rId5"/>
            </p:custDataLst>
          </p:nvPr>
        </p:nvSpPr>
        <p:spPr>
          <a:xfrm>
            <a:off x="7937110" y="2493519"/>
            <a:ext cx="1492233" cy="566309"/>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err="1">
                <a:latin typeface="Segoe UI" panose="020B0502040204020203" pitchFamily="34" charset="0"/>
                <a:cs typeface="Segoe UI" panose="020B0502040204020203" pitchFamily="34" charset="0"/>
              </a:rPr>
              <a:t>Eintritt</a:t>
            </a:r>
            <a:r>
              <a:rPr lang="en-GB" sz="1400" dirty="0">
                <a:latin typeface="Segoe UI" panose="020B0502040204020203" pitchFamily="34" charset="0"/>
                <a:cs typeface="Segoe UI" panose="020B0502040204020203" pitchFamily="34" charset="0"/>
              </a:rPr>
              <a:t> in </a:t>
            </a:r>
          </a:p>
          <a:p>
            <a:pPr lvl="1" algn="ctr"/>
            <a:r>
              <a:rPr lang="en-GB" sz="1400" dirty="0" err="1">
                <a:latin typeface="Segoe UI" panose="020B0502040204020203" pitchFamily="34" charset="0"/>
                <a:cs typeface="Segoe UI" panose="020B0502040204020203" pitchFamily="34" charset="0"/>
              </a:rPr>
              <a:t>Ruhestand</a:t>
            </a:r>
            <a:endParaRPr lang="en-GB" sz="1400" dirty="0">
              <a:latin typeface="Segoe UI" panose="020B0502040204020203" pitchFamily="34" charset="0"/>
              <a:cs typeface="Segoe UI" panose="020B0502040204020203" pitchFamily="34" charset="0"/>
            </a:endParaRPr>
          </a:p>
        </p:txBody>
      </p:sp>
      <p:sp>
        <p:nvSpPr>
          <p:cNvPr id="39" name="Line 8">
            <a:extLst>
              <a:ext uri="{FF2B5EF4-FFF2-40B4-BE49-F238E27FC236}">
                <a16:creationId xmlns:a16="http://schemas.microsoft.com/office/drawing/2014/main" id="{0771DEA2-C8B5-10A5-F485-0D6A1563CE5B}"/>
              </a:ext>
            </a:extLst>
          </p:cNvPr>
          <p:cNvSpPr>
            <a:spLocks noChangeShapeType="1"/>
          </p:cNvSpPr>
          <p:nvPr>
            <p:custDataLst>
              <p:tags r:id="rId6"/>
            </p:custDataLst>
          </p:nvPr>
        </p:nvSpPr>
        <p:spPr bwMode="auto">
          <a:xfrm>
            <a:off x="8697205" y="3031607"/>
            <a:ext cx="0" cy="291876"/>
          </a:xfrm>
          <a:prstGeom prst="line">
            <a:avLst/>
          </a:prstGeom>
          <a:noFill/>
          <a:ln w="9525">
            <a:solidFill>
              <a:schemeClr val="accent6"/>
            </a:solidFill>
            <a:round/>
            <a:headEnd type="none" w="sm" len="sm"/>
            <a:tailEnd type="triangle" w="med" len="med"/>
          </a:ln>
          <a:effectLst/>
        </p:spPr>
        <p:txBody>
          <a:bodyPr wrap="none" anchor="ctr"/>
          <a:lstStyle/>
          <a:p>
            <a:endParaRPr lang="en-GB" dirty="0"/>
          </a:p>
        </p:txBody>
      </p:sp>
      <p:sp>
        <p:nvSpPr>
          <p:cNvPr id="40" name="PrognosTextBox">
            <a:extLst>
              <a:ext uri="{FF2B5EF4-FFF2-40B4-BE49-F238E27FC236}">
                <a16:creationId xmlns:a16="http://schemas.microsoft.com/office/drawing/2014/main" id="{581080F7-D4F1-4104-F07E-02C6CDFADE1B}"/>
              </a:ext>
            </a:extLst>
          </p:cNvPr>
          <p:cNvSpPr>
            <a:spLocks/>
          </p:cNvSpPr>
          <p:nvPr>
            <p:custDataLst>
              <p:tags r:id="rId7"/>
            </p:custDataLst>
          </p:nvPr>
        </p:nvSpPr>
        <p:spPr>
          <a:xfrm>
            <a:off x="7985981" y="3876941"/>
            <a:ext cx="1492233" cy="307777"/>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a:latin typeface="Segoe UI" panose="020B0502040204020203" pitchFamily="34" charset="0"/>
                <a:cs typeface="Segoe UI" panose="020B0502040204020203" pitchFamily="34" charset="0"/>
              </a:rPr>
              <a:t>01.01.2040</a:t>
            </a:r>
          </a:p>
        </p:txBody>
      </p:sp>
    </p:spTree>
    <p:extLst>
      <p:ext uri="{BB962C8B-B14F-4D97-AF65-F5344CB8AC3E}">
        <p14:creationId xmlns:p14="http://schemas.microsoft.com/office/powerpoint/2010/main" val="3343236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3A062D-AA74-18EC-2165-1C6F6DBB1D8C}"/>
            </a:ext>
          </a:extLst>
        </p:cNvPr>
        <p:cNvGrpSpPr/>
        <p:nvPr/>
      </p:nvGrpSpPr>
      <p:grpSpPr>
        <a:xfrm>
          <a:off x="0" y="0"/>
          <a:ext cx="0" cy="0"/>
          <a:chOff x="0" y="0"/>
          <a:chExt cx="0" cy="0"/>
        </a:xfrm>
      </p:grpSpPr>
      <p:sp>
        <p:nvSpPr>
          <p:cNvPr id="55" name="Slide Number Placeholder 5">
            <a:extLst>
              <a:ext uri="{FF2B5EF4-FFF2-40B4-BE49-F238E27FC236}">
                <a16:creationId xmlns:a16="http://schemas.microsoft.com/office/drawing/2014/main" id="{E180D828-3B18-D56A-93D3-69E17C51F49F}"/>
              </a:ext>
            </a:extLst>
          </p:cNvPr>
          <p:cNvSpPr txBox="1">
            <a:spLocks/>
          </p:cNvSpPr>
          <p:nvPr>
            <p:custDataLst>
              <p:tags r:id="rId1"/>
            </p:custDataLst>
          </p:nvPr>
        </p:nvSpPr>
        <p:spPr>
          <a:xfrm>
            <a:off x="896416" y="7855507"/>
            <a:ext cx="283900" cy="151200"/>
          </a:xfrm>
          <a:prstGeom prst="rect">
            <a:avLst/>
          </a:prstGeom>
        </p:spPr>
        <p:txBody>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fld id="{3A5C5CA0-F2C0-43F9-B89F-AC7FA210C1FD}" type="slidenum">
              <a:rPr lang="en-GB" smtClean="0"/>
              <a:pPr/>
              <a:t>49</a:t>
            </a:fld>
            <a:endParaRPr lang="en-GB" dirty="0"/>
          </a:p>
        </p:txBody>
      </p:sp>
      <p:sp>
        <p:nvSpPr>
          <p:cNvPr id="85" name="TextBox 1">
            <a:extLst>
              <a:ext uri="{FF2B5EF4-FFF2-40B4-BE49-F238E27FC236}">
                <a16:creationId xmlns:a16="http://schemas.microsoft.com/office/drawing/2014/main" id="{01F2C9BB-EE90-215E-306F-B88C7F653DA5}"/>
              </a:ext>
            </a:extLst>
          </p:cNvPr>
          <p:cNvSpPr txBox="1"/>
          <p:nvPr/>
        </p:nvSpPr>
        <p:spPr>
          <a:xfrm>
            <a:off x="1670424" y="1084321"/>
            <a:ext cx="9324678"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Teil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den “future-service” </a:t>
            </a:r>
          </a:p>
        </p:txBody>
      </p:sp>
      <p:grpSp>
        <p:nvGrpSpPr>
          <p:cNvPr id="2" name="Gruppieren 1">
            <a:extLst>
              <a:ext uri="{FF2B5EF4-FFF2-40B4-BE49-F238E27FC236}">
                <a16:creationId xmlns:a16="http://schemas.microsoft.com/office/drawing/2014/main" id="{89870671-3518-082A-2199-8D89CFE49ACC}"/>
              </a:ext>
            </a:extLst>
          </p:cNvPr>
          <p:cNvGrpSpPr/>
          <p:nvPr/>
        </p:nvGrpSpPr>
        <p:grpSpPr>
          <a:xfrm>
            <a:off x="1733333" y="2478753"/>
            <a:ext cx="8384600" cy="3881839"/>
            <a:chOff x="1733333" y="2478753"/>
            <a:chExt cx="8384600" cy="3881839"/>
          </a:xfrm>
        </p:grpSpPr>
        <p:sp>
          <p:nvSpPr>
            <p:cNvPr id="6" name="AutoShape 3">
              <a:extLst>
                <a:ext uri="{FF2B5EF4-FFF2-40B4-BE49-F238E27FC236}">
                  <a16:creationId xmlns:a16="http://schemas.microsoft.com/office/drawing/2014/main" id="{CDF58B84-755B-CA6C-5C0F-ABC1ECEE58FE}"/>
                </a:ext>
              </a:extLst>
            </p:cNvPr>
            <p:cNvSpPr>
              <a:spLocks noChangeArrowheads="1"/>
            </p:cNvSpPr>
            <p:nvPr>
              <p:custDataLst>
                <p:tags r:id="rId8"/>
              </p:custDataLst>
            </p:nvPr>
          </p:nvSpPr>
          <p:spPr bwMode="auto">
            <a:xfrm>
              <a:off x="2053037" y="3351780"/>
              <a:ext cx="8064896" cy="584775"/>
            </a:xfrm>
            <a:prstGeom prst="rightArrow">
              <a:avLst>
                <a:gd name="adj1" fmla="val 67556"/>
                <a:gd name="adj2" fmla="val 90801"/>
              </a:avLst>
            </a:prstGeom>
            <a:solidFill>
              <a:srgbClr val="0093A7"/>
            </a:solidFill>
            <a:ln w="9525" cap="flat" cmpd="sng" algn="ctr">
              <a:noFill/>
              <a:prstDash val="solid"/>
              <a:miter lim="800000"/>
              <a:headEnd type="none" w="med" len="med"/>
              <a:tailEnd type="none" w="med" len="med"/>
            </a:ln>
            <a:effectLst>
              <a:outerShdw blurRad="76200" dist="12700" dir="2700000" sy="-23000" kx="-800400" algn="bl" rotWithShape="0">
                <a:prstClr val="black">
                  <a:alpha val="20000"/>
                </a:prstClr>
              </a:outerShdw>
            </a:effectLst>
          </p:spPr>
          <p:txBody>
            <a:bodyPr lIns="144000" tIns="108000" rIns="144000" bIns="108000" anchor="ctr"/>
            <a:lstStyle/>
            <a:p>
              <a:pPr marL="1588" lvl="1" algn="ctr">
                <a:spcBef>
                  <a:spcPct val="40000"/>
                </a:spcBef>
              </a:pPr>
              <a:r>
                <a:rPr lang="en-GB" b="1" dirty="0" err="1">
                  <a:solidFill>
                    <a:schemeClr val="bg1"/>
                  </a:solidFill>
                  <a:latin typeface="Segoe UI" panose="020B0502040204020203" pitchFamily="34" charset="0"/>
                  <a:cs typeface="Segoe UI" panose="020B0502040204020203" pitchFamily="34" charset="0"/>
                </a:rPr>
                <a:t>gesamter</a:t>
              </a:r>
              <a:r>
                <a:rPr lang="en-GB" b="1" dirty="0">
                  <a:solidFill>
                    <a:schemeClr val="bg1"/>
                  </a:solidFill>
                  <a:latin typeface="Segoe UI" panose="020B0502040204020203" pitchFamily="34" charset="0"/>
                  <a:cs typeface="Segoe UI" panose="020B0502040204020203" pitchFamily="34" charset="0"/>
                </a:rPr>
                <a:t> </a:t>
              </a:r>
              <a:r>
                <a:rPr lang="en-GB" b="1" dirty="0" err="1">
                  <a:solidFill>
                    <a:schemeClr val="bg1"/>
                  </a:solidFill>
                  <a:latin typeface="Segoe UI" panose="020B0502040204020203" pitchFamily="34" charset="0"/>
                  <a:cs typeface="Segoe UI" panose="020B0502040204020203" pitchFamily="34" charset="0"/>
                </a:rPr>
                <a:t>Erdienungszeitraum</a:t>
              </a:r>
              <a:r>
                <a:rPr lang="en-GB" b="1" dirty="0">
                  <a:solidFill>
                    <a:schemeClr val="bg1"/>
                  </a:solidFill>
                  <a:latin typeface="Segoe UI" panose="020B0502040204020203" pitchFamily="34" charset="0"/>
                  <a:cs typeface="Segoe UI" panose="020B0502040204020203" pitchFamily="34" charset="0"/>
                </a:rPr>
                <a:t> 30 Jahre </a:t>
              </a:r>
            </a:p>
          </p:txBody>
        </p:sp>
        <p:sp>
          <p:nvSpPr>
            <p:cNvPr id="7" name="Line 8">
              <a:extLst>
                <a:ext uri="{FF2B5EF4-FFF2-40B4-BE49-F238E27FC236}">
                  <a16:creationId xmlns:a16="http://schemas.microsoft.com/office/drawing/2014/main" id="{B8AF2DD8-615B-B396-77B7-31F06C8A4E9E}"/>
                </a:ext>
              </a:extLst>
            </p:cNvPr>
            <p:cNvSpPr>
              <a:spLocks noChangeShapeType="1"/>
            </p:cNvSpPr>
            <p:nvPr>
              <p:custDataLst>
                <p:tags r:id="rId9"/>
              </p:custDataLst>
            </p:nvPr>
          </p:nvSpPr>
          <p:spPr bwMode="auto">
            <a:xfrm>
              <a:off x="5578594" y="3031607"/>
              <a:ext cx="0" cy="291876"/>
            </a:xfrm>
            <a:prstGeom prst="line">
              <a:avLst/>
            </a:prstGeom>
            <a:noFill/>
            <a:ln w="9525">
              <a:solidFill>
                <a:schemeClr val="accent6"/>
              </a:solidFill>
              <a:round/>
              <a:headEnd type="none" w="sm" len="sm"/>
              <a:tailEnd type="triangle" w="med" len="med"/>
            </a:ln>
            <a:effectLst/>
          </p:spPr>
          <p:txBody>
            <a:bodyPr wrap="none" anchor="ctr"/>
            <a:lstStyle/>
            <a:p>
              <a:endParaRPr lang="en-GB" dirty="0"/>
            </a:p>
          </p:txBody>
        </p:sp>
        <p:sp>
          <p:nvSpPr>
            <p:cNvPr id="14" name="Line 8">
              <a:extLst>
                <a:ext uri="{FF2B5EF4-FFF2-40B4-BE49-F238E27FC236}">
                  <a16:creationId xmlns:a16="http://schemas.microsoft.com/office/drawing/2014/main" id="{1A9A0B27-13BE-E872-9EC9-AC97B260B834}"/>
                </a:ext>
              </a:extLst>
            </p:cNvPr>
            <p:cNvSpPr>
              <a:spLocks noChangeShapeType="1"/>
            </p:cNvSpPr>
            <p:nvPr>
              <p:custDataLst>
                <p:tags r:id="rId10"/>
              </p:custDataLst>
            </p:nvPr>
          </p:nvSpPr>
          <p:spPr bwMode="auto">
            <a:xfrm>
              <a:off x="2387209" y="3001973"/>
              <a:ext cx="0" cy="291876"/>
            </a:xfrm>
            <a:prstGeom prst="line">
              <a:avLst/>
            </a:prstGeom>
            <a:noFill/>
            <a:ln w="9525">
              <a:solidFill>
                <a:schemeClr val="accent6"/>
              </a:solidFill>
              <a:round/>
              <a:headEnd type="none" w="sm" len="sm"/>
              <a:tailEnd type="triangle" w="med" len="med"/>
            </a:ln>
            <a:effectLst/>
          </p:spPr>
          <p:txBody>
            <a:bodyPr wrap="none" anchor="ctr"/>
            <a:lstStyle/>
            <a:p>
              <a:endParaRPr lang="en-GB" dirty="0"/>
            </a:p>
          </p:txBody>
        </p:sp>
        <p:grpSp>
          <p:nvGrpSpPr>
            <p:cNvPr id="16" name="Group 177">
              <a:extLst>
                <a:ext uri="{FF2B5EF4-FFF2-40B4-BE49-F238E27FC236}">
                  <a16:creationId xmlns:a16="http://schemas.microsoft.com/office/drawing/2014/main" id="{82EC2033-C5F2-D2C6-F30B-887193BC15C8}"/>
                </a:ext>
              </a:extLst>
            </p:cNvPr>
            <p:cNvGrpSpPr/>
            <p:nvPr/>
          </p:nvGrpSpPr>
          <p:grpSpPr>
            <a:xfrm>
              <a:off x="3013348" y="6117145"/>
              <a:ext cx="284708" cy="243447"/>
              <a:chOff x="2784953" y="5451296"/>
              <a:chExt cx="468912" cy="400954"/>
            </a:xfrm>
            <a:solidFill>
              <a:srgbClr val="FBBA00"/>
            </a:solidFill>
          </p:grpSpPr>
          <p:sp>
            <p:nvSpPr>
              <p:cNvPr id="21" name="Line 1242">
                <a:extLst>
                  <a:ext uri="{FF2B5EF4-FFF2-40B4-BE49-F238E27FC236}">
                    <a16:creationId xmlns:a16="http://schemas.microsoft.com/office/drawing/2014/main" id="{4E1DB879-4DF5-E54F-A4E2-169F8F056703}"/>
                  </a:ext>
                </a:extLst>
              </p:cNvPr>
              <p:cNvSpPr>
                <a:spLocks noChangeShapeType="1"/>
              </p:cNvSpPr>
              <p:nvPr/>
            </p:nvSpPr>
            <p:spPr bwMode="auto">
              <a:xfrm flipH="1" flipV="1">
                <a:off x="3026847" y="5451296"/>
                <a:ext cx="0" cy="92172"/>
              </a:xfrm>
              <a:prstGeom prst="line">
                <a:avLst/>
              </a:prstGeom>
              <a:grpFill/>
              <a:ln w="19050" cmpd="sng">
                <a:solidFill>
                  <a:schemeClr val="bg1"/>
                </a:solidFill>
                <a:round/>
                <a:headEnd/>
                <a:tailEnd/>
              </a:ln>
            </p:spPr>
            <p:txBody>
              <a:bodyPr/>
              <a:lstStyle/>
              <a:p>
                <a:endParaRPr lang="de-DE" dirty="0"/>
              </a:p>
            </p:txBody>
          </p:sp>
          <p:sp>
            <p:nvSpPr>
              <p:cNvPr id="22" name="Line 1243">
                <a:extLst>
                  <a:ext uri="{FF2B5EF4-FFF2-40B4-BE49-F238E27FC236}">
                    <a16:creationId xmlns:a16="http://schemas.microsoft.com/office/drawing/2014/main" id="{B6478CB5-1C00-3B7B-A0AF-8781C86B0E37}"/>
                  </a:ext>
                </a:extLst>
              </p:cNvPr>
              <p:cNvSpPr>
                <a:spLocks noChangeShapeType="1"/>
              </p:cNvSpPr>
              <p:nvPr/>
            </p:nvSpPr>
            <p:spPr bwMode="auto">
              <a:xfrm flipV="1">
                <a:off x="3165652" y="5580342"/>
                <a:ext cx="78927" cy="46086"/>
              </a:xfrm>
              <a:prstGeom prst="line">
                <a:avLst/>
              </a:prstGeom>
              <a:grpFill/>
              <a:ln w="19050" cmpd="sng">
                <a:solidFill>
                  <a:schemeClr val="bg1"/>
                </a:solidFill>
                <a:round/>
                <a:headEnd/>
                <a:tailEnd/>
              </a:ln>
            </p:spPr>
            <p:txBody>
              <a:bodyPr/>
              <a:lstStyle/>
              <a:p>
                <a:endParaRPr lang="de-DE" dirty="0"/>
              </a:p>
            </p:txBody>
          </p:sp>
          <p:sp>
            <p:nvSpPr>
              <p:cNvPr id="23" name="Line 1244">
                <a:extLst>
                  <a:ext uri="{FF2B5EF4-FFF2-40B4-BE49-F238E27FC236}">
                    <a16:creationId xmlns:a16="http://schemas.microsoft.com/office/drawing/2014/main" id="{9ACEE86F-E5CD-B5C1-DE75-379A751B3AF9}"/>
                  </a:ext>
                </a:extLst>
              </p:cNvPr>
              <p:cNvSpPr>
                <a:spLocks noChangeShapeType="1"/>
              </p:cNvSpPr>
              <p:nvPr/>
            </p:nvSpPr>
            <p:spPr bwMode="auto">
              <a:xfrm>
                <a:off x="3170296" y="5796945"/>
                <a:ext cx="83569" cy="46086"/>
              </a:xfrm>
              <a:prstGeom prst="line">
                <a:avLst/>
              </a:prstGeom>
              <a:grpFill/>
              <a:ln w="19050" cmpd="sng">
                <a:solidFill>
                  <a:schemeClr val="bg1"/>
                </a:solidFill>
                <a:round/>
                <a:headEnd/>
                <a:tailEnd/>
              </a:ln>
            </p:spPr>
            <p:txBody>
              <a:bodyPr/>
              <a:lstStyle/>
              <a:p>
                <a:endParaRPr lang="de-DE" dirty="0"/>
              </a:p>
            </p:txBody>
          </p:sp>
          <p:sp>
            <p:nvSpPr>
              <p:cNvPr id="24" name="Line 1245">
                <a:extLst>
                  <a:ext uri="{FF2B5EF4-FFF2-40B4-BE49-F238E27FC236}">
                    <a16:creationId xmlns:a16="http://schemas.microsoft.com/office/drawing/2014/main" id="{B19382F3-B895-4F25-ECAE-1AA3C9DBF2DE}"/>
                  </a:ext>
                </a:extLst>
              </p:cNvPr>
              <p:cNvSpPr>
                <a:spLocks noChangeShapeType="1"/>
              </p:cNvSpPr>
              <p:nvPr/>
            </p:nvSpPr>
            <p:spPr bwMode="auto">
              <a:xfrm flipH="1">
                <a:off x="2789591" y="5806164"/>
                <a:ext cx="78927" cy="46086"/>
              </a:xfrm>
              <a:prstGeom prst="line">
                <a:avLst/>
              </a:prstGeom>
              <a:grpFill/>
              <a:ln w="19050" cmpd="sng">
                <a:solidFill>
                  <a:schemeClr val="bg1"/>
                </a:solidFill>
                <a:round/>
                <a:headEnd/>
                <a:tailEnd/>
              </a:ln>
            </p:spPr>
            <p:txBody>
              <a:bodyPr/>
              <a:lstStyle/>
              <a:p>
                <a:endParaRPr lang="de-DE" dirty="0"/>
              </a:p>
            </p:txBody>
          </p:sp>
          <p:sp>
            <p:nvSpPr>
              <p:cNvPr id="25" name="Line 1246">
                <a:extLst>
                  <a:ext uri="{FF2B5EF4-FFF2-40B4-BE49-F238E27FC236}">
                    <a16:creationId xmlns:a16="http://schemas.microsoft.com/office/drawing/2014/main" id="{30B55606-C503-A121-D27B-DC573467909F}"/>
                  </a:ext>
                </a:extLst>
              </p:cNvPr>
              <p:cNvSpPr>
                <a:spLocks noChangeShapeType="1"/>
              </p:cNvSpPr>
              <p:nvPr/>
            </p:nvSpPr>
            <p:spPr bwMode="auto">
              <a:xfrm flipH="1" flipV="1">
                <a:off x="2784953" y="5589554"/>
                <a:ext cx="83569" cy="41479"/>
              </a:xfrm>
              <a:prstGeom prst="line">
                <a:avLst/>
              </a:prstGeom>
              <a:grpFill/>
              <a:ln w="19050" cmpd="sng">
                <a:solidFill>
                  <a:schemeClr val="bg1"/>
                </a:solidFill>
                <a:round/>
                <a:headEnd/>
                <a:tailEnd/>
              </a:ln>
            </p:spPr>
            <p:txBody>
              <a:bodyPr/>
              <a:lstStyle/>
              <a:p>
                <a:endParaRPr lang="de-DE" dirty="0"/>
              </a:p>
            </p:txBody>
          </p:sp>
        </p:grpSp>
        <p:sp>
          <p:nvSpPr>
            <p:cNvPr id="18" name="PrognosTextBox">
              <a:extLst>
                <a:ext uri="{FF2B5EF4-FFF2-40B4-BE49-F238E27FC236}">
                  <a16:creationId xmlns:a16="http://schemas.microsoft.com/office/drawing/2014/main" id="{8CA9FCED-1A33-683F-DF92-C5621E3359AF}"/>
                </a:ext>
              </a:extLst>
            </p:cNvPr>
            <p:cNvSpPr>
              <a:spLocks/>
            </p:cNvSpPr>
            <p:nvPr>
              <p:custDataLst>
                <p:tags r:id="rId11"/>
              </p:custDataLst>
            </p:nvPr>
          </p:nvSpPr>
          <p:spPr>
            <a:xfrm>
              <a:off x="1733333" y="2478753"/>
              <a:ext cx="1492233" cy="523220"/>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err="1">
                  <a:latin typeface="Segoe UI" panose="020B0502040204020203" pitchFamily="34" charset="0"/>
                  <a:cs typeface="Segoe UI" panose="020B0502040204020203" pitchFamily="34" charset="0"/>
                </a:rPr>
                <a:t>Pensionszusage</a:t>
              </a:r>
              <a:r>
                <a:rPr lang="en-GB" sz="1400" dirty="0">
                  <a:latin typeface="Segoe UI" panose="020B0502040204020203" pitchFamily="34" charset="0"/>
                  <a:cs typeface="Segoe UI" panose="020B0502040204020203" pitchFamily="34" charset="0"/>
                </a:rPr>
                <a:t> 3.000 €</a:t>
              </a:r>
            </a:p>
          </p:txBody>
        </p:sp>
      </p:grpSp>
      <p:sp>
        <p:nvSpPr>
          <p:cNvPr id="35" name="PrognosTextBox">
            <a:extLst>
              <a:ext uri="{FF2B5EF4-FFF2-40B4-BE49-F238E27FC236}">
                <a16:creationId xmlns:a16="http://schemas.microsoft.com/office/drawing/2014/main" id="{B55ABB71-70E2-7C96-5D9B-2820B08C8BC4}"/>
              </a:ext>
            </a:extLst>
          </p:cNvPr>
          <p:cNvSpPr>
            <a:spLocks/>
          </p:cNvSpPr>
          <p:nvPr>
            <p:custDataLst>
              <p:tags r:id="rId2"/>
            </p:custDataLst>
          </p:nvPr>
        </p:nvSpPr>
        <p:spPr>
          <a:xfrm>
            <a:off x="1795275" y="3882748"/>
            <a:ext cx="1492233" cy="307777"/>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a:latin typeface="Segoe UI" panose="020B0502040204020203" pitchFamily="34" charset="0"/>
                <a:cs typeface="Segoe UI" panose="020B0502040204020203" pitchFamily="34" charset="0"/>
              </a:rPr>
              <a:t>01.01.2010</a:t>
            </a:r>
          </a:p>
        </p:txBody>
      </p:sp>
      <p:sp>
        <p:nvSpPr>
          <p:cNvPr id="36" name="PrognosTextBox">
            <a:extLst>
              <a:ext uri="{FF2B5EF4-FFF2-40B4-BE49-F238E27FC236}">
                <a16:creationId xmlns:a16="http://schemas.microsoft.com/office/drawing/2014/main" id="{7D61202A-90FA-A031-24FD-01EFBAB60174}"/>
              </a:ext>
            </a:extLst>
          </p:cNvPr>
          <p:cNvSpPr>
            <a:spLocks/>
          </p:cNvSpPr>
          <p:nvPr>
            <p:custDataLst>
              <p:tags r:id="rId3"/>
            </p:custDataLst>
          </p:nvPr>
        </p:nvSpPr>
        <p:spPr>
          <a:xfrm>
            <a:off x="4843788" y="3882748"/>
            <a:ext cx="1492233" cy="307777"/>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a:latin typeface="Segoe UI" panose="020B0502040204020203" pitchFamily="34" charset="0"/>
                <a:cs typeface="Segoe UI" panose="020B0502040204020203" pitchFamily="34" charset="0"/>
              </a:rPr>
              <a:t>01.01.2025</a:t>
            </a:r>
          </a:p>
        </p:txBody>
      </p:sp>
      <p:sp>
        <p:nvSpPr>
          <p:cNvPr id="37" name="PrognosTextBox">
            <a:extLst>
              <a:ext uri="{FF2B5EF4-FFF2-40B4-BE49-F238E27FC236}">
                <a16:creationId xmlns:a16="http://schemas.microsoft.com/office/drawing/2014/main" id="{97CB74D7-18AA-E74B-154F-463DACA031A7}"/>
              </a:ext>
            </a:extLst>
          </p:cNvPr>
          <p:cNvSpPr>
            <a:spLocks/>
          </p:cNvSpPr>
          <p:nvPr>
            <p:custDataLst>
              <p:tags r:id="rId4"/>
            </p:custDataLst>
          </p:nvPr>
        </p:nvSpPr>
        <p:spPr>
          <a:xfrm>
            <a:off x="4867461" y="2493560"/>
            <a:ext cx="1492233" cy="523220"/>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err="1">
                <a:latin typeface="Segoe UI" panose="020B0502040204020203" pitchFamily="34" charset="0"/>
                <a:cs typeface="Segoe UI" panose="020B0502040204020203" pitchFamily="34" charset="0"/>
              </a:rPr>
              <a:t>Absenkung</a:t>
            </a:r>
            <a:r>
              <a:rPr lang="en-GB" sz="1400" dirty="0">
                <a:latin typeface="Segoe UI" panose="020B0502040204020203" pitchFamily="34" charset="0"/>
                <a:cs typeface="Segoe UI" panose="020B0502040204020203" pitchFamily="34" charset="0"/>
              </a:rPr>
              <a:t> auf 1.500 €</a:t>
            </a:r>
          </a:p>
        </p:txBody>
      </p:sp>
      <p:sp>
        <p:nvSpPr>
          <p:cNvPr id="38" name="PrognosTextBox">
            <a:extLst>
              <a:ext uri="{FF2B5EF4-FFF2-40B4-BE49-F238E27FC236}">
                <a16:creationId xmlns:a16="http://schemas.microsoft.com/office/drawing/2014/main" id="{84677F48-25B1-E376-CA72-EABA5BA83387}"/>
              </a:ext>
            </a:extLst>
          </p:cNvPr>
          <p:cNvSpPr>
            <a:spLocks/>
          </p:cNvSpPr>
          <p:nvPr>
            <p:custDataLst>
              <p:tags r:id="rId5"/>
            </p:custDataLst>
          </p:nvPr>
        </p:nvSpPr>
        <p:spPr>
          <a:xfrm>
            <a:off x="7937110" y="2493519"/>
            <a:ext cx="1492233" cy="566309"/>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err="1">
                <a:latin typeface="Segoe UI" panose="020B0502040204020203" pitchFamily="34" charset="0"/>
                <a:cs typeface="Segoe UI" panose="020B0502040204020203" pitchFamily="34" charset="0"/>
              </a:rPr>
              <a:t>Eintritt</a:t>
            </a:r>
            <a:r>
              <a:rPr lang="en-GB" sz="1400" dirty="0">
                <a:latin typeface="Segoe UI" panose="020B0502040204020203" pitchFamily="34" charset="0"/>
                <a:cs typeface="Segoe UI" panose="020B0502040204020203" pitchFamily="34" charset="0"/>
              </a:rPr>
              <a:t> in </a:t>
            </a:r>
          </a:p>
          <a:p>
            <a:pPr lvl="1" algn="ctr"/>
            <a:r>
              <a:rPr lang="en-GB" sz="1400" dirty="0" err="1">
                <a:latin typeface="Segoe UI" panose="020B0502040204020203" pitchFamily="34" charset="0"/>
                <a:cs typeface="Segoe UI" panose="020B0502040204020203" pitchFamily="34" charset="0"/>
              </a:rPr>
              <a:t>Ruhestand</a:t>
            </a:r>
            <a:endParaRPr lang="en-GB" sz="1400" dirty="0">
              <a:latin typeface="Segoe UI" panose="020B0502040204020203" pitchFamily="34" charset="0"/>
              <a:cs typeface="Segoe UI" panose="020B0502040204020203" pitchFamily="34" charset="0"/>
            </a:endParaRPr>
          </a:p>
        </p:txBody>
      </p:sp>
      <p:sp>
        <p:nvSpPr>
          <p:cNvPr id="39" name="Line 8">
            <a:extLst>
              <a:ext uri="{FF2B5EF4-FFF2-40B4-BE49-F238E27FC236}">
                <a16:creationId xmlns:a16="http://schemas.microsoft.com/office/drawing/2014/main" id="{2A6F839F-0EBE-8F6D-B581-DE3613EAAA45}"/>
              </a:ext>
            </a:extLst>
          </p:cNvPr>
          <p:cNvSpPr>
            <a:spLocks noChangeShapeType="1"/>
          </p:cNvSpPr>
          <p:nvPr>
            <p:custDataLst>
              <p:tags r:id="rId6"/>
            </p:custDataLst>
          </p:nvPr>
        </p:nvSpPr>
        <p:spPr bwMode="auto">
          <a:xfrm>
            <a:off x="8697205" y="3031607"/>
            <a:ext cx="0" cy="291876"/>
          </a:xfrm>
          <a:prstGeom prst="line">
            <a:avLst/>
          </a:prstGeom>
          <a:noFill/>
          <a:ln w="9525">
            <a:solidFill>
              <a:schemeClr val="accent6"/>
            </a:solidFill>
            <a:round/>
            <a:headEnd type="none" w="sm" len="sm"/>
            <a:tailEnd type="triangle" w="med" len="med"/>
          </a:ln>
          <a:effectLst/>
        </p:spPr>
        <p:txBody>
          <a:bodyPr wrap="none" anchor="ctr"/>
          <a:lstStyle/>
          <a:p>
            <a:endParaRPr lang="en-GB" dirty="0"/>
          </a:p>
        </p:txBody>
      </p:sp>
      <p:sp>
        <p:nvSpPr>
          <p:cNvPr id="40" name="PrognosTextBox">
            <a:extLst>
              <a:ext uri="{FF2B5EF4-FFF2-40B4-BE49-F238E27FC236}">
                <a16:creationId xmlns:a16="http://schemas.microsoft.com/office/drawing/2014/main" id="{DAC40429-45C4-5F3F-D647-0444EEF8789F}"/>
              </a:ext>
            </a:extLst>
          </p:cNvPr>
          <p:cNvSpPr>
            <a:spLocks/>
          </p:cNvSpPr>
          <p:nvPr>
            <p:custDataLst>
              <p:tags r:id="rId7"/>
            </p:custDataLst>
          </p:nvPr>
        </p:nvSpPr>
        <p:spPr>
          <a:xfrm>
            <a:off x="7985981" y="3876941"/>
            <a:ext cx="1492233" cy="307777"/>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a:latin typeface="Segoe UI" panose="020B0502040204020203" pitchFamily="34" charset="0"/>
                <a:cs typeface="Segoe UI" panose="020B0502040204020203" pitchFamily="34" charset="0"/>
              </a:rPr>
              <a:t>01.01.2040</a:t>
            </a:r>
          </a:p>
        </p:txBody>
      </p:sp>
      <p:sp>
        <p:nvSpPr>
          <p:cNvPr id="41" name="Geschweifte Klammer rechts 40">
            <a:extLst>
              <a:ext uri="{FF2B5EF4-FFF2-40B4-BE49-F238E27FC236}">
                <a16:creationId xmlns:a16="http://schemas.microsoft.com/office/drawing/2014/main" id="{DCB875C1-9AC1-3195-CCEB-A9F5DAD6B348}"/>
              </a:ext>
            </a:extLst>
          </p:cNvPr>
          <p:cNvSpPr/>
          <p:nvPr/>
        </p:nvSpPr>
        <p:spPr>
          <a:xfrm rot="5400000">
            <a:off x="3637965" y="3105696"/>
            <a:ext cx="741955" cy="3058989"/>
          </a:xfrm>
          <a:prstGeom prst="rightBrace">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de-DE" dirty="0"/>
          </a:p>
        </p:txBody>
      </p:sp>
      <p:sp>
        <p:nvSpPr>
          <p:cNvPr id="44" name="7 CuadroTexto">
            <a:extLst>
              <a:ext uri="{FF2B5EF4-FFF2-40B4-BE49-F238E27FC236}">
                <a16:creationId xmlns:a16="http://schemas.microsoft.com/office/drawing/2014/main" id="{C099F3EC-3E4A-BC35-6348-28B1F9622D5B}"/>
              </a:ext>
            </a:extLst>
          </p:cNvPr>
          <p:cNvSpPr txBox="1"/>
          <p:nvPr/>
        </p:nvSpPr>
        <p:spPr>
          <a:xfrm>
            <a:off x="3428007" y="5006168"/>
            <a:ext cx="2110430" cy="1021690"/>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i="1" dirty="0">
                <a:latin typeface="Segoe UI" panose="020B0502040204020203" pitchFamily="34" charset="0"/>
                <a:cs typeface="Segoe UI" panose="020B0502040204020203" pitchFamily="34" charset="0"/>
                <a:sym typeface="Wingdings" panose="05000000000000000000" pitchFamily="2" charset="2"/>
              </a:rPr>
              <a:t>„</a:t>
            </a:r>
            <a:r>
              <a:rPr lang="de-DE" sz="1400" i="1" dirty="0" err="1">
                <a:latin typeface="Segoe UI" panose="020B0502040204020203" pitchFamily="34" charset="0"/>
                <a:cs typeface="Segoe UI" panose="020B0502040204020203" pitchFamily="34" charset="0"/>
                <a:sym typeface="Wingdings" panose="05000000000000000000" pitchFamily="2" charset="2"/>
              </a:rPr>
              <a:t>past</a:t>
            </a:r>
            <a:r>
              <a:rPr lang="de-DE" sz="1400" i="1" dirty="0">
                <a:latin typeface="Segoe UI" panose="020B0502040204020203" pitchFamily="34" charset="0"/>
                <a:cs typeface="Segoe UI" panose="020B0502040204020203" pitchFamily="34" charset="0"/>
                <a:sym typeface="Wingdings" panose="05000000000000000000" pitchFamily="2" charset="2"/>
              </a:rPr>
              <a:t>-service“</a:t>
            </a:r>
          </a:p>
          <a:p>
            <a:pPr>
              <a:lnSpc>
                <a:spcPct val="150000"/>
              </a:lnSpc>
            </a:pPr>
            <a:r>
              <a:rPr lang="de-DE" sz="1400" dirty="0" err="1">
                <a:latin typeface="Segoe UI" panose="020B0502040204020203" pitchFamily="34" charset="0"/>
                <a:cs typeface="Segoe UI" panose="020B0502040204020203" pitchFamily="34" charset="0"/>
                <a:sym typeface="Wingdings" panose="05000000000000000000" pitchFamily="2" charset="2"/>
              </a:rPr>
              <a:t>erdienter</a:t>
            </a:r>
            <a:r>
              <a:rPr lang="de-DE" sz="1400" dirty="0">
                <a:latin typeface="Segoe UI" panose="020B0502040204020203" pitchFamily="34" charset="0"/>
                <a:cs typeface="Segoe UI" panose="020B0502040204020203" pitchFamily="34" charset="0"/>
                <a:sym typeface="Wingdings" panose="05000000000000000000" pitchFamily="2" charset="2"/>
              </a:rPr>
              <a:t> Anspruch  </a:t>
            </a:r>
          </a:p>
          <a:p>
            <a:pPr>
              <a:lnSpc>
                <a:spcPct val="150000"/>
              </a:lnSpc>
            </a:pPr>
            <a:endParaRPr lang="de-DE" sz="1400" dirty="0">
              <a:latin typeface="Segoe UI" panose="020B0502040204020203" pitchFamily="34" charset="0"/>
              <a:cs typeface="Segoe UI" panose="020B0502040204020203" pitchFamily="34" charset="0"/>
            </a:endParaRPr>
          </a:p>
        </p:txBody>
      </p:sp>
      <p:sp>
        <p:nvSpPr>
          <p:cNvPr id="46" name="7 CuadroTexto">
            <a:extLst>
              <a:ext uri="{FF2B5EF4-FFF2-40B4-BE49-F238E27FC236}">
                <a16:creationId xmlns:a16="http://schemas.microsoft.com/office/drawing/2014/main" id="{ABE30F51-F180-0AD7-A51A-B9DA3ADF75FB}"/>
              </a:ext>
            </a:extLst>
          </p:cNvPr>
          <p:cNvSpPr txBox="1"/>
          <p:nvPr/>
        </p:nvSpPr>
        <p:spPr>
          <a:xfrm>
            <a:off x="3617746" y="4152421"/>
            <a:ext cx="2110430"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15 Jahre </a:t>
            </a:r>
          </a:p>
          <a:p>
            <a:pPr>
              <a:lnSpc>
                <a:spcPct val="150000"/>
              </a:lnSpc>
            </a:pPr>
            <a:endParaRPr lang="de-DE"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857304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8">
            <a:extLst>
              <a:ext uri="{FF2B5EF4-FFF2-40B4-BE49-F238E27FC236}">
                <a16:creationId xmlns:a16="http://schemas.microsoft.com/office/drawing/2014/main" id="{60238BC5-656C-401E-802C-FD32806B79C3}"/>
              </a:ext>
            </a:extLst>
          </p:cNvPr>
          <p:cNvSpPr txBox="1"/>
          <p:nvPr/>
        </p:nvSpPr>
        <p:spPr>
          <a:xfrm>
            <a:off x="896416" y="1021332"/>
            <a:ext cx="5513909" cy="584775"/>
          </a:xfrm>
          <a:prstGeom prst="rect">
            <a:avLst/>
          </a:prstGeom>
          <a:noFill/>
        </p:spPr>
        <p:txBody>
          <a:bodyPr wrap="square" rtlCol="0">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genda</a:t>
            </a:r>
          </a:p>
        </p:txBody>
      </p:sp>
      <p:graphicFrame>
        <p:nvGraphicFramePr>
          <p:cNvPr id="8" name="OT_AgendaTable">
            <a:extLst>
              <a:ext uri="{FF2B5EF4-FFF2-40B4-BE49-F238E27FC236}">
                <a16:creationId xmlns:a16="http://schemas.microsoft.com/office/drawing/2014/main" id="{97C281D5-5E29-4AEB-96CF-BAED659E7CC6}"/>
              </a:ext>
            </a:extLst>
          </p:cNvPr>
          <p:cNvGraphicFramePr>
            <a:graphicFrameLocks noGrp="1"/>
          </p:cNvGraphicFramePr>
          <p:nvPr>
            <p:custDataLst>
              <p:tags r:id="rId1"/>
            </p:custDataLst>
            <p:extLst>
              <p:ext uri="{D42A27DB-BD31-4B8C-83A1-F6EECF244321}">
                <p14:modId xmlns:p14="http://schemas.microsoft.com/office/powerpoint/2010/main" val="131138386"/>
              </p:ext>
            </p:extLst>
          </p:nvPr>
        </p:nvGraphicFramePr>
        <p:xfrm>
          <a:off x="909551" y="1923728"/>
          <a:ext cx="9907131" cy="3386664"/>
        </p:xfrm>
        <a:graphic>
          <a:graphicData uri="http://schemas.openxmlformats.org/drawingml/2006/table">
            <a:tbl>
              <a:tblPr firstRow="1" bandRow="1">
                <a:tableStyleId>{2D5ABB26-0587-4C30-8999-92F81FD0307C}</a:tableStyleId>
              </a:tblPr>
              <a:tblGrid>
                <a:gridCol w="9907131">
                  <a:extLst>
                    <a:ext uri="{9D8B030D-6E8A-4147-A177-3AD203B41FA5}">
                      <a16:colId xmlns:a16="http://schemas.microsoft.com/office/drawing/2014/main" val="3315970368"/>
                    </a:ext>
                  </a:extLst>
                </a:gridCol>
              </a:tblGrid>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Bedeutung von Pensionszusagen beim Unternehmensverkauf </a:t>
                      </a:r>
                    </a:p>
                  </a:txBody>
                  <a:tcPr anchor="ctr">
                    <a:noFill/>
                  </a:tcPr>
                </a:tc>
                <a:extLst>
                  <a:ext uri="{0D108BD9-81ED-4DB2-BD59-A6C34878D82A}">
                    <a16:rowId xmlns:a16="http://schemas.microsoft.com/office/drawing/2014/main" val="3130548413"/>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Die „richtige“ Bewertung der Pensionsverpflichtung </a:t>
                      </a:r>
                    </a:p>
                  </a:txBody>
                  <a:tcPr anchor="ctr">
                    <a:noFill/>
                  </a:tcPr>
                </a:tc>
                <a:extLst>
                  <a:ext uri="{0D108BD9-81ED-4DB2-BD59-A6C34878D82A}">
                    <a16:rowId xmlns:a16="http://schemas.microsoft.com/office/drawing/2014/main" val="3106507590"/>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Folgen des vollständigen Verzichtes auf eine Pensionszusage </a:t>
                      </a:r>
                    </a:p>
                  </a:txBody>
                  <a:tcPr anchor="ctr">
                    <a:noFill/>
                  </a:tcPr>
                </a:tc>
                <a:extLst>
                  <a:ext uri="{0D108BD9-81ED-4DB2-BD59-A6C34878D82A}">
                    <a16:rowId xmlns:a16="http://schemas.microsoft.com/office/drawing/2014/main" val="541056519"/>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mögliche Lösung: </a:t>
                      </a:r>
                      <a:r>
                        <a:rPr lang="de-DE" sz="1800" b="0" dirty="0" err="1">
                          <a:solidFill>
                            <a:schemeClr val="tx1"/>
                          </a:solidFill>
                          <a:latin typeface="Segoe UI" panose="020B0502040204020203" pitchFamily="34" charset="0"/>
                          <a:cs typeface="Segoe UI" panose="020B0502040204020203" pitchFamily="34" charset="0"/>
                        </a:rPr>
                        <a:t>asset</a:t>
                      </a:r>
                      <a:r>
                        <a:rPr lang="de-DE" sz="1800" b="0" dirty="0">
                          <a:solidFill>
                            <a:schemeClr val="tx1"/>
                          </a:solidFill>
                          <a:latin typeface="Segoe UI" panose="020B0502040204020203" pitchFamily="34" charset="0"/>
                          <a:cs typeface="Segoe UI" panose="020B0502040204020203" pitchFamily="34" charset="0"/>
                        </a:rPr>
                        <a:t>-deal statt share-deal </a:t>
                      </a:r>
                    </a:p>
                  </a:txBody>
                  <a:tcPr anchor="ctr">
                    <a:noFill/>
                  </a:tcPr>
                </a:tc>
                <a:extLst>
                  <a:ext uri="{0D108BD9-81ED-4DB2-BD59-A6C34878D82A}">
                    <a16:rowId xmlns:a16="http://schemas.microsoft.com/office/drawing/2014/main" val="1873190663"/>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echte“ Auslagerung auf einen externen Versorgungsträger </a:t>
                      </a:r>
                    </a:p>
                  </a:txBody>
                  <a:tcPr anchor="ctr">
                    <a:noFill/>
                  </a:tcPr>
                </a:tc>
                <a:extLst>
                  <a:ext uri="{0D108BD9-81ED-4DB2-BD59-A6C34878D82A}">
                    <a16:rowId xmlns:a16="http://schemas.microsoft.com/office/drawing/2014/main" val="847646844"/>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Übertragung auf eine „Rentner-GmbH“ / „Holding-Struktur“ </a:t>
                      </a:r>
                    </a:p>
                  </a:txBody>
                  <a:tcPr anchor="ctr">
                    <a:solidFill>
                      <a:schemeClr val="bg1"/>
                    </a:solidFill>
                  </a:tcPr>
                </a:tc>
                <a:extLst>
                  <a:ext uri="{0D108BD9-81ED-4DB2-BD59-A6C34878D82A}">
                    <a16:rowId xmlns:a16="http://schemas.microsoft.com/office/drawing/2014/main" val="353730752"/>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Teilverzicht / Verzicht auf den „</a:t>
                      </a:r>
                      <a:r>
                        <a:rPr lang="de-DE" sz="1800" b="0" dirty="0" err="1">
                          <a:solidFill>
                            <a:schemeClr val="tx1"/>
                          </a:solidFill>
                          <a:latin typeface="Segoe UI" panose="020B0502040204020203" pitchFamily="34" charset="0"/>
                          <a:cs typeface="Segoe UI" panose="020B0502040204020203" pitchFamily="34" charset="0"/>
                        </a:rPr>
                        <a:t>future</a:t>
                      </a:r>
                      <a:r>
                        <a:rPr lang="de-DE" sz="1800" b="0" dirty="0">
                          <a:solidFill>
                            <a:schemeClr val="tx1"/>
                          </a:solidFill>
                          <a:latin typeface="Segoe UI" panose="020B0502040204020203" pitchFamily="34" charset="0"/>
                          <a:cs typeface="Segoe UI" panose="020B0502040204020203" pitchFamily="34" charset="0"/>
                        </a:rPr>
                        <a:t>-service“ </a:t>
                      </a:r>
                    </a:p>
                  </a:txBody>
                  <a:tcPr anchor="ctr">
                    <a:solidFill>
                      <a:schemeClr val="bg1"/>
                    </a:solidFill>
                  </a:tcPr>
                </a:tc>
                <a:extLst>
                  <a:ext uri="{0D108BD9-81ED-4DB2-BD59-A6C34878D82A}">
                    <a16:rowId xmlns:a16="http://schemas.microsoft.com/office/drawing/2014/main" val="3390285067"/>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Dringende Empfehlung: Vereinbarung der </a:t>
                      </a:r>
                      <a:r>
                        <a:rPr lang="de-DE" sz="1800" b="0" i="1" dirty="0">
                          <a:solidFill>
                            <a:schemeClr val="tx1"/>
                          </a:solidFill>
                          <a:latin typeface="Segoe UI" panose="020B0502040204020203" pitchFamily="34" charset="0"/>
                          <a:cs typeface="Segoe UI" panose="020B0502040204020203" pitchFamily="34" charset="0"/>
                        </a:rPr>
                        <a:t>Möglichkeit</a:t>
                      </a:r>
                      <a:r>
                        <a:rPr lang="de-DE" sz="1800" b="0" dirty="0">
                          <a:solidFill>
                            <a:schemeClr val="tx1"/>
                          </a:solidFill>
                          <a:latin typeface="Segoe UI" panose="020B0502040204020203" pitchFamily="34" charset="0"/>
                          <a:cs typeface="Segoe UI" panose="020B0502040204020203" pitchFamily="34" charset="0"/>
                        </a:rPr>
                        <a:t> einer einmaligen Kapitalabfindung </a:t>
                      </a:r>
                    </a:p>
                  </a:txBody>
                  <a:tcPr anchor="ctr">
                    <a:solidFill>
                      <a:schemeClr val="bg1"/>
                    </a:solidFill>
                  </a:tcPr>
                </a:tc>
                <a:extLst>
                  <a:ext uri="{0D108BD9-81ED-4DB2-BD59-A6C34878D82A}">
                    <a16:rowId xmlns:a16="http://schemas.microsoft.com/office/drawing/2014/main" val="2691783076"/>
                  </a:ext>
                </a:extLst>
              </a:tr>
            </a:tbl>
          </a:graphicData>
        </a:graphic>
      </p:graphicFrame>
    </p:spTree>
    <p:extLst>
      <p:ext uri="{BB962C8B-B14F-4D97-AF65-F5344CB8AC3E}">
        <p14:creationId xmlns:p14="http://schemas.microsoft.com/office/powerpoint/2010/main" val="4219831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1227DA-F111-6F93-FB96-87BF8A004C68}"/>
            </a:ext>
          </a:extLst>
        </p:cNvPr>
        <p:cNvGrpSpPr/>
        <p:nvPr/>
      </p:nvGrpSpPr>
      <p:grpSpPr>
        <a:xfrm>
          <a:off x="0" y="0"/>
          <a:ext cx="0" cy="0"/>
          <a:chOff x="0" y="0"/>
          <a:chExt cx="0" cy="0"/>
        </a:xfrm>
      </p:grpSpPr>
      <p:sp>
        <p:nvSpPr>
          <p:cNvPr id="55" name="Slide Number Placeholder 5">
            <a:extLst>
              <a:ext uri="{FF2B5EF4-FFF2-40B4-BE49-F238E27FC236}">
                <a16:creationId xmlns:a16="http://schemas.microsoft.com/office/drawing/2014/main" id="{991CEFE5-2824-BDF8-5CB5-B63C331DF8AC}"/>
              </a:ext>
            </a:extLst>
          </p:cNvPr>
          <p:cNvSpPr txBox="1">
            <a:spLocks/>
          </p:cNvSpPr>
          <p:nvPr>
            <p:custDataLst>
              <p:tags r:id="rId1"/>
            </p:custDataLst>
          </p:nvPr>
        </p:nvSpPr>
        <p:spPr>
          <a:xfrm>
            <a:off x="896416" y="7855507"/>
            <a:ext cx="283900" cy="151200"/>
          </a:xfrm>
          <a:prstGeom prst="rect">
            <a:avLst/>
          </a:prstGeom>
        </p:spPr>
        <p:txBody>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fld id="{3A5C5CA0-F2C0-43F9-B89F-AC7FA210C1FD}" type="slidenum">
              <a:rPr lang="en-GB" smtClean="0"/>
              <a:pPr/>
              <a:t>50</a:t>
            </a:fld>
            <a:endParaRPr lang="en-GB" dirty="0"/>
          </a:p>
        </p:txBody>
      </p:sp>
      <p:sp>
        <p:nvSpPr>
          <p:cNvPr id="85" name="TextBox 1">
            <a:extLst>
              <a:ext uri="{FF2B5EF4-FFF2-40B4-BE49-F238E27FC236}">
                <a16:creationId xmlns:a16="http://schemas.microsoft.com/office/drawing/2014/main" id="{0BAF66F9-069F-D275-EFA4-C8DA007C59D7}"/>
              </a:ext>
            </a:extLst>
          </p:cNvPr>
          <p:cNvSpPr txBox="1"/>
          <p:nvPr/>
        </p:nvSpPr>
        <p:spPr>
          <a:xfrm>
            <a:off x="1670424" y="1084321"/>
            <a:ext cx="9324678"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Teil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den “future-service” </a:t>
            </a:r>
          </a:p>
        </p:txBody>
      </p:sp>
      <p:grpSp>
        <p:nvGrpSpPr>
          <p:cNvPr id="2" name="Gruppieren 1">
            <a:extLst>
              <a:ext uri="{FF2B5EF4-FFF2-40B4-BE49-F238E27FC236}">
                <a16:creationId xmlns:a16="http://schemas.microsoft.com/office/drawing/2014/main" id="{874A8E20-ADE6-57D8-7B16-5D6572FA10E0}"/>
              </a:ext>
            </a:extLst>
          </p:cNvPr>
          <p:cNvGrpSpPr/>
          <p:nvPr/>
        </p:nvGrpSpPr>
        <p:grpSpPr>
          <a:xfrm>
            <a:off x="1733333" y="2478753"/>
            <a:ext cx="8384600" cy="3881839"/>
            <a:chOff x="1733333" y="2478753"/>
            <a:chExt cx="8384600" cy="3881839"/>
          </a:xfrm>
        </p:grpSpPr>
        <p:sp>
          <p:nvSpPr>
            <p:cNvPr id="6" name="AutoShape 3">
              <a:extLst>
                <a:ext uri="{FF2B5EF4-FFF2-40B4-BE49-F238E27FC236}">
                  <a16:creationId xmlns:a16="http://schemas.microsoft.com/office/drawing/2014/main" id="{7B0B6FAC-3ACF-DDDE-A81A-5BA22E296CD5}"/>
                </a:ext>
              </a:extLst>
            </p:cNvPr>
            <p:cNvSpPr>
              <a:spLocks noChangeArrowheads="1"/>
            </p:cNvSpPr>
            <p:nvPr>
              <p:custDataLst>
                <p:tags r:id="rId8"/>
              </p:custDataLst>
            </p:nvPr>
          </p:nvSpPr>
          <p:spPr bwMode="auto">
            <a:xfrm>
              <a:off x="2053037" y="3351780"/>
              <a:ext cx="8064896" cy="584775"/>
            </a:xfrm>
            <a:prstGeom prst="rightArrow">
              <a:avLst>
                <a:gd name="adj1" fmla="val 67556"/>
                <a:gd name="adj2" fmla="val 90801"/>
              </a:avLst>
            </a:prstGeom>
            <a:solidFill>
              <a:srgbClr val="0093A7"/>
            </a:solidFill>
            <a:ln w="9525" cap="flat" cmpd="sng" algn="ctr">
              <a:noFill/>
              <a:prstDash val="solid"/>
              <a:miter lim="800000"/>
              <a:headEnd type="none" w="med" len="med"/>
              <a:tailEnd type="none" w="med" len="med"/>
            </a:ln>
            <a:effectLst>
              <a:outerShdw blurRad="76200" dist="12700" dir="2700000" sy="-23000" kx="-800400" algn="bl" rotWithShape="0">
                <a:prstClr val="black">
                  <a:alpha val="20000"/>
                </a:prstClr>
              </a:outerShdw>
            </a:effectLst>
          </p:spPr>
          <p:txBody>
            <a:bodyPr lIns="144000" tIns="108000" rIns="144000" bIns="108000" anchor="ctr"/>
            <a:lstStyle/>
            <a:p>
              <a:pPr marL="1588" lvl="1" algn="ctr">
                <a:spcBef>
                  <a:spcPct val="40000"/>
                </a:spcBef>
              </a:pPr>
              <a:r>
                <a:rPr lang="en-GB" b="1" dirty="0" err="1">
                  <a:solidFill>
                    <a:schemeClr val="bg1"/>
                  </a:solidFill>
                  <a:latin typeface="Segoe UI" panose="020B0502040204020203" pitchFamily="34" charset="0"/>
                  <a:cs typeface="Segoe UI" panose="020B0502040204020203" pitchFamily="34" charset="0"/>
                </a:rPr>
                <a:t>gesamter</a:t>
              </a:r>
              <a:r>
                <a:rPr lang="en-GB" b="1" dirty="0">
                  <a:solidFill>
                    <a:schemeClr val="bg1"/>
                  </a:solidFill>
                  <a:latin typeface="Segoe UI" panose="020B0502040204020203" pitchFamily="34" charset="0"/>
                  <a:cs typeface="Segoe UI" panose="020B0502040204020203" pitchFamily="34" charset="0"/>
                </a:rPr>
                <a:t> </a:t>
              </a:r>
              <a:r>
                <a:rPr lang="en-GB" b="1" dirty="0" err="1">
                  <a:solidFill>
                    <a:schemeClr val="bg1"/>
                  </a:solidFill>
                  <a:latin typeface="Segoe UI" panose="020B0502040204020203" pitchFamily="34" charset="0"/>
                  <a:cs typeface="Segoe UI" panose="020B0502040204020203" pitchFamily="34" charset="0"/>
                </a:rPr>
                <a:t>Erdienungszeitraum</a:t>
              </a:r>
              <a:r>
                <a:rPr lang="en-GB" b="1" dirty="0">
                  <a:solidFill>
                    <a:schemeClr val="bg1"/>
                  </a:solidFill>
                  <a:latin typeface="Segoe UI" panose="020B0502040204020203" pitchFamily="34" charset="0"/>
                  <a:cs typeface="Segoe UI" panose="020B0502040204020203" pitchFamily="34" charset="0"/>
                </a:rPr>
                <a:t> 30 Jahre </a:t>
              </a:r>
            </a:p>
          </p:txBody>
        </p:sp>
        <p:sp>
          <p:nvSpPr>
            <p:cNvPr id="7" name="Line 8">
              <a:extLst>
                <a:ext uri="{FF2B5EF4-FFF2-40B4-BE49-F238E27FC236}">
                  <a16:creationId xmlns:a16="http://schemas.microsoft.com/office/drawing/2014/main" id="{FC6C4205-6B52-A9C3-DA1E-E50F806785E0}"/>
                </a:ext>
              </a:extLst>
            </p:cNvPr>
            <p:cNvSpPr>
              <a:spLocks noChangeShapeType="1"/>
            </p:cNvSpPr>
            <p:nvPr>
              <p:custDataLst>
                <p:tags r:id="rId9"/>
              </p:custDataLst>
            </p:nvPr>
          </p:nvSpPr>
          <p:spPr bwMode="auto">
            <a:xfrm>
              <a:off x="5578594" y="3031607"/>
              <a:ext cx="0" cy="291876"/>
            </a:xfrm>
            <a:prstGeom prst="line">
              <a:avLst/>
            </a:prstGeom>
            <a:noFill/>
            <a:ln w="9525">
              <a:solidFill>
                <a:schemeClr val="accent6"/>
              </a:solidFill>
              <a:round/>
              <a:headEnd type="none" w="sm" len="sm"/>
              <a:tailEnd type="triangle" w="med" len="med"/>
            </a:ln>
            <a:effectLst/>
          </p:spPr>
          <p:txBody>
            <a:bodyPr wrap="none" anchor="ctr"/>
            <a:lstStyle/>
            <a:p>
              <a:endParaRPr lang="en-GB" dirty="0"/>
            </a:p>
          </p:txBody>
        </p:sp>
        <p:sp>
          <p:nvSpPr>
            <p:cNvPr id="14" name="Line 8">
              <a:extLst>
                <a:ext uri="{FF2B5EF4-FFF2-40B4-BE49-F238E27FC236}">
                  <a16:creationId xmlns:a16="http://schemas.microsoft.com/office/drawing/2014/main" id="{86DCE449-E373-C368-419B-332594D2F130}"/>
                </a:ext>
              </a:extLst>
            </p:cNvPr>
            <p:cNvSpPr>
              <a:spLocks noChangeShapeType="1"/>
            </p:cNvSpPr>
            <p:nvPr>
              <p:custDataLst>
                <p:tags r:id="rId10"/>
              </p:custDataLst>
            </p:nvPr>
          </p:nvSpPr>
          <p:spPr bwMode="auto">
            <a:xfrm>
              <a:off x="2387209" y="3001973"/>
              <a:ext cx="0" cy="291876"/>
            </a:xfrm>
            <a:prstGeom prst="line">
              <a:avLst/>
            </a:prstGeom>
            <a:noFill/>
            <a:ln w="9525">
              <a:solidFill>
                <a:schemeClr val="accent6"/>
              </a:solidFill>
              <a:round/>
              <a:headEnd type="none" w="sm" len="sm"/>
              <a:tailEnd type="triangle" w="med" len="med"/>
            </a:ln>
            <a:effectLst/>
          </p:spPr>
          <p:txBody>
            <a:bodyPr wrap="none" anchor="ctr"/>
            <a:lstStyle/>
            <a:p>
              <a:endParaRPr lang="en-GB" dirty="0"/>
            </a:p>
          </p:txBody>
        </p:sp>
        <p:grpSp>
          <p:nvGrpSpPr>
            <p:cNvPr id="16" name="Group 177">
              <a:extLst>
                <a:ext uri="{FF2B5EF4-FFF2-40B4-BE49-F238E27FC236}">
                  <a16:creationId xmlns:a16="http://schemas.microsoft.com/office/drawing/2014/main" id="{AC02F1AF-BE53-6111-688A-242B4212DFA9}"/>
                </a:ext>
              </a:extLst>
            </p:cNvPr>
            <p:cNvGrpSpPr/>
            <p:nvPr/>
          </p:nvGrpSpPr>
          <p:grpSpPr>
            <a:xfrm>
              <a:off x="3013348" y="6117145"/>
              <a:ext cx="284708" cy="243447"/>
              <a:chOff x="2784953" y="5451296"/>
              <a:chExt cx="468912" cy="400954"/>
            </a:xfrm>
            <a:solidFill>
              <a:srgbClr val="FBBA00"/>
            </a:solidFill>
          </p:grpSpPr>
          <p:sp>
            <p:nvSpPr>
              <p:cNvPr id="21" name="Line 1242">
                <a:extLst>
                  <a:ext uri="{FF2B5EF4-FFF2-40B4-BE49-F238E27FC236}">
                    <a16:creationId xmlns:a16="http://schemas.microsoft.com/office/drawing/2014/main" id="{61A54E34-4A48-ECA6-5627-00EEE66A4F76}"/>
                  </a:ext>
                </a:extLst>
              </p:cNvPr>
              <p:cNvSpPr>
                <a:spLocks noChangeShapeType="1"/>
              </p:cNvSpPr>
              <p:nvPr/>
            </p:nvSpPr>
            <p:spPr bwMode="auto">
              <a:xfrm flipH="1" flipV="1">
                <a:off x="3026847" y="5451296"/>
                <a:ext cx="0" cy="92172"/>
              </a:xfrm>
              <a:prstGeom prst="line">
                <a:avLst/>
              </a:prstGeom>
              <a:grpFill/>
              <a:ln w="19050" cmpd="sng">
                <a:solidFill>
                  <a:schemeClr val="bg1"/>
                </a:solidFill>
                <a:round/>
                <a:headEnd/>
                <a:tailEnd/>
              </a:ln>
            </p:spPr>
            <p:txBody>
              <a:bodyPr/>
              <a:lstStyle/>
              <a:p>
                <a:endParaRPr lang="de-DE" dirty="0"/>
              </a:p>
            </p:txBody>
          </p:sp>
          <p:sp>
            <p:nvSpPr>
              <p:cNvPr id="22" name="Line 1243">
                <a:extLst>
                  <a:ext uri="{FF2B5EF4-FFF2-40B4-BE49-F238E27FC236}">
                    <a16:creationId xmlns:a16="http://schemas.microsoft.com/office/drawing/2014/main" id="{40C4FBF6-7626-2A78-1069-975E6AD0EEC8}"/>
                  </a:ext>
                </a:extLst>
              </p:cNvPr>
              <p:cNvSpPr>
                <a:spLocks noChangeShapeType="1"/>
              </p:cNvSpPr>
              <p:nvPr/>
            </p:nvSpPr>
            <p:spPr bwMode="auto">
              <a:xfrm flipV="1">
                <a:off x="3165652" y="5580342"/>
                <a:ext cx="78927" cy="46086"/>
              </a:xfrm>
              <a:prstGeom prst="line">
                <a:avLst/>
              </a:prstGeom>
              <a:grpFill/>
              <a:ln w="19050" cmpd="sng">
                <a:solidFill>
                  <a:schemeClr val="bg1"/>
                </a:solidFill>
                <a:round/>
                <a:headEnd/>
                <a:tailEnd/>
              </a:ln>
            </p:spPr>
            <p:txBody>
              <a:bodyPr/>
              <a:lstStyle/>
              <a:p>
                <a:endParaRPr lang="de-DE" dirty="0"/>
              </a:p>
            </p:txBody>
          </p:sp>
          <p:sp>
            <p:nvSpPr>
              <p:cNvPr id="23" name="Line 1244">
                <a:extLst>
                  <a:ext uri="{FF2B5EF4-FFF2-40B4-BE49-F238E27FC236}">
                    <a16:creationId xmlns:a16="http://schemas.microsoft.com/office/drawing/2014/main" id="{FC1A3297-FEA2-105B-15B8-4B6A944EB28C}"/>
                  </a:ext>
                </a:extLst>
              </p:cNvPr>
              <p:cNvSpPr>
                <a:spLocks noChangeShapeType="1"/>
              </p:cNvSpPr>
              <p:nvPr/>
            </p:nvSpPr>
            <p:spPr bwMode="auto">
              <a:xfrm>
                <a:off x="3170296" y="5796945"/>
                <a:ext cx="83569" cy="46086"/>
              </a:xfrm>
              <a:prstGeom prst="line">
                <a:avLst/>
              </a:prstGeom>
              <a:grpFill/>
              <a:ln w="19050" cmpd="sng">
                <a:solidFill>
                  <a:schemeClr val="bg1"/>
                </a:solidFill>
                <a:round/>
                <a:headEnd/>
                <a:tailEnd/>
              </a:ln>
            </p:spPr>
            <p:txBody>
              <a:bodyPr/>
              <a:lstStyle/>
              <a:p>
                <a:endParaRPr lang="de-DE" dirty="0"/>
              </a:p>
            </p:txBody>
          </p:sp>
          <p:sp>
            <p:nvSpPr>
              <p:cNvPr id="24" name="Line 1245">
                <a:extLst>
                  <a:ext uri="{FF2B5EF4-FFF2-40B4-BE49-F238E27FC236}">
                    <a16:creationId xmlns:a16="http://schemas.microsoft.com/office/drawing/2014/main" id="{25D1ACB3-CF93-9969-2965-922482E73C5C}"/>
                  </a:ext>
                </a:extLst>
              </p:cNvPr>
              <p:cNvSpPr>
                <a:spLocks noChangeShapeType="1"/>
              </p:cNvSpPr>
              <p:nvPr/>
            </p:nvSpPr>
            <p:spPr bwMode="auto">
              <a:xfrm flipH="1">
                <a:off x="2789591" y="5806164"/>
                <a:ext cx="78927" cy="46086"/>
              </a:xfrm>
              <a:prstGeom prst="line">
                <a:avLst/>
              </a:prstGeom>
              <a:grpFill/>
              <a:ln w="19050" cmpd="sng">
                <a:solidFill>
                  <a:schemeClr val="bg1"/>
                </a:solidFill>
                <a:round/>
                <a:headEnd/>
                <a:tailEnd/>
              </a:ln>
            </p:spPr>
            <p:txBody>
              <a:bodyPr/>
              <a:lstStyle/>
              <a:p>
                <a:endParaRPr lang="de-DE" dirty="0"/>
              </a:p>
            </p:txBody>
          </p:sp>
          <p:sp>
            <p:nvSpPr>
              <p:cNvPr id="25" name="Line 1246">
                <a:extLst>
                  <a:ext uri="{FF2B5EF4-FFF2-40B4-BE49-F238E27FC236}">
                    <a16:creationId xmlns:a16="http://schemas.microsoft.com/office/drawing/2014/main" id="{26B26824-3121-941B-3DF3-8320180AE150}"/>
                  </a:ext>
                </a:extLst>
              </p:cNvPr>
              <p:cNvSpPr>
                <a:spLocks noChangeShapeType="1"/>
              </p:cNvSpPr>
              <p:nvPr/>
            </p:nvSpPr>
            <p:spPr bwMode="auto">
              <a:xfrm flipH="1" flipV="1">
                <a:off x="2784953" y="5589554"/>
                <a:ext cx="83569" cy="41479"/>
              </a:xfrm>
              <a:prstGeom prst="line">
                <a:avLst/>
              </a:prstGeom>
              <a:grpFill/>
              <a:ln w="19050" cmpd="sng">
                <a:solidFill>
                  <a:schemeClr val="bg1"/>
                </a:solidFill>
                <a:round/>
                <a:headEnd/>
                <a:tailEnd/>
              </a:ln>
            </p:spPr>
            <p:txBody>
              <a:bodyPr/>
              <a:lstStyle/>
              <a:p>
                <a:endParaRPr lang="de-DE" dirty="0"/>
              </a:p>
            </p:txBody>
          </p:sp>
        </p:grpSp>
        <p:sp>
          <p:nvSpPr>
            <p:cNvPr id="18" name="PrognosTextBox">
              <a:extLst>
                <a:ext uri="{FF2B5EF4-FFF2-40B4-BE49-F238E27FC236}">
                  <a16:creationId xmlns:a16="http://schemas.microsoft.com/office/drawing/2014/main" id="{73D85784-E6AD-59B1-20A2-649F2D39CEA9}"/>
                </a:ext>
              </a:extLst>
            </p:cNvPr>
            <p:cNvSpPr>
              <a:spLocks/>
            </p:cNvSpPr>
            <p:nvPr>
              <p:custDataLst>
                <p:tags r:id="rId11"/>
              </p:custDataLst>
            </p:nvPr>
          </p:nvSpPr>
          <p:spPr>
            <a:xfrm>
              <a:off x="1733333" y="2478753"/>
              <a:ext cx="1492233" cy="523220"/>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err="1">
                  <a:latin typeface="Segoe UI" panose="020B0502040204020203" pitchFamily="34" charset="0"/>
                  <a:cs typeface="Segoe UI" panose="020B0502040204020203" pitchFamily="34" charset="0"/>
                </a:rPr>
                <a:t>Pensionszusage</a:t>
              </a:r>
              <a:r>
                <a:rPr lang="en-GB" sz="1400" dirty="0">
                  <a:latin typeface="Segoe UI" panose="020B0502040204020203" pitchFamily="34" charset="0"/>
                  <a:cs typeface="Segoe UI" panose="020B0502040204020203" pitchFamily="34" charset="0"/>
                </a:rPr>
                <a:t> 3.000 €</a:t>
              </a:r>
            </a:p>
          </p:txBody>
        </p:sp>
      </p:grpSp>
      <p:sp>
        <p:nvSpPr>
          <p:cNvPr id="35" name="PrognosTextBox">
            <a:extLst>
              <a:ext uri="{FF2B5EF4-FFF2-40B4-BE49-F238E27FC236}">
                <a16:creationId xmlns:a16="http://schemas.microsoft.com/office/drawing/2014/main" id="{5CFE2444-4E9E-5479-4CEC-E2940E6D9AF8}"/>
              </a:ext>
            </a:extLst>
          </p:cNvPr>
          <p:cNvSpPr>
            <a:spLocks/>
          </p:cNvSpPr>
          <p:nvPr>
            <p:custDataLst>
              <p:tags r:id="rId2"/>
            </p:custDataLst>
          </p:nvPr>
        </p:nvSpPr>
        <p:spPr>
          <a:xfrm>
            <a:off x="1795275" y="3882748"/>
            <a:ext cx="1492233" cy="307777"/>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a:latin typeface="Segoe UI" panose="020B0502040204020203" pitchFamily="34" charset="0"/>
                <a:cs typeface="Segoe UI" panose="020B0502040204020203" pitchFamily="34" charset="0"/>
              </a:rPr>
              <a:t>01.01.2010</a:t>
            </a:r>
          </a:p>
        </p:txBody>
      </p:sp>
      <p:sp>
        <p:nvSpPr>
          <p:cNvPr id="36" name="PrognosTextBox">
            <a:extLst>
              <a:ext uri="{FF2B5EF4-FFF2-40B4-BE49-F238E27FC236}">
                <a16:creationId xmlns:a16="http://schemas.microsoft.com/office/drawing/2014/main" id="{893C786B-2C5C-BDF2-5184-A7CD02B1EA50}"/>
              </a:ext>
            </a:extLst>
          </p:cNvPr>
          <p:cNvSpPr>
            <a:spLocks/>
          </p:cNvSpPr>
          <p:nvPr>
            <p:custDataLst>
              <p:tags r:id="rId3"/>
            </p:custDataLst>
          </p:nvPr>
        </p:nvSpPr>
        <p:spPr>
          <a:xfrm>
            <a:off x="4843788" y="3882748"/>
            <a:ext cx="1492233" cy="307777"/>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a:latin typeface="Segoe UI" panose="020B0502040204020203" pitchFamily="34" charset="0"/>
                <a:cs typeface="Segoe UI" panose="020B0502040204020203" pitchFamily="34" charset="0"/>
              </a:rPr>
              <a:t>01.01.2025</a:t>
            </a:r>
          </a:p>
        </p:txBody>
      </p:sp>
      <p:sp>
        <p:nvSpPr>
          <p:cNvPr id="37" name="PrognosTextBox">
            <a:extLst>
              <a:ext uri="{FF2B5EF4-FFF2-40B4-BE49-F238E27FC236}">
                <a16:creationId xmlns:a16="http://schemas.microsoft.com/office/drawing/2014/main" id="{19250CBF-D887-721E-B65F-0B39C14D5987}"/>
              </a:ext>
            </a:extLst>
          </p:cNvPr>
          <p:cNvSpPr>
            <a:spLocks/>
          </p:cNvSpPr>
          <p:nvPr>
            <p:custDataLst>
              <p:tags r:id="rId4"/>
            </p:custDataLst>
          </p:nvPr>
        </p:nvSpPr>
        <p:spPr>
          <a:xfrm>
            <a:off x="4867461" y="2493560"/>
            <a:ext cx="1492233" cy="523220"/>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err="1">
                <a:latin typeface="Segoe UI" panose="020B0502040204020203" pitchFamily="34" charset="0"/>
                <a:cs typeface="Segoe UI" panose="020B0502040204020203" pitchFamily="34" charset="0"/>
              </a:rPr>
              <a:t>Absenkung</a:t>
            </a:r>
            <a:r>
              <a:rPr lang="en-GB" sz="1400" dirty="0">
                <a:latin typeface="Segoe UI" panose="020B0502040204020203" pitchFamily="34" charset="0"/>
                <a:cs typeface="Segoe UI" panose="020B0502040204020203" pitchFamily="34" charset="0"/>
              </a:rPr>
              <a:t> auf 1.500 €</a:t>
            </a:r>
          </a:p>
        </p:txBody>
      </p:sp>
      <p:sp>
        <p:nvSpPr>
          <p:cNvPr id="38" name="PrognosTextBox">
            <a:extLst>
              <a:ext uri="{FF2B5EF4-FFF2-40B4-BE49-F238E27FC236}">
                <a16:creationId xmlns:a16="http://schemas.microsoft.com/office/drawing/2014/main" id="{15C60BC4-F394-5D1B-1A86-6AE5EFF39F74}"/>
              </a:ext>
            </a:extLst>
          </p:cNvPr>
          <p:cNvSpPr>
            <a:spLocks/>
          </p:cNvSpPr>
          <p:nvPr>
            <p:custDataLst>
              <p:tags r:id="rId5"/>
            </p:custDataLst>
          </p:nvPr>
        </p:nvSpPr>
        <p:spPr>
          <a:xfrm>
            <a:off x="7937110" y="2493519"/>
            <a:ext cx="1492233" cy="566309"/>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err="1">
                <a:latin typeface="Segoe UI" panose="020B0502040204020203" pitchFamily="34" charset="0"/>
                <a:cs typeface="Segoe UI" panose="020B0502040204020203" pitchFamily="34" charset="0"/>
              </a:rPr>
              <a:t>Eintritt</a:t>
            </a:r>
            <a:r>
              <a:rPr lang="en-GB" sz="1400" dirty="0">
                <a:latin typeface="Segoe UI" panose="020B0502040204020203" pitchFamily="34" charset="0"/>
                <a:cs typeface="Segoe UI" panose="020B0502040204020203" pitchFamily="34" charset="0"/>
              </a:rPr>
              <a:t> in </a:t>
            </a:r>
          </a:p>
          <a:p>
            <a:pPr lvl="1" algn="ctr"/>
            <a:r>
              <a:rPr lang="en-GB" sz="1400" dirty="0" err="1">
                <a:latin typeface="Segoe UI" panose="020B0502040204020203" pitchFamily="34" charset="0"/>
                <a:cs typeface="Segoe UI" panose="020B0502040204020203" pitchFamily="34" charset="0"/>
              </a:rPr>
              <a:t>Ruhestand</a:t>
            </a:r>
            <a:endParaRPr lang="en-GB" sz="1400" dirty="0">
              <a:latin typeface="Segoe UI" panose="020B0502040204020203" pitchFamily="34" charset="0"/>
              <a:cs typeface="Segoe UI" panose="020B0502040204020203" pitchFamily="34" charset="0"/>
            </a:endParaRPr>
          </a:p>
        </p:txBody>
      </p:sp>
      <p:sp>
        <p:nvSpPr>
          <p:cNvPr id="39" name="Line 8">
            <a:extLst>
              <a:ext uri="{FF2B5EF4-FFF2-40B4-BE49-F238E27FC236}">
                <a16:creationId xmlns:a16="http://schemas.microsoft.com/office/drawing/2014/main" id="{ED608B36-D7B4-FD2B-EBF1-77E02C454448}"/>
              </a:ext>
            </a:extLst>
          </p:cNvPr>
          <p:cNvSpPr>
            <a:spLocks noChangeShapeType="1"/>
          </p:cNvSpPr>
          <p:nvPr>
            <p:custDataLst>
              <p:tags r:id="rId6"/>
            </p:custDataLst>
          </p:nvPr>
        </p:nvSpPr>
        <p:spPr bwMode="auto">
          <a:xfrm>
            <a:off x="8697205" y="3031607"/>
            <a:ext cx="0" cy="291876"/>
          </a:xfrm>
          <a:prstGeom prst="line">
            <a:avLst/>
          </a:prstGeom>
          <a:noFill/>
          <a:ln w="9525">
            <a:solidFill>
              <a:schemeClr val="accent6"/>
            </a:solidFill>
            <a:round/>
            <a:headEnd type="none" w="sm" len="sm"/>
            <a:tailEnd type="triangle" w="med" len="med"/>
          </a:ln>
          <a:effectLst/>
        </p:spPr>
        <p:txBody>
          <a:bodyPr wrap="none" anchor="ctr"/>
          <a:lstStyle/>
          <a:p>
            <a:endParaRPr lang="en-GB" dirty="0"/>
          </a:p>
        </p:txBody>
      </p:sp>
      <p:sp>
        <p:nvSpPr>
          <p:cNvPr id="40" name="PrognosTextBox">
            <a:extLst>
              <a:ext uri="{FF2B5EF4-FFF2-40B4-BE49-F238E27FC236}">
                <a16:creationId xmlns:a16="http://schemas.microsoft.com/office/drawing/2014/main" id="{3C0B1B74-66D8-DB6A-D1A7-2201F5796861}"/>
              </a:ext>
            </a:extLst>
          </p:cNvPr>
          <p:cNvSpPr>
            <a:spLocks/>
          </p:cNvSpPr>
          <p:nvPr>
            <p:custDataLst>
              <p:tags r:id="rId7"/>
            </p:custDataLst>
          </p:nvPr>
        </p:nvSpPr>
        <p:spPr>
          <a:xfrm>
            <a:off x="7985981" y="3876941"/>
            <a:ext cx="1492233" cy="307777"/>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a:latin typeface="Segoe UI" panose="020B0502040204020203" pitchFamily="34" charset="0"/>
                <a:cs typeface="Segoe UI" panose="020B0502040204020203" pitchFamily="34" charset="0"/>
              </a:rPr>
              <a:t>01.01.2040</a:t>
            </a:r>
          </a:p>
        </p:txBody>
      </p:sp>
      <p:sp>
        <p:nvSpPr>
          <p:cNvPr id="41" name="Geschweifte Klammer rechts 40">
            <a:extLst>
              <a:ext uri="{FF2B5EF4-FFF2-40B4-BE49-F238E27FC236}">
                <a16:creationId xmlns:a16="http://schemas.microsoft.com/office/drawing/2014/main" id="{F02B901F-2F0D-9F8D-79BE-21B40B9D8BDB}"/>
              </a:ext>
            </a:extLst>
          </p:cNvPr>
          <p:cNvSpPr/>
          <p:nvPr/>
        </p:nvSpPr>
        <p:spPr>
          <a:xfrm rot="5400000">
            <a:off x="3637965" y="3105696"/>
            <a:ext cx="741955" cy="3058989"/>
          </a:xfrm>
          <a:prstGeom prst="rightBrace">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de-DE" dirty="0"/>
          </a:p>
        </p:txBody>
      </p:sp>
      <p:sp>
        <p:nvSpPr>
          <p:cNvPr id="43" name="Geschweifte Klammer rechts 42">
            <a:extLst>
              <a:ext uri="{FF2B5EF4-FFF2-40B4-BE49-F238E27FC236}">
                <a16:creationId xmlns:a16="http://schemas.microsoft.com/office/drawing/2014/main" id="{6C2B24C0-4A0D-23EF-817A-45D4BC2A9BAA}"/>
              </a:ext>
            </a:extLst>
          </p:cNvPr>
          <p:cNvSpPr/>
          <p:nvPr/>
        </p:nvSpPr>
        <p:spPr>
          <a:xfrm rot="5400000">
            <a:off x="6796733" y="3113038"/>
            <a:ext cx="741955" cy="3058989"/>
          </a:xfrm>
          <a:prstGeom prst="rightBrace">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de-DE" dirty="0"/>
          </a:p>
        </p:txBody>
      </p:sp>
      <p:sp>
        <p:nvSpPr>
          <p:cNvPr id="44" name="7 CuadroTexto">
            <a:extLst>
              <a:ext uri="{FF2B5EF4-FFF2-40B4-BE49-F238E27FC236}">
                <a16:creationId xmlns:a16="http://schemas.microsoft.com/office/drawing/2014/main" id="{A5BB8896-CACE-A068-4C0C-4B355BE8205F}"/>
              </a:ext>
            </a:extLst>
          </p:cNvPr>
          <p:cNvSpPr txBox="1"/>
          <p:nvPr/>
        </p:nvSpPr>
        <p:spPr>
          <a:xfrm>
            <a:off x="3428007" y="5006168"/>
            <a:ext cx="2110430" cy="1021690"/>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i="1" dirty="0">
                <a:latin typeface="Segoe UI" panose="020B0502040204020203" pitchFamily="34" charset="0"/>
                <a:cs typeface="Segoe UI" panose="020B0502040204020203" pitchFamily="34" charset="0"/>
                <a:sym typeface="Wingdings" panose="05000000000000000000" pitchFamily="2" charset="2"/>
              </a:rPr>
              <a:t>„</a:t>
            </a:r>
            <a:r>
              <a:rPr lang="de-DE" sz="1400" i="1" dirty="0" err="1">
                <a:latin typeface="Segoe UI" panose="020B0502040204020203" pitchFamily="34" charset="0"/>
                <a:cs typeface="Segoe UI" panose="020B0502040204020203" pitchFamily="34" charset="0"/>
                <a:sym typeface="Wingdings" panose="05000000000000000000" pitchFamily="2" charset="2"/>
              </a:rPr>
              <a:t>past</a:t>
            </a:r>
            <a:r>
              <a:rPr lang="de-DE" sz="1400" i="1" dirty="0">
                <a:latin typeface="Segoe UI" panose="020B0502040204020203" pitchFamily="34" charset="0"/>
                <a:cs typeface="Segoe UI" panose="020B0502040204020203" pitchFamily="34" charset="0"/>
                <a:sym typeface="Wingdings" panose="05000000000000000000" pitchFamily="2" charset="2"/>
              </a:rPr>
              <a:t>-service“</a:t>
            </a:r>
          </a:p>
          <a:p>
            <a:pPr>
              <a:lnSpc>
                <a:spcPct val="150000"/>
              </a:lnSpc>
            </a:pPr>
            <a:r>
              <a:rPr lang="de-DE" sz="1400" dirty="0" err="1">
                <a:latin typeface="Segoe UI" panose="020B0502040204020203" pitchFamily="34" charset="0"/>
                <a:cs typeface="Segoe UI" panose="020B0502040204020203" pitchFamily="34" charset="0"/>
                <a:sym typeface="Wingdings" panose="05000000000000000000" pitchFamily="2" charset="2"/>
              </a:rPr>
              <a:t>erdienter</a:t>
            </a:r>
            <a:r>
              <a:rPr lang="de-DE" sz="1400" dirty="0">
                <a:latin typeface="Segoe UI" panose="020B0502040204020203" pitchFamily="34" charset="0"/>
                <a:cs typeface="Segoe UI" panose="020B0502040204020203" pitchFamily="34" charset="0"/>
                <a:sym typeface="Wingdings" panose="05000000000000000000" pitchFamily="2" charset="2"/>
              </a:rPr>
              <a:t> Anspruch  </a:t>
            </a:r>
          </a:p>
          <a:p>
            <a:pPr>
              <a:lnSpc>
                <a:spcPct val="150000"/>
              </a:lnSpc>
            </a:pPr>
            <a:endParaRPr lang="de-DE" sz="1400" dirty="0">
              <a:latin typeface="Segoe UI" panose="020B0502040204020203" pitchFamily="34" charset="0"/>
              <a:cs typeface="Segoe UI" panose="020B0502040204020203" pitchFamily="34" charset="0"/>
            </a:endParaRPr>
          </a:p>
        </p:txBody>
      </p:sp>
      <p:sp>
        <p:nvSpPr>
          <p:cNvPr id="45" name="7 CuadroTexto">
            <a:extLst>
              <a:ext uri="{FF2B5EF4-FFF2-40B4-BE49-F238E27FC236}">
                <a16:creationId xmlns:a16="http://schemas.microsoft.com/office/drawing/2014/main" id="{AA039569-9D58-B54C-6CEF-3CB664B8F7D6}"/>
              </a:ext>
            </a:extLst>
          </p:cNvPr>
          <p:cNvSpPr txBox="1"/>
          <p:nvPr/>
        </p:nvSpPr>
        <p:spPr>
          <a:xfrm>
            <a:off x="6332763" y="5006168"/>
            <a:ext cx="2110430" cy="134485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i="1" dirty="0">
                <a:latin typeface="Segoe UI" panose="020B0502040204020203" pitchFamily="34" charset="0"/>
                <a:cs typeface="Segoe UI" panose="020B0502040204020203" pitchFamily="34" charset="0"/>
                <a:sym typeface="Wingdings" panose="05000000000000000000" pitchFamily="2" charset="2"/>
              </a:rPr>
              <a:t>„</a:t>
            </a:r>
            <a:r>
              <a:rPr lang="de-DE" sz="1400" i="1" dirty="0" err="1">
                <a:latin typeface="Segoe UI" panose="020B0502040204020203" pitchFamily="34" charset="0"/>
                <a:cs typeface="Segoe UI" panose="020B0502040204020203" pitchFamily="34" charset="0"/>
                <a:sym typeface="Wingdings" panose="05000000000000000000" pitchFamily="2" charset="2"/>
              </a:rPr>
              <a:t>future</a:t>
            </a:r>
            <a:r>
              <a:rPr lang="de-DE" sz="1400" i="1" dirty="0">
                <a:latin typeface="Segoe UI" panose="020B0502040204020203" pitchFamily="34" charset="0"/>
                <a:cs typeface="Segoe UI" panose="020B0502040204020203" pitchFamily="34" charset="0"/>
                <a:sym typeface="Wingdings" panose="05000000000000000000" pitchFamily="2" charset="2"/>
              </a:rPr>
              <a:t>-service“</a:t>
            </a:r>
          </a:p>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noch nicht </a:t>
            </a:r>
            <a:r>
              <a:rPr lang="de-DE" sz="1400" dirty="0" err="1">
                <a:latin typeface="Segoe UI" panose="020B0502040204020203" pitchFamily="34" charset="0"/>
                <a:cs typeface="Segoe UI" panose="020B0502040204020203" pitchFamily="34" charset="0"/>
                <a:sym typeface="Wingdings" panose="05000000000000000000" pitchFamily="2" charset="2"/>
              </a:rPr>
              <a:t>erdienter</a:t>
            </a:r>
            <a:r>
              <a:rPr lang="de-DE" sz="1400" dirty="0">
                <a:latin typeface="Segoe UI" panose="020B0502040204020203" pitchFamily="34" charset="0"/>
                <a:cs typeface="Segoe UI" panose="020B0502040204020203" pitchFamily="34" charset="0"/>
                <a:sym typeface="Wingdings" panose="05000000000000000000" pitchFamily="2" charset="2"/>
              </a:rPr>
              <a:t> Anspruch  </a:t>
            </a:r>
          </a:p>
          <a:p>
            <a:pPr>
              <a:lnSpc>
                <a:spcPct val="150000"/>
              </a:lnSpc>
            </a:pPr>
            <a:endParaRPr lang="de-DE" sz="1400" dirty="0">
              <a:latin typeface="Segoe UI" panose="020B0502040204020203" pitchFamily="34" charset="0"/>
              <a:cs typeface="Segoe UI" panose="020B0502040204020203" pitchFamily="34" charset="0"/>
            </a:endParaRPr>
          </a:p>
        </p:txBody>
      </p:sp>
      <p:sp>
        <p:nvSpPr>
          <p:cNvPr id="46" name="7 CuadroTexto">
            <a:extLst>
              <a:ext uri="{FF2B5EF4-FFF2-40B4-BE49-F238E27FC236}">
                <a16:creationId xmlns:a16="http://schemas.microsoft.com/office/drawing/2014/main" id="{08692F40-442F-7D14-2D0C-0770FBEC9794}"/>
              </a:ext>
            </a:extLst>
          </p:cNvPr>
          <p:cNvSpPr txBox="1"/>
          <p:nvPr/>
        </p:nvSpPr>
        <p:spPr>
          <a:xfrm>
            <a:off x="3617746" y="4152421"/>
            <a:ext cx="2110430"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15 Jahre </a:t>
            </a:r>
          </a:p>
          <a:p>
            <a:pPr>
              <a:lnSpc>
                <a:spcPct val="150000"/>
              </a:lnSpc>
            </a:pPr>
            <a:endParaRPr lang="de-DE" sz="1400" dirty="0">
              <a:latin typeface="Segoe UI" panose="020B0502040204020203" pitchFamily="34" charset="0"/>
              <a:cs typeface="Segoe UI" panose="020B0502040204020203" pitchFamily="34" charset="0"/>
            </a:endParaRPr>
          </a:p>
        </p:txBody>
      </p:sp>
      <p:sp>
        <p:nvSpPr>
          <p:cNvPr id="47" name="7 CuadroTexto">
            <a:extLst>
              <a:ext uri="{FF2B5EF4-FFF2-40B4-BE49-F238E27FC236}">
                <a16:creationId xmlns:a16="http://schemas.microsoft.com/office/drawing/2014/main" id="{5EF8A676-4F4A-2670-102D-DFAE84A0F1E2}"/>
              </a:ext>
            </a:extLst>
          </p:cNvPr>
          <p:cNvSpPr txBox="1"/>
          <p:nvPr/>
        </p:nvSpPr>
        <p:spPr>
          <a:xfrm>
            <a:off x="6709682" y="4145768"/>
            <a:ext cx="2110430"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15 Jahre </a:t>
            </a:r>
          </a:p>
          <a:p>
            <a:pPr>
              <a:lnSpc>
                <a:spcPct val="150000"/>
              </a:lnSpc>
            </a:pPr>
            <a:endParaRPr lang="de-DE" sz="1400" dirty="0">
              <a:latin typeface="Segoe UI" panose="020B0502040204020203" pitchFamily="34" charset="0"/>
              <a:cs typeface="Segoe UI" panose="020B0502040204020203" pitchFamily="34" charset="0"/>
            </a:endParaRPr>
          </a:p>
        </p:txBody>
      </p:sp>
      <p:sp>
        <p:nvSpPr>
          <p:cNvPr id="9" name="Line 1243">
            <a:extLst>
              <a:ext uri="{FF2B5EF4-FFF2-40B4-BE49-F238E27FC236}">
                <a16:creationId xmlns:a16="http://schemas.microsoft.com/office/drawing/2014/main" id="{BE023654-7EF4-28C5-C69D-C584FF84A6F8}"/>
              </a:ext>
            </a:extLst>
          </p:cNvPr>
          <p:cNvSpPr>
            <a:spLocks noChangeShapeType="1"/>
          </p:cNvSpPr>
          <p:nvPr/>
        </p:nvSpPr>
        <p:spPr bwMode="auto">
          <a:xfrm flipV="1">
            <a:off x="8186441" y="5902738"/>
            <a:ext cx="47922" cy="27982"/>
          </a:xfrm>
          <a:prstGeom prst="line">
            <a:avLst/>
          </a:prstGeom>
          <a:solidFill>
            <a:srgbClr val="FBBA00"/>
          </a:solidFill>
          <a:ln w="19050" cmpd="sng">
            <a:solidFill>
              <a:schemeClr val="bg1"/>
            </a:solidFill>
            <a:round/>
            <a:headEnd/>
            <a:tailEnd/>
          </a:ln>
        </p:spPr>
        <p:txBody>
          <a:bodyPr/>
          <a:lstStyle/>
          <a:p>
            <a:endParaRPr lang="de-DE" dirty="0"/>
          </a:p>
        </p:txBody>
      </p:sp>
      <p:sp>
        <p:nvSpPr>
          <p:cNvPr id="10" name="Line 1244">
            <a:extLst>
              <a:ext uri="{FF2B5EF4-FFF2-40B4-BE49-F238E27FC236}">
                <a16:creationId xmlns:a16="http://schemas.microsoft.com/office/drawing/2014/main" id="{2756DC6C-426C-5332-F5E8-64DE6B6ED72A}"/>
              </a:ext>
            </a:extLst>
          </p:cNvPr>
          <p:cNvSpPr>
            <a:spLocks noChangeShapeType="1"/>
          </p:cNvSpPr>
          <p:nvPr/>
        </p:nvSpPr>
        <p:spPr bwMode="auto">
          <a:xfrm>
            <a:off x="8189260" y="6034253"/>
            <a:ext cx="50740" cy="27982"/>
          </a:xfrm>
          <a:prstGeom prst="line">
            <a:avLst/>
          </a:prstGeom>
          <a:solidFill>
            <a:srgbClr val="FBBA00"/>
          </a:solidFill>
          <a:ln w="19050" cmpd="sng">
            <a:solidFill>
              <a:schemeClr val="bg1"/>
            </a:solidFill>
            <a:round/>
            <a:headEnd/>
            <a:tailEnd/>
          </a:ln>
        </p:spPr>
        <p:txBody>
          <a:bodyPr/>
          <a:lstStyle/>
          <a:p>
            <a:endParaRPr lang="de-DE" dirty="0"/>
          </a:p>
        </p:txBody>
      </p:sp>
      <p:sp>
        <p:nvSpPr>
          <p:cNvPr id="11" name="Line 1245">
            <a:extLst>
              <a:ext uri="{FF2B5EF4-FFF2-40B4-BE49-F238E27FC236}">
                <a16:creationId xmlns:a16="http://schemas.microsoft.com/office/drawing/2014/main" id="{86A9306A-11AE-5ADF-5028-85F10AA8DF5D}"/>
              </a:ext>
            </a:extLst>
          </p:cNvPr>
          <p:cNvSpPr>
            <a:spLocks noChangeShapeType="1"/>
          </p:cNvSpPr>
          <p:nvPr/>
        </p:nvSpPr>
        <p:spPr bwMode="auto">
          <a:xfrm flipH="1">
            <a:off x="7958108" y="6039850"/>
            <a:ext cx="47922" cy="27982"/>
          </a:xfrm>
          <a:prstGeom prst="line">
            <a:avLst/>
          </a:prstGeom>
          <a:solidFill>
            <a:srgbClr val="FBBA00"/>
          </a:solidFill>
          <a:ln w="19050" cmpd="sng">
            <a:solidFill>
              <a:schemeClr val="bg1"/>
            </a:solidFill>
            <a:round/>
            <a:headEnd/>
            <a:tailEnd/>
          </a:ln>
        </p:spPr>
        <p:txBody>
          <a:bodyPr/>
          <a:lstStyle/>
          <a:p>
            <a:endParaRPr lang="de-DE" dirty="0"/>
          </a:p>
        </p:txBody>
      </p:sp>
      <p:sp>
        <p:nvSpPr>
          <p:cNvPr id="12" name="Line 1246">
            <a:extLst>
              <a:ext uri="{FF2B5EF4-FFF2-40B4-BE49-F238E27FC236}">
                <a16:creationId xmlns:a16="http://schemas.microsoft.com/office/drawing/2014/main" id="{86AC493E-71AA-9F48-BFB1-9E92B1BE175D}"/>
              </a:ext>
            </a:extLst>
          </p:cNvPr>
          <p:cNvSpPr>
            <a:spLocks noChangeShapeType="1"/>
          </p:cNvSpPr>
          <p:nvPr/>
        </p:nvSpPr>
        <p:spPr bwMode="auto">
          <a:xfrm flipH="1" flipV="1">
            <a:off x="7955292" y="5908332"/>
            <a:ext cx="50740" cy="25185"/>
          </a:xfrm>
          <a:prstGeom prst="line">
            <a:avLst/>
          </a:prstGeom>
          <a:solidFill>
            <a:srgbClr val="FBBA00"/>
          </a:solidFill>
          <a:ln w="19050" cmpd="sng">
            <a:solidFill>
              <a:schemeClr val="bg1"/>
            </a:solidFill>
            <a:round/>
            <a:headEnd/>
            <a:tailEnd/>
          </a:ln>
        </p:spPr>
        <p:txBody>
          <a:bodyPr/>
          <a:lstStyle/>
          <a:p>
            <a:endParaRPr lang="de-DE" dirty="0"/>
          </a:p>
        </p:txBody>
      </p:sp>
    </p:spTree>
    <p:extLst>
      <p:ext uri="{BB962C8B-B14F-4D97-AF65-F5344CB8AC3E}">
        <p14:creationId xmlns:p14="http://schemas.microsoft.com/office/powerpoint/2010/main" val="4214455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095681-0DDD-7E3D-573E-5A596B6D994F}"/>
            </a:ext>
          </a:extLst>
        </p:cNvPr>
        <p:cNvGrpSpPr/>
        <p:nvPr/>
      </p:nvGrpSpPr>
      <p:grpSpPr>
        <a:xfrm>
          <a:off x="0" y="0"/>
          <a:ext cx="0" cy="0"/>
          <a:chOff x="0" y="0"/>
          <a:chExt cx="0" cy="0"/>
        </a:xfrm>
      </p:grpSpPr>
      <p:sp>
        <p:nvSpPr>
          <p:cNvPr id="55" name="Slide Number Placeholder 5">
            <a:extLst>
              <a:ext uri="{FF2B5EF4-FFF2-40B4-BE49-F238E27FC236}">
                <a16:creationId xmlns:a16="http://schemas.microsoft.com/office/drawing/2014/main" id="{26C3A338-9543-168C-C99F-245144CF9558}"/>
              </a:ext>
            </a:extLst>
          </p:cNvPr>
          <p:cNvSpPr txBox="1">
            <a:spLocks/>
          </p:cNvSpPr>
          <p:nvPr>
            <p:custDataLst>
              <p:tags r:id="rId1"/>
            </p:custDataLst>
          </p:nvPr>
        </p:nvSpPr>
        <p:spPr>
          <a:xfrm>
            <a:off x="896416" y="7855507"/>
            <a:ext cx="283900" cy="151200"/>
          </a:xfrm>
          <a:prstGeom prst="rect">
            <a:avLst/>
          </a:prstGeom>
        </p:spPr>
        <p:txBody>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fld id="{3A5C5CA0-F2C0-43F9-B89F-AC7FA210C1FD}" type="slidenum">
              <a:rPr lang="en-GB" smtClean="0"/>
              <a:pPr/>
              <a:t>51</a:t>
            </a:fld>
            <a:endParaRPr lang="en-GB" dirty="0"/>
          </a:p>
        </p:txBody>
      </p:sp>
      <p:sp>
        <p:nvSpPr>
          <p:cNvPr id="85" name="TextBox 1">
            <a:extLst>
              <a:ext uri="{FF2B5EF4-FFF2-40B4-BE49-F238E27FC236}">
                <a16:creationId xmlns:a16="http://schemas.microsoft.com/office/drawing/2014/main" id="{BF191755-1BE4-2CAA-5153-C3422101B58B}"/>
              </a:ext>
            </a:extLst>
          </p:cNvPr>
          <p:cNvSpPr txBox="1"/>
          <p:nvPr/>
        </p:nvSpPr>
        <p:spPr>
          <a:xfrm>
            <a:off x="1670424" y="1084321"/>
            <a:ext cx="9324678"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Teil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Verzicht</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uf den “future-service” </a:t>
            </a:r>
          </a:p>
        </p:txBody>
      </p:sp>
      <p:grpSp>
        <p:nvGrpSpPr>
          <p:cNvPr id="2" name="Gruppieren 1">
            <a:extLst>
              <a:ext uri="{FF2B5EF4-FFF2-40B4-BE49-F238E27FC236}">
                <a16:creationId xmlns:a16="http://schemas.microsoft.com/office/drawing/2014/main" id="{9FD18D21-7512-8D63-E459-F6159C0FCAB9}"/>
              </a:ext>
            </a:extLst>
          </p:cNvPr>
          <p:cNvGrpSpPr/>
          <p:nvPr/>
        </p:nvGrpSpPr>
        <p:grpSpPr>
          <a:xfrm>
            <a:off x="1733333" y="2478753"/>
            <a:ext cx="8384600" cy="3881839"/>
            <a:chOff x="1733333" y="2478753"/>
            <a:chExt cx="8384600" cy="3881839"/>
          </a:xfrm>
        </p:grpSpPr>
        <p:sp>
          <p:nvSpPr>
            <p:cNvPr id="6" name="AutoShape 3">
              <a:extLst>
                <a:ext uri="{FF2B5EF4-FFF2-40B4-BE49-F238E27FC236}">
                  <a16:creationId xmlns:a16="http://schemas.microsoft.com/office/drawing/2014/main" id="{485332D3-D07F-74E9-743B-BEBA473BA215}"/>
                </a:ext>
              </a:extLst>
            </p:cNvPr>
            <p:cNvSpPr>
              <a:spLocks noChangeArrowheads="1"/>
            </p:cNvSpPr>
            <p:nvPr>
              <p:custDataLst>
                <p:tags r:id="rId8"/>
              </p:custDataLst>
            </p:nvPr>
          </p:nvSpPr>
          <p:spPr bwMode="auto">
            <a:xfrm>
              <a:off x="2053037" y="3351780"/>
              <a:ext cx="8064896" cy="584775"/>
            </a:xfrm>
            <a:prstGeom prst="rightArrow">
              <a:avLst>
                <a:gd name="adj1" fmla="val 67556"/>
                <a:gd name="adj2" fmla="val 90801"/>
              </a:avLst>
            </a:prstGeom>
            <a:solidFill>
              <a:srgbClr val="0093A7"/>
            </a:solidFill>
            <a:ln w="9525" cap="flat" cmpd="sng" algn="ctr">
              <a:noFill/>
              <a:prstDash val="solid"/>
              <a:miter lim="800000"/>
              <a:headEnd type="none" w="med" len="med"/>
              <a:tailEnd type="none" w="med" len="med"/>
            </a:ln>
            <a:effectLst>
              <a:outerShdw blurRad="76200" dist="12700" dir="2700000" sy="-23000" kx="-800400" algn="bl" rotWithShape="0">
                <a:prstClr val="black">
                  <a:alpha val="20000"/>
                </a:prstClr>
              </a:outerShdw>
            </a:effectLst>
          </p:spPr>
          <p:txBody>
            <a:bodyPr lIns="144000" tIns="108000" rIns="144000" bIns="108000" anchor="ctr"/>
            <a:lstStyle/>
            <a:p>
              <a:pPr marL="1588" lvl="1" algn="ctr">
                <a:spcBef>
                  <a:spcPct val="40000"/>
                </a:spcBef>
              </a:pPr>
              <a:r>
                <a:rPr lang="en-GB" b="1" dirty="0" err="1">
                  <a:solidFill>
                    <a:schemeClr val="bg1"/>
                  </a:solidFill>
                  <a:latin typeface="Segoe UI" panose="020B0502040204020203" pitchFamily="34" charset="0"/>
                  <a:cs typeface="Segoe UI" panose="020B0502040204020203" pitchFamily="34" charset="0"/>
                </a:rPr>
                <a:t>gesamter</a:t>
              </a:r>
              <a:r>
                <a:rPr lang="en-GB" b="1" dirty="0">
                  <a:solidFill>
                    <a:schemeClr val="bg1"/>
                  </a:solidFill>
                  <a:latin typeface="Segoe UI" panose="020B0502040204020203" pitchFamily="34" charset="0"/>
                  <a:cs typeface="Segoe UI" panose="020B0502040204020203" pitchFamily="34" charset="0"/>
                </a:rPr>
                <a:t> </a:t>
              </a:r>
              <a:r>
                <a:rPr lang="en-GB" b="1" dirty="0" err="1">
                  <a:solidFill>
                    <a:schemeClr val="bg1"/>
                  </a:solidFill>
                  <a:latin typeface="Segoe UI" panose="020B0502040204020203" pitchFamily="34" charset="0"/>
                  <a:cs typeface="Segoe UI" panose="020B0502040204020203" pitchFamily="34" charset="0"/>
                </a:rPr>
                <a:t>Erdienungszeitraum</a:t>
              </a:r>
              <a:r>
                <a:rPr lang="en-GB" b="1" dirty="0">
                  <a:solidFill>
                    <a:schemeClr val="bg1"/>
                  </a:solidFill>
                  <a:latin typeface="Segoe UI" panose="020B0502040204020203" pitchFamily="34" charset="0"/>
                  <a:cs typeface="Segoe UI" panose="020B0502040204020203" pitchFamily="34" charset="0"/>
                </a:rPr>
                <a:t> 30 Jahre </a:t>
              </a:r>
            </a:p>
          </p:txBody>
        </p:sp>
        <p:sp>
          <p:nvSpPr>
            <p:cNvPr id="7" name="Line 8">
              <a:extLst>
                <a:ext uri="{FF2B5EF4-FFF2-40B4-BE49-F238E27FC236}">
                  <a16:creationId xmlns:a16="http://schemas.microsoft.com/office/drawing/2014/main" id="{4728F8A9-72BA-BF7C-53A3-CCAA09B6333A}"/>
                </a:ext>
              </a:extLst>
            </p:cNvPr>
            <p:cNvSpPr>
              <a:spLocks noChangeShapeType="1"/>
            </p:cNvSpPr>
            <p:nvPr>
              <p:custDataLst>
                <p:tags r:id="rId9"/>
              </p:custDataLst>
            </p:nvPr>
          </p:nvSpPr>
          <p:spPr bwMode="auto">
            <a:xfrm>
              <a:off x="5578594" y="3031607"/>
              <a:ext cx="0" cy="291876"/>
            </a:xfrm>
            <a:prstGeom prst="line">
              <a:avLst/>
            </a:prstGeom>
            <a:noFill/>
            <a:ln w="9525">
              <a:solidFill>
                <a:schemeClr val="accent6"/>
              </a:solidFill>
              <a:round/>
              <a:headEnd type="none" w="sm" len="sm"/>
              <a:tailEnd type="triangle" w="med" len="med"/>
            </a:ln>
            <a:effectLst/>
          </p:spPr>
          <p:txBody>
            <a:bodyPr wrap="none" anchor="ctr"/>
            <a:lstStyle/>
            <a:p>
              <a:endParaRPr lang="en-GB" dirty="0"/>
            </a:p>
          </p:txBody>
        </p:sp>
        <p:sp>
          <p:nvSpPr>
            <p:cNvPr id="14" name="Line 8">
              <a:extLst>
                <a:ext uri="{FF2B5EF4-FFF2-40B4-BE49-F238E27FC236}">
                  <a16:creationId xmlns:a16="http://schemas.microsoft.com/office/drawing/2014/main" id="{8B5BD342-9564-9B60-2C7E-92034CEA34A4}"/>
                </a:ext>
              </a:extLst>
            </p:cNvPr>
            <p:cNvSpPr>
              <a:spLocks noChangeShapeType="1"/>
            </p:cNvSpPr>
            <p:nvPr>
              <p:custDataLst>
                <p:tags r:id="rId10"/>
              </p:custDataLst>
            </p:nvPr>
          </p:nvSpPr>
          <p:spPr bwMode="auto">
            <a:xfrm>
              <a:off x="2387209" y="3001973"/>
              <a:ext cx="0" cy="291876"/>
            </a:xfrm>
            <a:prstGeom prst="line">
              <a:avLst/>
            </a:prstGeom>
            <a:noFill/>
            <a:ln w="9525">
              <a:solidFill>
                <a:schemeClr val="accent6"/>
              </a:solidFill>
              <a:round/>
              <a:headEnd type="none" w="sm" len="sm"/>
              <a:tailEnd type="triangle" w="med" len="med"/>
            </a:ln>
            <a:effectLst/>
          </p:spPr>
          <p:txBody>
            <a:bodyPr wrap="none" anchor="ctr"/>
            <a:lstStyle/>
            <a:p>
              <a:endParaRPr lang="en-GB" dirty="0"/>
            </a:p>
          </p:txBody>
        </p:sp>
        <p:grpSp>
          <p:nvGrpSpPr>
            <p:cNvPr id="16" name="Group 177">
              <a:extLst>
                <a:ext uri="{FF2B5EF4-FFF2-40B4-BE49-F238E27FC236}">
                  <a16:creationId xmlns:a16="http://schemas.microsoft.com/office/drawing/2014/main" id="{E6419DCC-3E44-9D26-0B5D-E67A916C5382}"/>
                </a:ext>
              </a:extLst>
            </p:cNvPr>
            <p:cNvGrpSpPr/>
            <p:nvPr/>
          </p:nvGrpSpPr>
          <p:grpSpPr>
            <a:xfrm>
              <a:off x="3013348" y="6117145"/>
              <a:ext cx="284708" cy="243447"/>
              <a:chOff x="2784953" y="5451296"/>
              <a:chExt cx="468912" cy="400954"/>
            </a:xfrm>
            <a:solidFill>
              <a:srgbClr val="FBBA00"/>
            </a:solidFill>
          </p:grpSpPr>
          <p:sp>
            <p:nvSpPr>
              <p:cNvPr id="21" name="Line 1242">
                <a:extLst>
                  <a:ext uri="{FF2B5EF4-FFF2-40B4-BE49-F238E27FC236}">
                    <a16:creationId xmlns:a16="http://schemas.microsoft.com/office/drawing/2014/main" id="{2324C083-F1BC-4900-0288-5066ABBDC391}"/>
                  </a:ext>
                </a:extLst>
              </p:cNvPr>
              <p:cNvSpPr>
                <a:spLocks noChangeShapeType="1"/>
              </p:cNvSpPr>
              <p:nvPr/>
            </p:nvSpPr>
            <p:spPr bwMode="auto">
              <a:xfrm flipH="1" flipV="1">
                <a:off x="3026847" y="5451296"/>
                <a:ext cx="0" cy="92172"/>
              </a:xfrm>
              <a:prstGeom prst="line">
                <a:avLst/>
              </a:prstGeom>
              <a:grpFill/>
              <a:ln w="19050" cmpd="sng">
                <a:solidFill>
                  <a:schemeClr val="bg1"/>
                </a:solidFill>
                <a:round/>
                <a:headEnd/>
                <a:tailEnd/>
              </a:ln>
            </p:spPr>
            <p:txBody>
              <a:bodyPr/>
              <a:lstStyle/>
              <a:p>
                <a:endParaRPr lang="de-DE" dirty="0"/>
              </a:p>
            </p:txBody>
          </p:sp>
          <p:sp>
            <p:nvSpPr>
              <p:cNvPr id="22" name="Line 1243">
                <a:extLst>
                  <a:ext uri="{FF2B5EF4-FFF2-40B4-BE49-F238E27FC236}">
                    <a16:creationId xmlns:a16="http://schemas.microsoft.com/office/drawing/2014/main" id="{399042AD-BB6A-EAAF-E60F-112C0BFB45EA}"/>
                  </a:ext>
                </a:extLst>
              </p:cNvPr>
              <p:cNvSpPr>
                <a:spLocks noChangeShapeType="1"/>
              </p:cNvSpPr>
              <p:nvPr/>
            </p:nvSpPr>
            <p:spPr bwMode="auto">
              <a:xfrm flipV="1">
                <a:off x="3165652" y="5580342"/>
                <a:ext cx="78927" cy="46086"/>
              </a:xfrm>
              <a:prstGeom prst="line">
                <a:avLst/>
              </a:prstGeom>
              <a:grpFill/>
              <a:ln w="19050" cmpd="sng">
                <a:solidFill>
                  <a:schemeClr val="bg1"/>
                </a:solidFill>
                <a:round/>
                <a:headEnd/>
                <a:tailEnd/>
              </a:ln>
            </p:spPr>
            <p:txBody>
              <a:bodyPr/>
              <a:lstStyle/>
              <a:p>
                <a:endParaRPr lang="de-DE" dirty="0"/>
              </a:p>
            </p:txBody>
          </p:sp>
          <p:sp>
            <p:nvSpPr>
              <p:cNvPr id="23" name="Line 1244">
                <a:extLst>
                  <a:ext uri="{FF2B5EF4-FFF2-40B4-BE49-F238E27FC236}">
                    <a16:creationId xmlns:a16="http://schemas.microsoft.com/office/drawing/2014/main" id="{C0E643D1-B600-77DA-DB64-0AB1D08F8D22}"/>
                  </a:ext>
                </a:extLst>
              </p:cNvPr>
              <p:cNvSpPr>
                <a:spLocks noChangeShapeType="1"/>
              </p:cNvSpPr>
              <p:nvPr/>
            </p:nvSpPr>
            <p:spPr bwMode="auto">
              <a:xfrm>
                <a:off x="3170296" y="5796945"/>
                <a:ext cx="83569" cy="46086"/>
              </a:xfrm>
              <a:prstGeom prst="line">
                <a:avLst/>
              </a:prstGeom>
              <a:grpFill/>
              <a:ln w="19050" cmpd="sng">
                <a:solidFill>
                  <a:schemeClr val="bg1"/>
                </a:solidFill>
                <a:round/>
                <a:headEnd/>
                <a:tailEnd/>
              </a:ln>
            </p:spPr>
            <p:txBody>
              <a:bodyPr/>
              <a:lstStyle/>
              <a:p>
                <a:endParaRPr lang="de-DE" dirty="0"/>
              </a:p>
            </p:txBody>
          </p:sp>
          <p:sp>
            <p:nvSpPr>
              <p:cNvPr id="24" name="Line 1245">
                <a:extLst>
                  <a:ext uri="{FF2B5EF4-FFF2-40B4-BE49-F238E27FC236}">
                    <a16:creationId xmlns:a16="http://schemas.microsoft.com/office/drawing/2014/main" id="{2C96B164-8B60-D42B-529B-8A5DF326C008}"/>
                  </a:ext>
                </a:extLst>
              </p:cNvPr>
              <p:cNvSpPr>
                <a:spLocks noChangeShapeType="1"/>
              </p:cNvSpPr>
              <p:nvPr/>
            </p:nvSpPr>
            <p:spPr bwMode="auto">
              <a:xfrm flipH="1">
                <a:off x="2789591" y="5806164"/>
                <a:ext cx="78927" cy="46086"/>
              </a:xfrm>
              <a:prstGeom prst="line">
                <a:avLst/>
              </a:prstGeom>
              <a:grpFill/>
              <a:ln w="19050" cmpd="sng">
                <a:solidFill>
                  <a:schemeClr val="bg1"/>
                </a:solidFill>
                <a:round/>
                <a:headEnd/>
                <a:tailEnd/>
              </a:ln>
            </p:spPr>
            <p:txBody>
              <a:bodyPr/>
              <a:lstStyle/>
              <a:p>
                <a:endParaRPr lang="de-DE" dirty="0"/>
              </a:p>
            </p:txBody>
          </p:sp>
          <p:sp>
            <p:nvSpPr>
              <p:cNvPr id="25" name="Line 1246">
                <a:extLst>
                  <a:ext uri="{FF2B5EF4-FFF2-40B4-BE49-F238E27FC236}">
                    <a16:creationId xmlns:a16="http://schemas.microsoft.com/office/drawing/2014/main" id="{7CC967D4-5B3C-9F51-A462-F6BAE9379499}"/>
                  </a:ext>
                </a:extLst>
              </p:cNvPr>
              <p:cNvSpPr>
                <a:spLocks noChangeShapeType="1"/>
              </p:cNvSpPr>
              <p:nvPr/>
            </p:nvSpPr>
            <p:spPr bwMode="auto">
              <a:xfrm flipH="1" flipV="1">
                <a:off x="2784953" y="5589554"/>
                <a:ext cx="83569" cy="41479"/>
              </a:xfrm>
              <a:prstGeom prst="line">
                <a:avLst/>
              </a:prstGeom>
              <a:grpFill/>
              <a:ln w="19050" cmpd="sng">
                <a:solidFill>
                  <a:schemeClr val="bg1"/>
                </a:solidFill>
                <a:round/>
                <a:headEnd/>
                <a:tailEnd/>
              </a:ln>
            </p:spPr>
            <p:txBody>
              <a:bodyPr/>
              <a:lstStyle/>
              <a:p>
                <a:endParaRPr lang="de-DE" dirty="0"/>
              </a:p>
            </p:txBody>
          </p:sp>
        </p:grpSp>
        <p:sp>
          <p:nvSpPr>
            <p:cNvPr id="18" name="PrognosTextBox">
              <a:extLst>
                <a:ext uri="{FF2B5EF4-FFF2-40B4-BE49-F238E27FC236}">
                  <a16:creationId xmlns:a16="http://schemas.microsoft.com/office/drawing/2014/main" id="{1ABD2F00-2BCD-30D3-2FF0-03E5E8D9CDE5}"/>
                </a:ext>
              </a:extLst>
            </p:cNvPr>
            <p:cNvSpPr>
              <a:spLocks/>
            </p:cNvSpPr>
            <p:nvPr>
              <p:custDataLst>
                <p:tags r:id="rId11"/>
              </p:custDataLst>
            </p:nvPr>
          </p:nvSpPr>
          <p:spPr>
            <a:xfrm>
              <a:off x="1733333" y="2478753"/>
              <a:ext cx="1492233" cy="523220"/>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err="1">
                  <a:latin typeface="Segoe UI" panose="020B0502040204020203" pitchFamily="34" charset="0"/>
                  <a:cs typeface="Segoe UI" panose="020B0502040204020203" pitchFamily="34" charset="0"/>
                </a:rPr>
                <a:t>Pensionszusage</a:t>
              </a:r>
              <a:r>
                <a:rPr lang="en-GB" sz="1400" dirty="0">
                  <a:latin typeface="Segoe UI" panose="020B0502040204020203" pitchFamily="34" charset="0"/>
                  <a:cs typeface="Segoe UI" panose="020B0502040204020203" pitchFamily="34" charset="0"/>
                </a:rPr>
                <a:t> 3.000 €</a:t>
              </a:r>
            </a:p>
          </p:txBody>
        </p:sp>
      </p:grpSp>
      <p:sp>
        <p:nvSpPr>
          <p:cNvPr id="35" name="PrognosTextBox">
            <a:extLst>
              <a:ext uri="{FF2B5EF4-FFF2-40B4-BE49-F238E27FC236}">
                <a16:creationId xmlns:a16="http://schemas.microsoft.com/office/drawing/2014/main" id="{FB76DD18-B464-52EF-BF8C-22A4040420FF}"/>
              </a:ext>
            </a:extLst>
          </p:cNvPr>
          <p:cNvSpPr>
            <a:spLocks/>
          </p:cNvSpPr>
          <p:nvPr>
            <p:custDataLst>
              <p:tags r:id="rId2"/>
            </p:custDataLst>
          </p:nvPr>
        </p:nvSpPr>
        <p:spPr>
          <a:xfrm>
            <a:off x="1795275" y="3882748"/>
            <a:ext cx="1492233" cy="307777"/>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a:latin typeface="Segoe UI" panose="020B0502040204020203" pitchFamily="34" charset="0"/>
                <a:cs typeface="Segoe UI" panose="020B0502040204020203" pitchFamily="34" charset="0"/>
              </a:rPr>
              <a:t>01.01.2010</a:t>
            </a:r>
          </a:p>
        </p:txBody>
      </p:sp>
      <p:sp>
        <p:nvSpPr>
          <p:cNvPr id="36" name="PrognosTextBox">
            <a:extLst>
              <a:ext uri="{FF2B5EF4-FFF2-40B4-BE49-F238E27FC236}">
                <a16:creationId xmlns:a16="http://schemas.microsoft.com/office/drawing/2014/main" id="{FCC482D0-99BE-D0E4-3FDB-600C78AB16BE}"/>
              </a:ext>
            </a:extLst>
          </p:cNvPr>
          <p:cNvSpPr>
            <a:spLocks/>
          </p:cNvSpPr>
          <p:nvPr>
            <p:custDataLst>
              <p:tags r:id="rId3"/>
            </p:custDataLst>
          </p:nvPr>
        </p:nvSpPr>
        <p:spPr>
          <a:xfrm>
            <a:off x="4843788" y="3882748"/>
            <a:ext cx="1492233" cy="307777"/>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a:latin typeface="Segoe UI" panose="020B0502040204020203" pitchFamily="34" charset="0"/>
                <a:cs typeface="Segoe UI" panose="020B0502040204020203" pitchFamily="34" charset="0"/>
              </a:rPr>
              <a:t>01.01.2025</a:t>
            </a:r>
          </a:p>
        </p:txBody>
      </p:sp>
      <p:sp>
        <p:nvSpPr>
          <p:cNvPr id="37" name="PrognosTextBox">
            <a:extLst>
              <a:ext uri="{FF2B5EF4-FFF2-40B4-BE49-F238E27FC236}">
                <a16:creationId xmlns:a16="http://schemas.microsoft.com/office/drawing/2014/main" id="{3E1C9147-250E-710F-6317-25748ED95009}"/>
              </a:ext>
            </a:extLst>
          </p:cNvPr>
          <p:cNvSpPr>
            <a:spLocks/>
          </p:cNvSpPr>
          <p:nvPr>
            <p:custDataLst>
              <p:tags r:id="rId4"/>
            </p:custDataLst>
          </p:nvPr>
        </p:nvSpPr>
        <p:spPr>
          <a:xfrm>
            <a:off x="4867461" y="2493560"/>
            <a:ext cx="1492233" cy="523220"/>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err="1">
                <a:latin typeface="Segoe UI" panose="020B0502040204020203" pitchFamily="34" charset="0"/>
                <a:cs typeface="Segoe UI" panose="020B0502040204020203" pitchFamily="34" charset="0"/>
              </a:rPr>
              <a:t>Absenkung</a:t>
            </a:r>
            <a:r>
              <a:rPr lang="en-GB" sz="1400" dirty="0">
                <a:latin typeface="Segoe UI" panose="020B0502040204020203" pitchFamily="34" charset="0"/>
                <a:cs typeface="Segoe UI" panose="020B0502040204020203" pitchFamily="34" charset="0"/>
              </a:rPr>
              <a:t> auf 1.500 €</a:t>
            </a:r>
          </a:p>
        </p:txBody>
      </p:sp>
      <p:sp>
        <p:nvSpPr>
          <p:cNvPr id="38" name="PrognosTextBox">
            <a:extLst>
              <a:ext uri="{FF2B5EF4-FFF2-40B4-BE49-F238E27FC236}">
                <a16:creationId xmlns:a16="http://schemas.microsoft.com/office/drawing/2014/main" id="{66FAF452-64D6-974B-884A-D7D7B5758BE3}"/>
              </a:ext>
            </a:extLst>
          </p:cNvPr>
          <p:cNvSpPr>
            <a:spLocks/>
          </p:cNvSpPr>
          <p:nvPr>
            <p:custDataLst>
              <p:tags r:id="rId5"/>
            </p:custDataLst>
          </p:nvPr>
        </p:nvSpPr>
        <p:spPr>
          <a:xfrm>
            <a:off x="7937110" y="2493519"/>
            <a:ext cx="1492233" cy="566309"/>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err="1">
                <a:latin typeface="Segoe UI" panose="020B0502040204020203" pitchFamily="34" charset="0"/>
                <a:cs typeface="Segoe UI" panose="020B0502040204020203" pitchFamily="34" charset="0"/>
              </a:rPr>
              <a:t>Eintritt</a:t>
            </a:r>
            <a:r>
              <a:rPr lang="en-GB" sz="1400" dirty="0">
                <a:latin typeface="Segoe UI" panose="020B0502040204020203" pitchFamily="34" charset="0"/>
                <a:cs typeface="Segoe UI" panose="020B0502040204020203" pitchFamily="34" charset="0"/>
              </a:rPr>
              <a:t> in </a:t>
            </a:r>
          </a:p>
          <a:p>
            <a:pPr lvl="1" algn="ctr"/>
            <a:r>
              <a:rPr lang="en-GB" sz="1400" dirty="0" err="1">
                <a:latin typeface="Segoe UI" panose="020B0502040204020203" pitchFamily="34" charset="0"/>
                <a:cs typeface="Segoe UI" panose="020B0502040204020203" pitchFamily="34" charset="0"/>
              </a:rPr>
              <a:t>Ruhestand</a:t>
            </a:r>
            <a:endParaRPr lang="en-GB" sz="1400" dirty="0">
              <a:latin typeface="Segoe UI" panose="020B0502040204020203" pitchFamily="34" charset="0"/>
              <a:cs typeface="Segoe UI" panose="020B0502040204020203" pitchFamily="34" charset="0"/>
            </a:endParaRPr>
          </a:p>
        </p:txBody>
      </p:sp>
      <p:sp>
        <p:nvSpPr>
          <p:cNvPr id="39" name="Line 8">
            <a:extLst>
              <a:ext uri="{FF2B5EF4-FFF2-40B4-BE49-F238E27FC236}">
                <a16:creationId xmlns:a16="http://schemas.microsoft.com/office/drawing/2014/main" id="{9DEADC72-D78D-674C-02E6-B4E46397469E}"/>
              </a:ext>
            </a:extLst>
          </p:cNvPr>
          <p:cNvSpPr>
            <a:spLocks noChangeShapeType="1"/>
          </p:cNvSpPr>
          <p:nvPr>
            <p:custDataLst>
              <p:tags r:id="rId6"/>
            </p:custDataLst>
          </p:nvPr>
        </p:nvSpPr>
        <p:spPr bwMode="auto">
          <a:xfrm>
            <a:off x="8697205" y="3031607"/>
            <a:ext cx="0" cy="291876"/>
          </a:xfrm>
          <a:prstGeom prst="line">
            <a:avLst/>
          </a:prstGeom>
          <a:noFill/>
          <a:ln w="9525">
            <a:solidFill>
              <a:schemeClr val="accent6"/>
            </a:solidFill>
            <a:round/>
            <a:headEnd type="none" w="sm" len="sm"/>
            <a:tailEnd type="triangle" w="med" len="med"/>
          </a:ln>
          <a:effectLst/>
        </p:spPr>
        <p:txBody>
          <a:bodyPr wrap="none" anchor="ctr"/>
          <a:lstStyle/>
          <a:p>
            <a:endParaRPr lang="en-GB" dirty="0"/>
          </a:p>
        </p:txBody>
      </p:sp>
      <p:sp>
        <p:nvSpPr>
          <p:cNvPr id="40" name="PrognosTextBox">
            <a:extLst>
              <a:ext uri="{FF2B5EF4-FFF2-40B4-BE49-F238E27FC236}">
                <a16:creationId xmlns:a16="http://schemas.microsoft.com/office/drawing/2014/main" id="{7B6B0BF2-9491-8C30-F125-5F03095C07FC}"/>
              </a:ext>
            </a:extLst>
          </p:cNvPr>
          <p:cNvSpPr>
            <a:spLocks/>
          </p:cNvSpPr>
          <p:nvPr>
            <p:custDataLst>
              <p:tags r:id="rId7"/>
            </p:custDataLst>
          </p:nvPr>
        </p:nvSpPr>
        <p:spPr>
          <a:xfrm>
            <a:off x="7985981" y="3876941"/>
            <a:ext cx="1492233" cy="307777"/>
          </a:xfrm>
          <a:prstGeom prst="rect">
            <a:avLst/>
          </a:prstGeom>
        </p:spPr>
        <p:txBody>
          <a:bodyPr vert="horz" wrap="square" lIns="72000" tIns="45720" rIns="91440" bIns="45720" rtlCol="0">
            <a:spAutoFit/>
          </a:bodyPr>
          <a:lstStyle>
            <a:lvl1pPr marL="0" indent="0" algn="l" defTabSz="914400" rtl="0" eaLnBrk="1" latinLnBrk="0" hangingPunct="1">
              <a:spcBef>
                <a:spcPct val="20000"/>
              </a:spcBef>
              <a:buFontTx/>
              <a:buNone/>
              <a:defRPr sz="1800" b="1" i="0" kern="1200">
                <a:solidFill>
                  <a:schemeClr val="tx1"/>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Arial"/>
              </a:defRPr>
            </a:lvl2pPr>
            <a:lvl3pPr marL="177800" indent="-177800" algn="l" defTabSz="914400" rtl="0" eaLnBrk="1" latinLnBrk="0" hangingPunct="1">
              <a:spcBef>
                <a:spcPct val="20000"/>
              </a:spcBef>
              <a:buClr>
                <a:schemeClr val="bg2"/>
              </a:buClr>
              <a:buSzPct val="75000"/>
              <a:buFont typeface="Wingdings" pitchFamily="2" charset="2"/>
              <a:buChar char=""/>
              <a:defRPr sz="1600" kern="1200">
                <a:solidFill>
                  <a:schemeClr val="tx1"/>
                </a:solidFill>
                <a:latin typeface="+mn-lt"/>
                <a:ea typeface="+mn-ea"/>
                <a:cs typeface="Arial"/>
              </a:defRPr>
            </a:lvl3pPr>
            <a:lvl4pPr marL="355600" indent="-173038"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4pPr>
            <a:lvl5pPr marL="538163"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lvl="1" algn="ctr"/>
            <a:r>
              <a:rPr lang="en-GB" sz="1400" dirty="0">
                <a:latin typeface="Segoe UI" panose="020B0502040204020203" pitchFamily="34" charset="0"/>
                <a:cs typeface="Segoe UI" panose="020B0502040204020203" pitchFamily="34" charset="0"/>
              </a:rPr>
              <a:t>01.01.2040</a:t>
            </a:r>
          </a:p>
        </p:txBody>
      </p:sp>
      <p:sp>
        <p:nvSpPr>
          <p:cNvPr id="41" name="Geschweifte Klammer rechts 40">
            <a:extLst>
              <a:ext uri="{FF2B5EF4-FFF2-40B4-BE49-F238E27FC236}">
                <a16:creationId xmlns:a16="http://schemas.microsoft.com/office/drawing/2014/main" id="{F23A4AB6-9C30-61B4-3C58-4210448A1391}"/>
              </a:ext>
            </a:extLst>
          </p:cNvPr>
          <p:cNvSpPr/>
          <p:nvPr/>
        </p:nvSpPr>
        <p:spPr>
          <a:xfrm rot="5400000">
            <a:off x="3637965" y="3105696"/>
            <a:ext cx="741955" cy="3058989"/>
          </a:xfrm>
          <a:prstGeom prst="rightBrace">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de-DE" dirty="0"/>
          </a:p>
        </p:txBody>
      </p:sp>
      <p:sp>
        <p:nvSpPr>
          <p:cNvPr id="43" name="Geschweifte Klammer rechts 42">
            <a:extLst>
              <a:ext uri="{FF2B5EF4-FFF2-40B4-BE49-F238E27FC236}">
                <a16:creationId xmlns:a16="http://schemas.microsoft.com/office/drawing/2014/main" id="{E7D46D6C-B58E-06D4-BA89-5658FCD86AC9}"/>
              </a:ext>
            </a:extLst>
          </p:cNvPr>
          <p:cNvSpPr/>
          <p:nvPr/>
        </p:nvSpPr>
        <p:spPr>
          <a:xfrm rot="5400000">
            <a:off x="6796733" y="3113038"/>
            <a:ext cx="741955" cy="3058989"/>
          </a:xfrm>
          <a:prstGeom prst="rightBrace">
            <a:avLst/>
          </a:pr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de-DE" dirty="0"/>
          </a:p>
        </p:txBody>
      </p:sp>
      <p:sp>
        <p:nvSpPr>
          <p:cNvPr id="44" name="7 CuadroTexto">
            <a:extLst>
              <a:ext uri="{FF2B5EF4-FFF2-40B4-BE49-F238E27FC236}">
                <a16:creationId xmlns:a16="http://schemas.microsoft.com/office/drawing/2014/main" id="{B18AF21B-BB02-27E5-BB6F-0ED2C0B47818}"/>
              </a:ext>
            </a:extLst>
          </p:cNvPr>
          <p:cNvSpPr txBox="1"/>
          <p:nvPr/>
        </p:nvSpPr>
        <p:spPr>
          <a:xfrm>
            <a:off x="3428007" y="5006168"/>
            <a:ext cx="2110430" cy="1021690"/>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i="1" dirty="0">
                <a:latin typeface="Segoe UI" panose="020B0502040204020203" pitchFamily="34" charset="0"/>
                <a:cs typeface="Segoe UI" panose="020B0502040204020203" pitchFamily="34" charset="0"/>
                <a:sym typeface="Wingdings" panose="05000000000000000000" pitchFamily="2" charset="2"/>
              </a:rPr>
              <a:t>„</a:t>
            </a:r>
            <a:r>
              <a:rPr lang="de-DE" sz="1400" i="1" dirty="0" err="1">
                <a:latin typeface="Segoe UI" panose="020B0502040204020203" pitchFamily="34" charset="0"/>
                <a:cs typeface="Segoe UI" panose="020B0502040204020203" pitchFamily="34" charset="0"/>
                <a:sym typeface="Wingdings" panose="05000000000000000000" pitchFamily="2" charset="2"/>
              </a:rPr>
              <a:t>past</a:t>
            </a:r>
            <a:r>
              <a:rPr lang="de-DE" sz="1400" i="1" dirty="0">
                <a:latin typeface="Segoe UI" panose="020B0502040204020203" pitchFamily="34" charset="0"/>
                <a:cs typeface="Segoe UI" panose="020B0502040204020203" pitchFamily="34" charset="0"/>
                <a:sym typeface="Wingdings" panose="05000000000000000000" pitchFamily="2" charset="2"/>
              </a:rPr>
              <a:t>-service“</a:t>
            </a:r>
          </a:p>
          <a:p>
            <a:pPr>
              <a:lnSpc>
                <a:spcPct val="150000"/>
              </a:lnSpc>
            </a:pPr>
            <a:r>
              <a:rPr lang="de-DE" sz="1400" dirty="0" err="1">
                <a:latin typeface="Segoe UI" panose="020B0502040204020203" pitchFamily="34" charset="0"/>
                <a:cs typeface="Segoe UI" panose="020B0502040204020203" pitchFamily="34" charset="0"/>
                <a:sym typeface="Wingdings" panose="05000000000000000000" pitchFamily="2" charset="2"/>
              </a:rPr>
              <a:t>erdienter</a:t>
            </a:r>
            <a:r>
              <a:rPr lang="de-DE" sz="1400" dirty="0">
                <a:latin typeface="Segoe UI" panose="020B0502040204020203" pitchFamily="34" charset="0"/>
                <a:cs typeface="Segoe UI" panose="020B0502040204020203" pitchFamily="34" charset="0"/>
                <a:sym typeface="Wingdings" panose="05000000000000000000" pitchFamily="2" charset="2"/>
              </a:rPr>
              <a:t> Anspruch  </a:t>
            </a:r>
          </a:p>
          <a:p>
            <a:pPr>
              <a:lnSpc>
                <a:spcPct val="150000"/>
              </a:lnSpc>
            </a:pPr>
            <a:endParaRPr lang="de-DE" sz="1400" dirty="0">
              <a:latin typeface="Segoe UI" panose="020B0502040204020203" pitchFamily="34" charset="0"/>
              <a:cs typeface="Segoe UI" panose="020B0502040204020203" pitchFamily="34" charset="0"/>
            </a:endParaRPr>
          </a:p>
        </p:txBody>
      </p:sp>
      <p:sp>
        <p:nvSpPr>
          <p:cNvPr id="45" name="7 CuadroTexto">
            <a:extLst>
              <a:ext uri="{FF2B5EF4-FFF2-40B4-BE49-F238E27FC236}">
                <a16:creationId xmlns:a16="http://schemas.microsoft.com/office/drawing/2014/main" id="{9E12E32F-E438-8409-CAC7-2B36823A089C}"/>
              </a:ext>
            </a:extLst>
          </p:cNvPr>
          <p:cNvSpPr txBox="1"/>
          <p:nvPr/>
        </p:nvSpPr>
        <p:spPr>
          <a:xfrm>
            <a:off x="6332763" y="5006168"/>
            <a:ext cx="2110430" cy="134485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i="1" dirty="0">
                <a:latin typeface="Segoe UI" panose="020B0502040204020203" pitchFamily="34" charset="0"/>
                <a:cs typeface="Segoe UI" panose="020B0502040204020203" pitchFamily="34" charset="0"/>
                <a:sym typeface="Wingdings" panose="05000000000000000000" pitchFamily="2" charset="2"/>
              </a:rPr>
              <a:t>„</a:t>
            </a:r>
            <a:r>
              <a:rPr lang="de-DE" sz="1400" i="1" dirty="0" err="1">
                <a:latin typeface="Segoe UI" panose="020B0502040204020203" pitchFamily="34" charset="0"/>
                <a:cs typeface="Segoe UI" panose="020B0502040204020203" pitchFamily="34" charset="0"/>
                <a:sym typeface="Wingdings" panose="05000000000000000000" pitchFamily="2" charset="2"/>
              </a:rPr>
              <a:t>future</a:t>
            </a:r>
            <a:r>
              <a:rPr lang="de-DE" sz="1400" i="1" dirty="0">
                <a:latin typeface="Segoe UI" panose="020B0502040204020203" pitchFamily="34" charset="0"/>
                <a:cs typeface="Segoe UI" panose="020B0502040204020203" pitchFamily="34" charset="0"/>
                <a:sym typeface="Wingdings" panose="05000000000000000000" pitchFamily="2" charset="2"/>
              </a:rPr>
              <a:t>-service“</a:t>
            </a:r>
          </a:p>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noch nicht </a:t>
            </a:r>
            <a:r>
              <a:rPr lang="de-DE" sz="1400" dirty="0" err="1">
                <a:latin typeface="Segoe UI" panose="020B0502040204020203" pitchFamily="34" charset="0"/>
                <a:cs typeface="Segoe UI" panose="020B0502040204020203" pitchFamily="34" charset="0"/>
                <a:sym typeface="Wingdings" panose="05000000000000000000" pitchFamily="2" charset="2"/>
              </a:rPr>
              <a:t>erdienter</a:t>
            </a:r>
            <a:r>
              <a:rPr lang="de-DE" sz="1400" dirty="0">
                <a:latin typeface="Segoe UI" panose="020B0502040204020203" pitchFamily="34" charset="0"/>
                <a:cs typeface="Segoe UI" panose="020B0502040204020203" pitchFamily="34" charset="0"/>
                <a:sym typeface="Wingdings" panose="05000000000000000000" pitchFamily="2" charset="2"/>
              </a:rPr>
              <a:t> Anspruch  </a:t>
            </a:r>
          </a:p>
          <a:p>
            <a:pPr>
              <a:lnSpc>
                <a:spcPct val="150000"/>
              </a:lnSpc>
            </a:pPr>
            <a:endParaRPr lang="de-DE" sz="1400" dirty="0">
              <a:latin typeface="Segoe UI" panose="020B0502040204020203" pitchFamily="34" charset="0"/>
              <a:cs typeface="Segoe UI" panose="020B0502040204020203" pitchFamily="34" charset="0"/>
            </a:endParaRPr>
          </a:p>
        </p:txBody>
      </p:sp>
      <p:sp>
        <p:nvSpPr>
          <p:cNvPr id="46" name="7 CuadroTexto">
            <a:extLst>
              <a:ext uri="{FF2B5EF4-FFF2-40B4-BE49-F238E27FC236}">
                <a16:creationId xmlns:a16="http://schemas.microsoft.com/office/drawing/2014/main" id="{AA672BCC-C7A3-7657-7AAD-BD4FFDD8B47C}"/>
              </a:ext>
            </a:extLst>
          </p:cNvPr>
          <p:cNvSpPr txBox="1"/>
          <p:nvPr/>
        </p:nvSpPr>
        <p:spPr>
          <a:xfrm>
            <a:off x="3617746" y="4152421"/>
            <a:ext cx="2110430"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15 Jahre </a:t>
            </a:r>
          </a:p>
          <a:p>
            <a:pPr>
              <a:lnSpc>
                <a:spcPct val="150000"/>
              </a:lnSpc>
            </a:pPr>
            <a:endParaRPr lang="de-DE" sz="1400" dirty="0">
              <a:latin typeface="Segoe UI" panose="020B0502040204020203" pitchFamily="34" charset="0"/>
              <a:cs typeface="Segoe UI" panose="020B0502040204020203" pitchFamily="34" charset="0"/>
            </a:endParaRPr>
          </a:p>
        </p:txBody>
      </p:sp>
      <p:sp>
        <p:nvSpPr>
          <p:cNvPr id="47" name="7 CuadroTexto">
            <a:extLst>
              <a:ext uri="{FF2B5EF4-FFF2-40B4-BE49-F238E27FC236}">
                <a16:creationId xmlns:a16="http://schemas.microsoft.com/office/drawing/2014/main" id="{583A94EE-AEE8-55FE-564E-47B477EEC7FF}"/>
              </a:ext>
            </a:extLst>
          </p:cNvPr>
          <p:cNvSpPr txBox="1"/>
          <p:nvPr/>
        </p:nvSpPr>
        <p:spPr>
          <a:xfrm>
            <a:off x="6709682" y="4145768"/>
            <a:ext cx="2110430"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15 Jahre </a:t>
            </a:r>
          </a:p>
          <a:p>
            <a:pPr>
              <a:lnSpc>
                <a:spcPct val="150000"/>
              </a:lnSpc>
            </a:pPr>
            <a:endParaRPr lang="de-DE" sz="1400" dirty="0">
              <a:latin typeface="Segoe UI" panose="020B0502040204020203" pitchFamily="34" charset="0"/>
              <a:cs typeface="Segoe UI" panose="020B0502040204020203" pitchFamily="34" charset="0"/>
            </a:endParaRPr>
          </a:p>
        </p:txBody>
      </p:sp>
      <p:sp>
        <p:nvSpPr>
          <p:cNvPr id="5" name="Oval 205">
            <a:extLst>
              <a:ext uri="{FF2B5EF4-FFF2-40B4-BE49-F238E27FC236}">
                <a16:creationId xmlns:a16="http://schemas.microsoft.com/office/drawing/2014/main" id="{870759F4-988A-6E57-84E7-E807C325799E}"/>
              </a:ext>
            </a:extLst>
          </p:cNvPr>
          <p:cNvSpPr/>
          <p:nvPr/>
        </p:nvSpPr>
        <p:spPr>
          <a:xfrm>
            <a:off x="7839821" y="5767392"/>
            <a:ext cx="506575" cy="506575"/>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sp>
        <p:nvSpPr>
          <p:cNvPr id="8" name="Line 1242">
            <a:extLst>
              <a:ext uri="{FF2B5EF4-FFF2-40B4-BE49-F238E27FC236}">
                <a16:creationId xmlns:a16="http://schemas.microsoft.com/office/drawing/2014/main" id="{5A84AC5F-5D10-C604-2350-AD989B82C540}"/>
              </a:ext>
            </a:extLst>
          </p:cNvPr>
          <p:cNvSpPr>
            <a:spLocks noChangeShapeType="1"/>
          </p:cNvSpPr>
          <p:nvPr/>
        </p:nvSpPr>
        <p:spPr bwMode="auto">
          <a:xfrm flipH="1" flipV="1">
            <a:off x="8102163" y="5824386"/>
            <a:ext cx="0" cy="55964"/>
          </a:xfrm>
          <a:prstGeom prst="line">
            <a:avLst/>
          </a:prstGeom>
          <a:solidFill>
            <a:srgbClr val="FBBA00"/>
          </a:solidFill>
          <a:ln w="19050" cmpd="sng">
            <a:solidFill>
              <a:schemeClr val="bg1"/>
            </a:solidFill>
            <a:round/>
            <a:headEnd/>
            <a:tailEnd/>
          </a:ln>
        </p:spPr>
        <p:txBody>
          <a:bodyPr/>
          <a:lstStyle/>
          <a:p>
            <a:endParaRPr lang="de-DE" dirty="0"/>
          </a:p>
        </p:txBody>
      </p:sp>
      <p:sp>
        <p:nvSpPr>
          <p:cNvPr id="9" name="Line 1243">
            <a:extLst>
              <a:ext uri="{FF2B5EF4-FFF2-40B4-BE49-F238E27FC236}">
                <a16:creationId xmlns:a16="http://schemas.microsoft.com/office/drawing/2014/main" id="{18C73EC5-9E98-3318-280B-76C250A879EE}"/>
              </a:ext>
            </a:extLst>
          </p:cNvPr>
          <p:cNvSpPr>
            <a:spLocks noChangeShapeType="1"/>
          </p:cNvSpPr>
          <p:nvPr/>
        </p:nvSpPr>
        <p:spPr bwMode="auto">
          <a:xfrm flipV="1">
            <a:off x="8186441" y="5902738"/>
            <a:ext cx="47922" cy="27982"/>
          </a:xfrm>
          <a:prstGeom prst="line">
            <a:avLst/>
          </a:prstGeom>
          <a:solidFill>
            <a:srgbClr val="FBBA00"/>
          </a:solidFill>
          <a:ln w="19050" cmpd="sng">
            <a:solidFill>
              <a:schemeClr val="bg1"/>
            </a:solidFill>
            <a:round/>
            <a:headEnd/>
            <a:tailEnd/>
          </a:ln>
        </p:spPr>
        <p:txBody>
          <a:bodyPr/>
          <a:lstStyle/>
          <a:p>
            <a:endParaRPr lang="de-DE" dirty="0"/>
          </a:p>
        </p:txBody>
      </p:sp>
      <p:sp>
        <p:nvSpPr>
          <p:cNvPr id="10" name="Line 1244">
            <a:extLst>
              <a:ext uri="{FF2B5EF4-FFF2-40B4-BE49-F238E27FC236}">
                <a16:creationId xmlns:a16="http://schemas.microsoft.com/office/drawing/2014/main" id="{368E39C9-3D9D-AC3A-8AB3-216BB6D7A846}"/>
              </a:ext>
            </a:extLst>
          </p:cNvPr>
          <p:cNvSpPr>
            <a:spLocks noChangeShapeType="1"/>
          </p:cNvSpPr>
          <p:nvPr/>
        </p:nvSpPr>
        <p:spPr bwMode="auto">
          <a:xfrm>
            <a:off x="8189260" y="6034253"/>
            <a:ext cx="50740" cy="27982"/>
          </a:xfrm>
          <a:prstGeom prst="line">
            <a:avLst/>
          </a:prstGeom>
          <a:solidFill>
            <a:srgbClr val="FBBA00"/>
          </a:solidFill>
          <a:ln w="19050" cmpd="sng">
            <a:solidFill>
              <a:schemeClr val="bg1"/>
            </a:solidFill>
            <a:round/>
            <a:headEnd/>
            <a:tailEnd/>
          </a:ln>
        </p:spPr>
        <p:txBody>
          <a:bodyPr/>
          <a:lstStyle/>
          <a:p>
            <a:endParaRPr lang="de-DE" dirty="0"/>
          </a:p>
        </p:txBody>
      </p:sp>
      <p:sp>
        <p:nvSpPr>
          <p:cNvPr id="11" name="Line 1245">
            <a:extLst>
              <a:ext uri="{FF2B5EF4-FFF2-40B4-BE49-F238E27FC236}">
                <a16:creationId xmlns:a16="http://schemas.microsoft.com/office/drawing/2014/main" id="{EF79B03F-B664-EE90-7034-92B82A5E4479}"/>
              </a:ext>
            </a:extLst>
          </p:cNvPr>
          <p:cNvSpPr>
            <a:spLocks noChangeShapeType="1"/>
          </p:cNvSpPr>
          <p:nvPr/>
        </p:nvSpPr>
        <p:spPr bwMode="auto">
          <a:xfrm flipH="1">
            <a:off x="7958108" y="6039850"/>
            <a:ext cx="47922" cy="27982"/>
          </a:xfrm>
          <a:prstGeom prst="line">
            <a:avLst/>
          </a:prstGeom>
          <a:solidFill>
            <a:srgbClr val="FBBA00"/>
          </a:solidFill>
          <a:ln w="19050" cmpd="sng">
            <a:solidFill>
              <a:schemeClr val="bg1"/>
            </a:solidFill>
            <a:round/>
            <a:headEnd/>
            <a:tailEnd/>
          </a:ln>
        </p:spPr>
        <p:txBody>
          <a:bodyPr/>
          <a:lstStyle/>
          <a:p>
            <a:endParaRPr lang="de-DE" dirty="0"/>
          </a:p>
        </p:txBody>
      </p:sp>
      <p:sp>
        <p:nvSpPr>
          <p:cNvPr id="12" name="Line 1246">
            <a:extLst>
              <a:ext uri="{FF2B5EF4-FFF2-40B4-BE49-F238E27FC236}">
                <a16:creationId xmlns:a16="http://schemas.microsoft.com/office/drawing/2014/main" id="{482360F7-9BE1-DA61-9DFC-DB57ADC2EFC6}"/>
              </a:ext>
            </a:extLst>
          </p:cNvPr>
          <p:cNvSpPr>
            <a:spLocks noChangeShapeType="1"/>
          </p:cNvSpPr>
          <p:nvPr/>
        </p:nvSpPr>
        <p:spPr bwMode="auto">
          <a:xfrm flipH="1" flipV="1">
            <a:off x="7955292" y="5908332"/>
            <a:ext cx="50740" cy="25185"/>
          </a:xfrm>
          <a:prstGeom prst="line">
            <a:avLst/>
          </a:prstGeom>
          <a:solidFill>
            <a:srgbClr val="FBBA00"/>
          </a:solidFill>
          <a:ln w="19050" cmpd="sng">
            <a:solidFill>
              <a:schemeClr val="bg1"/>
            </a:solidFill>
            <a:round/>
            <a:headEnd/>
            <a:tailEnd/>
          </a:ln>
        </p:spPr>
        <p:txBody>
          <a:bodyPr/>
          <a:lstStyle/>
          <a:p>
            <a:endParaRPr lang="de-DE" dirty="0"/>
          </a:p>
        </p:txBody>
      </p:sp>
      <p:sp>
        <p:nvSpPr>
          <p:cNvPr id="13" name="Freeform 1240">
            <a:extLst>
              <a:ext uri="{FF2B5EF4-FFF2-40B4-BE49-F238E27FC236}">
                <a16:creationId xmlns:a16="http://schemas.microsoft.com/office/drawing/2014/main" id="{48257206-9B9D-46E8-2A1E-D468F39CF203}"/>
              </a:ext>
            </a:extLst>
          </p:cNvPr>
          <p:cNvSpPr>
            <a:spLocks/>
          </p:cNvSpPr>
          <p:nvPr/>
        </p:nvSpPr>
        <p:spPr bwMode="auto">
          <a:xfrm rot="10800000" flipV="1">
            <a:off x="8029480" y="5930720"/>
            <a:ext cx="145365" cy="259772"/>
          </a:xfrm>
          <a:custGeom>
            <a:avLst/>
            <a:gdLst>
              <a:gd name="T0" fmla="*/ 135563 w 109"/>
              <a:gd name="T1" fmla="*/ 171269 h 178"/>
              <a:gd name="T2" fmla="*/ 155898 w 109"/>
              <a:gd name="T3" fmla="*/ 157836 h 178"/>
              <a:gd name="T4" fmla="*/ 171149 w 109"/>
              <a:gd name="T5" fmla="*/ 139366 h 178"/>
              <a:gd name="T6" fmla="*/ 181316 w 109"/>
              <a:gd name="T7" fmla="*/ 115858 h 178"/>
              <a:gd name="T8" fmla="*/ 184705 w 109"/>
              <a:gd name="T9" fmla="*/ 88993 h 178"/>
              <a:gd name="T10" fmla="*/ 183010 w 109"/>
              <a:gd name="T11" fmla="*/ 70522 h 178"/>
              <a:gd name="T12" fmla="*/ 169454 w 109"/>
              <a:gd name="T13" fmla="*/ 38619 h 178"/>
              <a:gd name="T14" fmla="*/ 144036 w 109"/>
              <a:gd name="T15" fmla="*/ 13433 h 178"/>
              <a:gd name="T16" fmla="*/ 110145 w 109"/>
              <a:gd name="T17" fmla="*/ 0 h 178"/>
              <a:gd name="T18" fmla="*/ 91505 w 109"/>
              <a:gd name="T19" fmla="*/ 0 h 178"/>
              <a:gd name="T20" fmla="*/ 54225 w 109"/>
              <a:gd name="T21" fmla="*/ 5037 h 178"/>
              <a:gd name="T22" fmla="*/ 25418 w 109"/>
              <a:gd name="T23" fmla="*/ 25187 h 178"/>
              <a:gd name="T24" fmla="*/ 5084 w 109"/>
              <a:gd name="T25" fmla="*/ 55411 h 178"/>
              <a:gd name="T26" fmla="*/ 0 w 109"/>
              <a:gd name="T27" fmla="*/ 88993 h 178"/>
              <a:gd name="T28" fmla="*/ 0 w 109"/>
              <a:gd name="T29" fmla="*/ 104105 h 178"/>
              <a:gd name="T30" fmla="*/ 6778 w 109"/>
              <a:gd name="T31" fmla="*/ 125933 h 178"/>
              <a:gd name="T32" fmla="*/ 20334 w 109"/>
              <a:gd name="T33" fmla="*/ 146082 h 178"/>
              <a:gd name="T34" fmla="*/ 35585 w 109"/>
              <a:gd name="T35" fmla="*/ 164552 h 178"/>
              <a:gd name="T36" fmla="*/ 47447 w 109"/>
              <a:gd name="T37" fmla="*/ 214926 h 178"/>
              <a:gd name="T38" fmla="*/ 135563 w 109"/>
              <a:gd name="T39" fmla="*/ 263620 h 178"/>
              <a:gd name="T40" fmla="*/ 133869 w 109"/>
              <a:gd name="T41" fmla="*/ 270336 h 178"/>
              <a:gd name="T42" fmla="*/ 125396 w 109"/>
              <a:gd name="T43" fmla="*/ 280411 h 178"/>
              <a:gd name="T44" fmla="*/ 116923 w 109"/>
              <a:gd name="T45" fmla="*/ 283769 h 178"/>
              <a:gd name="T46" fmla="*/ 116923 w 109"/>
              <a:gd name="T47" fmla="*/ 283769 h 178"/>
              <a:gd name="T48" fmla="*/ 108451 w 109"/>
              <a:gd name="T49" fmla="*/ 293844 h 178"/>
              <a:gd name="T50" fmla="*/ 91505 w 109"/>
              <a:gd name="T51" fmla="*/ 298881 h 178"/>
              <a:gd name="T52" fmla="*/ 81338 w 109"/>
              <a:gd name="T53" fmla="*/ 298881 h 178"/>
              <a:gd name="T54" fmla="*/ 67782 w 109"/>
              <a:gd name="T55" fmla="*/ 290485 h 178"/>
              <a:gd name="T56" fmla="*/ 66087 w 109"/>
              <a:gd name="T57" fmla="*/ 283769 h 178"/>
              <a:gd name="T58" fmla="*/ 66087 w 109"/>
              <a:gd name="T59" fmla="*/ 283769 h 178"/>
              <a:gd name="T60" fmla="*/ 52531 w 109"/>
              <a:gd name="T61" fmla="*/ 273694 h 178"/>
              <a:gd name="T62" fmla="*/ 47447 w 109"/>
              <a:gd name="T63" fmla="*/ 263620 h 17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9"/>
              <a:gd name="T97" fmla="*/ 0 h 178"/>
              <a:gd name="T98" fmla="*/ 109 w 109"/>
              <a:gd name="T99" fmla="*/ 178 h 178"/>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9266 w 10000"/>
              <a:gd name="connsiteY5" fmla="*/ 4663 h 10000"/>
              <a:gd name="connsiteX6" fmla="*/ 9541 w 10000"/>
              <a:gd name="connsiteY6" fmla="*/ 4213 h 10000"/>
              <a:gd name="connsiteX7" fmla="*/ 9817 w 10000"/>
              <a:gd name="connsiteY7" fmla="*/ 3876 h 10000"/>
              <a:gd name="connsiteX8" fmla="*/ 9908 w 10000"/>
              <a:gd name="connsiteY8" fmla="*/ 3483 h 10000"/>
              <a:gd name="connsiteX9" fmla="*/ 10000 w 10000"/>
              <a:gd name="connsiteY9" fmla="*/ 2978 h 10000"/>
              <a:gd name="connsiteX10" fmla="*/ 9908 w 10000"/>
              <a:gd name="connsiteY10" fmla="*/ 2360 h 10000"/>
              <a:gd name="connsiteX11" fmla="*/ 9541 w 10000"/>
              <a:gd name="connsiteY11" fmla="*/ 1854 h 10000"/>
              <a:gd name="connsiteX12" fmla="*/ 9174 w 10000"/>
              <a:gd name="connsiteY12" fmla="*/ 1292 h 10000"/>
              <a:gd name="connsiteX13" fmla="*/ 8440 w 10000"/>
              <a:gd name="connsiteY13" fmla="*/ 843 h 10000"/>
              <a:gd name="connsiteX14" fmla="*/ 7798 w 10000"/>
              <a:gd name="connsiteY14" fmla="*/ 449 h 10000"/>
              <a:gd name="connsiteX15" fmla="*/ 6881 w 10000"/>
              <a:gd name="connsiteY15" fmla="*/ 169 h 10000"/>
              <a:gd name="connsiteX16" fmla="*/ 5963 w 10000"/>
              <a:gd name="connsiteY16" fmla="*/ 0 h 10000"/>
              <a:gd name="connsiteX17" fmla="*/ 4954 w 10000"/>
              <a:gd name="connsiteY17" fmla="*/ 0 h 10000"/>
              <a:gd name="connsiteX18" fmla="*/ 3945 w 10000"/>
              <a:gd name="connsiteY18" fmla="*/ 0 h 10000"/>
              <a:gd name="connsiteX19" fmla="*/ 2936 w 10000"/>
              <a:gd name="connsiteY19" fmla="*/ 169 h 10000"/>
              <a:gd name="connsiteX20" fmla="*/ 2202 w 10000"/>
              <a:gd name="connsiteY20" fmla="*/ 449 h 10000"/>
              <a:gd name="connsiteX21" fmla="*/ 1376 w 10000"/>
              <a:gd name="connsiteY21" fmla="*/ 843 h 10000"/>
              <a:gd name="connsiteX22" fmla="*/ 826 w 10000"/>
              <a:gd name="connsiteY22" fmla="*/ 1292 h 10000"/>
              <a:gd name="connsiteX23" fmla="*/ 275 w 10000"/>
              <a:gd name="connsiteY23" fmla="*/ 1854 h 10000"/>
              <a:gd name="connsiteX24" fmla="*/ 92 w 10000"/>
              <a:gd name="connsiteY24" fmla="*/ 2360 h 10000"/>
              <a:gd name="connsiteX25" fmla="*/ 0 w 10000"/>
              <a:gd name="connsiteY25" fmla="*/ 2978 h 10000"/>
              <a:gd name="connsiteX26" fmla="*/ 0 w 10000"/>
              <a:gd name="connsiteY26" fmla="*/ 3483 h 10000"/>
              <a:gd name="connsiteX27" fmla="*/ 183 w 10000"/>
              <a:gd name="connsiteY27" fmla="*/ 3876 h 10000"/>
              <a:gd name="connsiteX28" fmla="*/ 367 w 10000"/>
              <a:gd name="connsiteY28" fmla="*/ 4213 h 10000"/>
              <a:gd name="connsiteX29" fmla="*/ 642 w 10000"/>
              <a:gd name="connsiteY29" fmla="*/ 4663 h 10000"/>
              <a:gd name="connsiteX30" fmla="*/ 1101 w 10000"/>
              <a:gd name="connsiteY30" fmla="*/ 4888 h 10000"/>
              <a:gd name="connsiteX31" fmla="*/ 1560 w 10000"/>
              <a:gd name="connsiteY31" fmla="*/ 5281 h 10000"/>
              <a:gd name="connsiteX32" fmla="*/ 1927 w 10000"/>
              <a:gd name="connsiteY32" fmla="*/ 5506 h 10000"/>
              <a:gd name="connsiteX33" fmla="*/ 2569 w 10000"/>
              <a:gd name="connsiteY33" fmla="*/ 5730 h 10000"/>
              <a:gd name="connsiteX34" fmla="*/ 2569 w 10000"/>
              <a:gd name="connsiteY34" fmla="*/ 7191 h 10000"/>
              <a:gd name="connsiteX35" fmla="*/ 7339 w 10000"/>
              <a:gd name="connsiteY35" fmla="*/ 7191 h 10000"/>
              <a:gd name="connsiteX36" fmla="*/ 7339 w 10000"/>
              <a:gd name="connsiteY36" fmla="*/ 8820 h 10000"/>
              <a:gd name="connsiteX37" fmla="*/ 7248 w 10000"/>
              <a:gd name="connsiteY37" fmla="*/ 9045 h 10000"/>
              <a:gd name="connsiteX38" fmla="*/ 7156 w 10000"/>
              <a:gd name="connsiteY38" fmla="*/ 9157 h 10000"/>
              <a:gd name="connsiteX39" fmla="*/ 6789 w 10000"/>
              <a:gd name="connsiteY39" fmla="*/ 9382 h 10000"/>
              <a:gd name="connsiteX40" fmla="*/ 6330 w 10000"/>
              <a:gd name="connsiteY40" fmla="*/ 9494 h 10000"/>
              <a:gd name="connsiteX41" fmla="*/ 6239 w 10000"/>
              <a:gd name="connsiteY41" fmla="*/ 9719 h 10000"/>
              <a:gd name="connsiteX42" fmla="*/ 5872 w 10000"/>
              <a:gd name="connsiteY42" fmla="*/ 9831 h 10000"/>
              <a:gd name="connsiteX43" fmla="*/ 5596 w 10000"/>
              <a:gd name="connsiteY43" fmla="*/ 10000 h 10000"/>
              <a:gd name="connsiteX44" fmla="*/ 4954 w 10000"/>
              <a:gd name="connsiteY44" fmla="*/ 10000 h 10000"/>
              <a:gd name="connsiteX45" fmla="*/ 4404 w 10000"/>
              <a:gd name="connsiteY45" fmla="*/ 10000 h 10000"/>
              <a:gd name="connsiteX46" fmla="*/ 3945 w 10000"/>
              <a:gd name="connsiteY46" fmla="*/ 9831 h 10000"/>
              <a:gd name="connsiteX47" fmla="*/ 3670 w 10000"/>
              <a:gd name="connsiteY47" fmla="*/ 9719 h 10000"/>
              <a:gd name="connsiteX48" fmla="*/ 3578 w 10000"/>
              <a:gd name="connsiteY48" fmla="*/ 9494 h 10000"/>
              <a:gd name="connsiteX49" fmla="*/ 3211 w 10000"/>
              <a:gd name="connsiteY49" fmla="*/ 9382 h 10000"/>
              <a:gd name="connsiteX50" fmla="*/ 2844 w 10000"/>
              <a:gd name="connsiteY50" fmla="*/ 9157 h 10000"/>
              <a:gd name="connsiteX51" fmla="*/ 2661 w 10000"/>
              <a:gd name="connsiteY51" fmla="*/ 9045 h 10000"/>
              <a:gd name="connsiteX52" fmla="*/ 2569 w 10000"/>
              <a:gd name="connsiteY52" fmla="*/ 8820 h 10000"/>
              <a:gd name="connsiteX53" fmla="*/ 2569 w 10000"/>
              <a:gd name="connsiteY53"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9266 w 10000"/>
              <a:gd name="connsiteY5" fmla="*/ 4663 h 10000"/>
              <a:gd name="connsiteX6" fmla="*/ 9541 w 10000"/>
              <a:gd name="connsiteY6" fmla="*/ 4213 h 10000"/>
              <a:gd name="connsiteX7" fmla="*/ 9817 w 10000"/>
              <a:gd name="connsiteY7" fmla="*/ 3876 h 10000"/>
              <a:gd name="connsiteX8" fmla="*/ 10000 w 10000"/>
              <a:gd name="connsiteY8" fmla="*/ 2978 h 10000"/>
              <a:gd name="connsiteX9" fmla="*/ 9908 w 10000"/>
              <a:gd name="connsiteY9" fmla="*/ 2360 h 10000"/>
              <a:gd name="connsiteX10" fmla="*/ 9541 w 10000"/>
              <a:gd name="connsiteY10" fmla="*/ 1854 h 10000"/>
              <a:gd name="connsiteX11" fmla="*/ 9174 w 10000"/>
              <a:gd name="connsiteY11" fmla="*/ 1292 h 10000"/>
              <a:gd name="connsiteX12" fmla="*/ 8440 w 10000"/>
              <a:gd name="connsiteY12" fmla="*/ 843 h 10000"/>
              <a:gd name="connsiteX13" fmla="*/ 7798 w 10000"/>
              <a:gd name="connsiteY13" fmla="*/ 449 h 10000"/>
              <a:gd name="connsiteX14" fmla="*/ 6881 w 10000"/>
              <a:gd name="connsiteY14" fmla="*/ 169 h 10000"/>
              <a:gd name="connsiteX15" fmla="*/ 5963 w 10000"/>
              <a:gd name="connsiteY15" fmla="*/ 0 h 10000"/>
              <a:gd name="connsiteX16" fmla="*/ 4954 w 10000"/>
              <a:gd name="connsiteY16" fmla="*/ 0 h 10000"/>
              <a:gd name="connsiteX17" fmla="*/ 3945 w 10000"/>
              <a:gd name="connsiteY17" fmla="*/ 0 h 10000"/>
              <a:gd name="connsiteX18" fmla="*/ 2936 w 10000"/>
              <a:gd name="connsiteY18" fmla="*/ 169 h 10000"/>
              <a:gd name="connsiteX19" fmla="*/ 2202 w 10000"/>
              <a:gd name="connsiteY19" fmla="*/ 449 h 10000"/>
              <a:gd name="connsiteX20" fmla="*/ 1376 w 10000"/>
              <a:gd name="connsiteY20" fmla="*/ 843 h 10000"/>
              <a:gd name="connsiteX21" fmla="*/ 826 w 10000"/>
              <a:gd name="connsiteY21" fmla="*/ 1292 h 10000"/>
              <a:gd name="connsiteX22" fmla="*/ 275 w 10000"/>
              <a:gd name="connsiteY22" fmla="*/ 1854 h 10000"/>
              <a:gd name="connsiteX23" fmla="*/ 92 w 10000"/>
              <a:gd name="connsiteY23" fmla="*/ 2360 h 10000"/>
              <a:gd name="connsiteX24" fmla="*/ 0 w 10000"/>
              <a:gd name="connsiteY24" fmla="*/ 2978 h 10000"/>
              <a:gd name="connsiteX25" fmla="*/ 0 w 10000"/>
              <a:gd name="connsiteY25" fmla="*/ 3483 h 10000"/>
              <a:gd name="connsiteX26" fmla="*/ 183 w 10000"/>
              <a:gd name="connsiteY26" fmla="*/ 3876 h 10000"/>
              <a:gd name="connsiteX27" fmla="*/ 367 w 10000"/>
              <a:gd name="connsiteY27" fmla="*/ 4213 h 10000"/>
              <a:gd name="connsiteX28" fmla="*/ 642 w 10000"/>
              <a:gd name="connsiteY28" fmla="*/ 4663 h 10000"/>
              <a:gd name="connsiteX29" fmla="*/ 1101 w 10000"/>
              <a:gd name="connsiteY29" fmla="*/ 4888 h 10000"/>
              <a:gd name="connsiteX30" fmla="*/ 1560 w 10000"/>
              <a:gd name="connsiteY30" fmla="*/ 5281 h 10000"/>
              <a:gd name="connsiteX31" fmla="*/ 1927 w 10000"/>
              <a:gd name="connsiteY31" fmla="*/ 5506 h 10000"/>
              <a:gd name="connsiteX32" fmla="*/ 2569 w 10000"/>
              <a:gd name="connsiteY32" fmla="*/ 5730 h 10000"/>
              <a:gd name="connsiteX33" fmla="*/ 2569 w 10000"/>
              <a:gd name="connsiteY33" fmla="*/ 7191 h 10000"/>
              <a:gd name="connsiteX34" fmla="*/ 7339 w 10000"/>
              <a:gd name="connsiteY34" fmla="*/ 7191 h 10000"/>
              <a:gd name="connsiteX35" fmla="*/ 7339 w 10000"/>
              <a:gd name="connsiteY35" fmla="*/ 8820 h 10000"/>
              <a:gd name="connsiteX36" fmla="*/ 7248 w 10000"/>
              <a:gd name="connsiteY36" fmla="*/ 9045 h 10000"/>
              <a:gd name="connsiteX37" fmla="*/ 7156 w 10000"/>
              <a:gd name="connsiteY37" fmla="*/ 9157 h 10000"/>
              <a:gd name="connsiteX38" fmla="*/ 6789 w 10000"/>
              <a:gd name="connsiteY38" fmla="*/ 9382 h 10000"/>
              <a:gd name="connsiteX39" fmla="*/ 6330 w 10000"/>
              <a:gd name="connsiteY39" fmla="*/ 9494 h 10000"/>
              <a:gd name="connsiteX40" fmla="*/ 6239 w 10000"/>
              <a:gd name="connsiteY40" fmla="*/ 9719 h 10000"/>
              <a:gd name="connsiteX41" fmla="*/ 5872 w 10000"/>
              <a:gd name="connsiteY41" fmla="*/ 9831 h 10000"/>
              <a:gd name="connsiteX42" fmla="*/ 5596 w 10000"/>
              <a:gd name="connsiteY42" fmla="*/ 10000 h 10000"/>
              <a:gd name="connsiteX43" fmla="*/ 4954 w 10000"/>
              <a:gd name="connsiteY43" fmla="*/ 10000 h 10000"/>
              <a:gd name="connsiteX44" fmla="*/ 4404 w 10000"/>
              <a:gd name="connsiteY44" fmla="*/ 10000 h 10000"/>
              <a:gd name="connsiteX45" fmla="*/ 3945 w 10000"/>
              <a:gd name="connsiteY45" fmla="*/ 9831 h 10000"/>
              <a:gd name="connsiteX46" fmla="*/ 3670 w 10000"/>
              <a:gd name="connsiteY46" fmla="*/ 9719 h 10000"/>
              <a:gd name="connsiteX47" fmla="*/ 3578 w 10000"/>
              <a:gd name="connsiteY47" fmla="*/ 9494 h 10000"/>
              <a:gd name="connsiteX48" fmla="*/ 3211 w 10000"/>
              <a:gd name="connsiteY48" fmla="*/ 9382 h 10000"/>
              <a:gd name="connsiteX49" fmla="*/ 2844 w 10000"/>
              <a:gd name="connsiteY49" fmla="*/ 9157 h 10000"/>
              <a:gd name="connsiteX50" fmla="*/ 2661 w 10000"/>
              <a:gd name="connsiteY50" fmla="*/ 9045 h 10000"/>
              <a:gd name="connsiteX51" fmla="*/ 2569 w 10000"/>
              <a:gd name="connsiteY51" fmla="*/ 8820 h 10000"/>
              <a:gd name="connsiteX52" fmla="*/ 2569 w 10000"/>
              <a:gd name="connsiteY52"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9266 w 10000"/>
              <a:gd name="connsiteY5" fmla="*/ 4663 h 10000"/>
              <a:gd name="connsiteX6" fmla="*/ 9541 w 10000"/>
              <a:gd name="connsiteY6" fmla="*/ 4213 h 10000"/>
              <a:gd name="connsiteX7" fmla="*/ 10000 w 10000"/>
              <a:gd name="connsiteY7" fmla="*/ 2978 h 10000"/>
              <a:gd name="connsiteX8" fmla="*/ 9908 w 10000"/>
              <a:gd name="connsiteY8" fmla="*/ 2360 h 10000"/>
              <a:gd name="connsiteX9" fmla="*/ 9541 w 10000"/>
              <a:gd name="connsiteY9" fmla="*/ 1854 h 10000"/>
              <a:gd name="connsiteX10" fmla="*/ 9174 w 10000"/>
              <a:gd name="connsiteY10" fmla="*/ 1292 h 10000"/>
              <a:gd name="connsiteX11" fmla="*/ 8440 w 10000"/>
              <a:gd name="connsiteY11" fmla="*/ 843 h 10000"/>
              <a:gd name="connsiteX12" fmla="*/ 7798 w 10000"/>
              <a:gd name="connsiteY12" fmla="*/ 449 h 10000"/>
              <a:gd name="connsiteX13" fmla="*/ 6881 w 10000"/>
              <a:gd name="connsiteY13" fmla="*/ 169 h 10000"/>
              <a:gd name="connsiteX14" fmla="*/ 5963 w 10000"/>
              <a:gd name="connsiteY14" fmla="*/ 0 h 10000"/>
              <a:gd name="connsiteX15" fmla="*/ 4954 w 10000"/>
              <a:gd name="connsiteY15" fmla="*/ 0 h 10000"/>
              <a:gd name="connsiteX16" fmla="*/ 3945 w 10000"/>
              <a:gd name="connsiteY16" fmla="*/ 0 h 10000"/>
              <a:gd name="connsiteX17" fmla="*/ 2936 w 10000"/>
              <a:gd name="connsiteY17" fmla="*/ 169 h 10000"/>
              <a:gd name="connsiteX18" fmla="*/ 2202 w 10000"/>
              <a:gd name="connsiteY18" fmla="*/ 449 h 10000"/>
              <a:gd name="connsiteX19" fmla="*/ 1376 w 10000"/>
              <a:gd name="connsiteY19" fmla="*/ 843 h 10000"/>
              <a:gd name="connsiteX20" fmla="*/ 826 w 10000"/>
              <a:gd name="connsiteY20" fmla="*/ 1292 h 10000"/>
              <a:gd name="connsiteX21" fmla="*/ 275 w 10000"/>
              <a:gd name="connsiteY21" fmla="*/ 1854 h 10000"/>
              <a:gd name="connsiteX22" fmla="*/ 92 w 10000"/>
              <a:gd name="connsiteY22" fmla="*/ 2360 h 10000"/>
              <a:gd name="connsiteX23" fmla="*/ 0 w 10000"/>
              <a:gd name="connsiteY23" fmla="*/ 2978 h 10000"/>
              <a:gd name="connsiteX24" fmla="*/ 0 w 10000"/>
              <a:gd name="connsiteY24" fmla="*/ 3483 h 10000"/>
              <a:gd name="connsiteX25" fmla="*/ 183 w 10000"/>
              <a:gd name="connsiteY25" fmla="*/ 3876 h 10000"/>
              <a:gd name="connsiteX26" fmla="*/ 367 w 10000"/>
              <a:gd name="connsiteY26" fmla="*/ 4213 h 10000"/>
              <a:gd name="connsiteX27" fmla="*/ 642 w 10000"/>
              <a:gd name="connsiteY27" fmla="*/ 4663 h 10000"/>
              <a:gd name="connsiteX28" fmla="*/ 1101 w 10000"/>
              <a:gd name="connsiteY28" fmla="*/ 4888 h 10000"/>
              <a:gd name="connsiteX29" fmla="*/ 1560 w 10000"/>
              <a:gd name="connsiteY29" fmla="*/ 5281 h 10000"/>
              <a:gd name="connsiteX30" fmla="*/ 1927 w 10000"/>
              <a:gd name="connsiteY30" fmla="*/ 5506 h 10000"/>
              <a:gd name="connsiteX31" fmla="*/ 2569 w 10000"/>
              <a:gd name="connsiteY31" fmla="*/ 5730 h 10000"/>
              <a:gd name="connsiteX32" fmla="*/ 2569 w 10000"/>
              <a:gd name="connsiteY32" fmla="*/ 7191 h 10000"/>
              <a:gd name="connsiteX33" fmla="*/ 7339 w 10000"/>
              <a:gd name="connsiteY33" fmla="*/ 7191 h 10000"/>
              <a:gd name="connsiteX34" fmla="*/ 7339 w 10000"/>
              <a:gd name="connsiteY34" fmla="*/ 8820 h 10000"/>
              <a:gd name="connsiteX35" fmla="*/ 7248 w 10000"/>
              <a:gd name="connsiteY35" fmla="*/ 9045 h 10000"/>
              <a:gd name="connsiteX36" fmla="*/ 7156 w 10000"/>
              <a:gd name="connsiteY36" fmla="*/ 9157 h 10000"/>
              <a:gd name="connsiteX37" fmla="*/ 6789 w 10000"/>
              <a:gd name="connsiteY37" fmla="*/ 9382 h 10000"/>
              <a:gd name="connsiteX38" fmla="*/ 6330 w 10000"/>
              <a:gd name="connsiteY38" fmla="*/ 9494 h 10000"/>
              <a:gd name="connsiteX39" fmla="*/ 6239 w 10000"/>
              <a:gd name="connsiteY39" fmla="*/ 9719 h 10000"/>
              <a:gd name="connsiteX40" fmla="*/ 5872 w 10000"/>
              <a:gd name="connsiteY40" fmla="*/ 9831 h 10000"/>
              <a:gd name="connsiteX41" fmla="*/ 5596 w 10000"/>
              <a:gd name="connsiteY41" fmla="*/ 10000 h 10000"/>
              <a:gd name="connsiteX42" fmla="*/ 4954 w 10000"/>
              <a:gd name="connsiteY42" fmla="*/ 10000 h 10000"/>
              <a:gd name="connsiteX43" fmla="*/ 4404 w 10000"/>
              <a:gd name="connsiteY43" fmla="*/ 10000 h 10000"/>
              <a:gd name="connsiteX44" fmla="*/ 3945 w 10000"/>
              <a:gd name="connsiteY44" fmla="*/ 9831 h 10000"/>
              <a:gd name="connsiteX45" fmla="*/ 3670 w 10000"/>
              <a:gd name="connsiteY45" fmla="*/ 9719 h 10000"/>
              <a:gd name="connsiteX46" fmla="*/ 3578 w 10000"/>
              <a:gd name="connsiteY46" fmla="*/ 9494 h 10000"/>
              <a:gd name="connsiteX47" fmla="*/ 3211 w 10000"/>
              <a:gd name="connsiteY47" fmla="*/ 9382 h 10000"/>
              <a:gd name="connsiteX48" fmla="*/ 2844 w 10000"/>
              <a:gd name="connsiteY48" fmla="*/ 9157 h 10000"/>
              <a:gd name="connsiteX49" fmla="*/ 2661 w 10000"/>
              <a:gd name="connsiteY49" fmla="*/ 9045 h 10000"/>
              <a:gd name="connsiteX50" fmla="*/ 2569 w 10000"/>
              <a:gd name="connsiteY50" fmla="*/ 8820 h 10000"/>
              <a:gd name="connsiteX51" fmla="*/ 2569 w 10000"/>
              <a:gd name="connsiteY51"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9266 w 10000"/>
              <a:gd name="connsiteY5" fmla="*/ 4663 h 10000"/>
              <a:gd name="connsiteX6" fmla="*/ 10000 w 10000"/>
              <a:gd name="connsiteY6" fmla="*/ 2978 h 10000"/>
              <a:gd name="connsiteX7" fmla="*/ 9908 w 10000"/>
              <a:gd name="connsiteY7" fmla="*/ 2360 h 10000"/>
              <a:gd name="connsiteX8" fmla="*/ 9541 w 10000"/>
              <a:gd name="connsiteY8" fmla="*/ 1854 h 10000"/>
              <a:gd name="connsiteX9" fmla="*/ 9174 w 10000"/>
              <a:gd name="connsiteY9" fmla="*/ 1292 h 10000"/>
              <a:gd name="connsiteX10" fmla="*/ 8440 w 10000"/>
              <a:gd name="connsiteY10" fmla="*/ 843 h 10000"/>
              <a:gd name="connsiteX11" fmla="*/ 7798 w 10000"/>
              <a:gd name="connsiteY11" fmla="*/ 449 h 10000"/>
              <a:gd name="connsiteX12" fmla="*/ 6881 w 10000"/>
              <a:gd name="connsiteY12" fmla="*/ 169 h 10000"/>
              <a:gd name="connsiteX13" fmla="*/ 5963 w 10000"/>
              <a:gd name="connsiteY13" fmla="*/ 0 h 10000"/>
              <a:gd name="connsiteX14" fmla="*/ 4954 w 10000"/>
              <a:gd name="connsiteY14" fmla="*/ 0 h 10000"/>
              <a:gd name="connsiteX15" fmla="*/ 3945 w 10000"/>
              <a:gd name="connsiteY15" fmla="*/ 0 h 10000"/>
              <a:gd name="connsiteX16" fmla="*/ 2936 w 10000"/>
              <a:gd name="connsiteY16" fmla="*/ 169 h 10000"/>
              <a:gd name="connsiteX17" fmla="*/ 2202 w 10000"/>
              <a:gd name="connsiteY17" fmla="*/ 449 h 10000"/>
              <a:gd name="connsiteX18" fmla="*/ 1376 w 10000"/>
              <a:gd name="connsiteY18" fmla="*/ 843 h 10000"/>
              <a:gd name="connsiteX19" fmla="*/ 826 w 10000"/>
              <a:gd name="connsiteY19" fmla="*/ 1292 h 10000"/>
              <a:gd name="connsiteX20" fmla="*/ 275 w 10000"/>
              <a:gd name="connsiteY20" fmla="*/ 1854 h 10000"/>
              <a:gd name="connsiteX21" fmla="*/ 92 w 10000"/>
              <a:gd name="connsiteY21" fmla="*/ 2360 h 10000"/>
              <a:gd name="connsiteX22" fmla="*/ 0 w 10000"/>
              <a:gd name="connsiteY22" fmla="*/ 2978 h 10000"/>
              <a:gd name="connsiteX23" fmla="*/ 0 w 10000"/>
              <a:gd name="connsiteY23" fmla="*/ 3483 h 10000"/>
              <a:gd name="connsiteX24" fmla="*/ 183 w 10000"/>
              <a:gd name="connsiteY24" fmla="*/ 3876 h 10000"/>
              <a:gd name="connsiteX25" fmla="*/ 367 w 10000"/>
              <a:gd name="connsiteY25" fmla="*/ 4213 h 10000"/>
              <a:gd name="connsiteX26" fmla="*/ 642 w 10000"/>
              <a:gd name="connsiteY26" fmla="*/ 4663 h 10000"/>
              <a:gd name="connsiteX27" fmla="*/ 1101 w 10000"/>
              <a:gd name="connsiteY27" fmla="*/ 4888 h 10000"/>
              <a:gd name="connsiteX28" fmla="*/ 1560 w 10000"/>
              <a:gd name="connsiteY28" fmla="*/ 5281 h 10000"/>
              <a:gd name="connsiteX29" fmla="*/ 1927 w 10000"/>
              <a:gd name="connsiteY29" fmla="*/ 5506 h 10000"/>
              <a:gd name="connsiteX30" fmla="*/ 2569 w 10000"/>
              <a:gd name="connsiteY30" fmla="*/ 5730 h 10000"/>
              <a:gd name="connsiteX31" fmla="*/ 2569 w 10000"/>
              <a:gd name="connsiteY31" fmla="*/ 7191 h 10000"/>
              <a:gd name="connsiteX32" fmla="*/ 7339 w 10000"/>
              <a:gd name="connsiteY32" fmla="*/ 7191 h 10000"/>
              <a:gd name="connsiteX33" fmla="*/ 7339 w 10000"/>
              <a:gd name="connsiteY33" fmla="*/ 8820 h 10000"/>
              <a:gd name="connsiteX34" fmla="*/ 7248 w 10000"/>
              <a:gd name="connsiteY34" fmla="*/ 9045 h 10000"/>
              <a:gd name="connsiteX35" fmla="*/ 7156 w 10000"/>
              <a:gd name="connsiteY35" fmla="*/ 9157 h 10000"/>
              <a:gd name="connsiteX36" fmla="*/ 6789 w 10000"/>
              <a:gd name="connsiteY36" fmla="*/ 9382 h 10000"/>
              <a:gd name="connsiteX37" fmla="*/ 6330 w 10000"/>
              <a:gd name="connsiteY37" fmla="*/ 9494 h 10000"/>
              <a:gd name="connsiteX38" fmla="*/ 6239 w 10000"/>
              <a:gd name="connsiteY38" fmla="*/ 9719 h 10000"/>
              <a:gd name="connsiteX39" fmla="*/ 5872 w 10000"/>
              <a:gd name="connsiteY39" fmla="*/ 9831 h 10000"/>
              <a:gd name="connsiteX40" fmla="*/ 5596 w 10000"/>
              <a:gd name="connsiteY40" fmla="*/ 10000 h 10000"/>
              <a:gd name="connsiteX41" fmla="*/ 4954 w 10000"/>
              <a:gd name="connsiteY41" fmla="*/ 10000 h 10000"/>
              <a:gd name="connsiteX42" fmla="*/ 4404 w 10000"/>
              <a:gd name="connsiteY42" fmla="*/ 10000 h 10000"/>
              <a:gd name="connsiteX43" fmla="*/ 3945 w 10000"/>
              <a:gd name="connsiteY43" fmla="*/ 9831 h 10000"/>
              <a:gd name="connsiteX44" fmla="*/ 3670 w 10000"/>
              <a:gd name="connsiteY44" fmla="*/ 9719 h 10000"/>
              <a:gd name="connsiteX45" fmla="*/ 3578 w 10000"/>
              <a:gd name="connsiteY45" fmla="*/ 9494 h 10000"/>
              <a:gd name="connsiteX46" fmla="*/ 3211 w 10000"/>
              <a:gd name="connsiteY46" fmla="*/ 9382 h 10000"/>
              <a:gd name="connsiteX47" fmla="*/ 2844 w 10000"/>
              <a:gd name="connsiteY47" fmla="*/ 9157 h 10000"/>
              <a:gd name="connsiteX48" fmla="*/ 2661 w 10000"/>
              <a:gd name="connsiteY48" fmla="*/ 9045 h 10000"/>
              <a:gd name="connsiteX49" fmla="*/ 2569 w 10000"/>
              <a:gd name="connsiteY49" fmla="*/ 8820 h 10000"/>
              <a:gd name="connsiteX50" fmla="*/ 2569 w 10000"/>
              <a:gd name="connsiteY50"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10000 w 10000"/>
              <a:gd name="connsiteY5" fmla="*/ 2978 h 10000"/>
              <a:gd name="connsiteX6" fmla="*/ 9908 w 10000"/>
              <a:gd name="connsiteY6" fmla="*/ 2360 h 10000"/>
              <a:gd name="connsiteX7" fmla="*/ 9541 w 10000"/>
              <a:gd name="connsiteY7" fmla="*/ 1854 h 10000"/>
              <a:gd name="connsiteX8" fmla="*/ 9174 w 10000"/>
              <a:gd name="connsiteY8" fmla="*/ 1292 h 10000"/>
              <a:gd name="connsiteX9" fmla="*/ 8440 w 10000"/>
              <a:gd name="connsiteY9" fmla="*/ 843 h 10000"/>
              <a:gd name="connsiteX10" fmla="*/ 7798 w 10000"/>
              <a:gd name="connsiteY10" fmla="*/ 449 h 10000"/>
              <a:gd name="connsiteX11" fmla="*/ 6881 w 10000"/>
              <a:gd name="connsiteY11" fmla="*/ 169 h 10000"/>
              <a:gd name="connsiteX12" fmla="*/ 5963 w 10000"/>
              <a:gd name="connsiteY12" fmla="*/ 0 h 10000"/>
              <a:gd name="connsiteX13" fmla="*/ 4954 w 10000"/>
              <a:gd name="connsiteY13" fmla="*/ 0 h 10000"/>
              <a:gd name="connsiteX14" fmla="*/ 3945 w 10000"/>
              <a:gd name="connsiteY14" fmla="*/ 0 h 10000"/>
              <a:gd name="connsiteX15" fmla="*/ 2936 w 10000"/>
              <a:gd name="connsiteY15" fmla="*/ 169 h 10000"/>
              <a:gd name="connsiteX16" fmla="*/ 2202 w 10000"/>
              <a:gd name="connsiteY16" fmla="*/ 449 h 10000"/>
              <a:gd name="connsiteX17" fmla="*/ 1376 w 10000"/>
              <a:gd name="connsiteY17" fmla="*/ 843 h 10000"/>
              <a:gd name="connsiteX18" fmla="*/ 826 w 10000"/>
              <a:gd name="connsiteY18" fmla="*/ 1292 h 10000"/>
              <a:gd name="connsiteX19" fmla="*/ 275 w 10000"/>
              <a:gd name="connsiteY19" fmla="*/ 1854 h 10000"/>
              <a:gd name="connsiteX20" fmla="*/ 92 w 10000"/>
              <a:gd name="connsiteY20" fmla="*/ 2360 h 10000"/>
              <a:gd name="connsiteX21" fmla="*/ 0 w 10000"/>
              <a:gd name="connsiteY21" fmla="*/ 2978 h 10000"/>
              <a:gd name="connsiteX22" fmla="*/ 0 w 10000"/>
              <a:gd name="connsiteY22" fmla="*/ 3483 h 10000"/>
              <a:gd name="connsiteX23" fmla="*/ 183 w 10000"/>
              <a:gd name="connsiteY23" fmla="*/ 3876 h 10000"/>
              <a:gd name="connsiteX24" fmla="*/ 367 w 10000"/>
              <a:gd name="connsiteY24" fmla="*/ 4213 h 10000"/>
              <a:gd name="connsiteX25" fmla="*/ 642 w 10000"/>
              <a:gd name="connsiteY25" fmla="*/ 4663 h 10000"/>
              <a:gd name="connsiteX26" fmla="*/ 1101 w 10000"/>
              <a:gd name="connsiteY26" fmla="*/ 4888 h 10000"/>
              <a:gd name="connsiteX27" fmla="*/ 1560 w 10000"/>
              <a:gd name="connsiteY27" fmla="*/ 5281 h 10000"/>
              <a:gd name="connsiteX28" fmla="*/ 1927 w 10000"/>
              <a:gd name="connsiteY28" fmla="*/ 5506 h 10000"/>
              <a:gd name="connsiteX29" fmla="*/ 2569 w 10000"/>
              <a:gd name="connsiteY29" fmla="*/ 5730 h 10000"/>
              <a:gd name="connsiteX30" fmla="*/ 2569 w 10000"/>
              <a:gd name="connsiteY30" fmla="*/ 7191 h 10000"/>
              <a:gd name="connsiteX31" fmla="*/ 7339 w 10000"/>
              <a:gd name="connsiteY31" fmla="*/ 7191 h 10000"/>
              <a:gd name="connsiteX32" fmla="*/ 7339 w 10000"/>
              <a:gd name="connsiteY32" fmla="*/ 8820 h 10000"/>
              <a:gd name="connsiteX33" fmla="*/ 7248 w 10000"/>
              <a:gd name="connsiteY33" fmla="*/ 9045 h 10000"/>
              <a:gd name="connsiteX34" fmla="*/ 7156 w 10000"/>
              <a:gd name="connsiteY34" fmla="*/ 9157 h 10000"/>
              <a:gd name="connsiteX35" fmla="*/ 6789 w 10000"/>
              <a:gd name="connsiteY35" fmla="*/ 9382 h 10000"/>
              <a:gd name="connsiteX36" fmla="*/ 6330 w 10000"/>
              <a:gd name="connsiteY36" fmla="*/ 9494 h 10000"/>
              <a:gd name="connsiteX37" fmla="*/ 6239 w 10000"/>
              <a:gd name="connsiteY37" fmla="*/ 9719 h 10000"/>
              <a:gd name="connsiteX38" fmla="*/ 5872 w 10000"/>
              <a:gd name="connsiteY38" fmla="*/ 9831 h 10000"/>
              <a:gd name="connsiteX39" fmla="*/ 5596 w 10000"/>
              <a:gd name="connsiteY39" fmla="*/ 10000 h 10000"/>
              <a:gd name="connsiteX40" fmla="*/ 4954 w 10000"/>
              <a:gd name="connsiteY40" fmla="*/ 10000 h 10000"/>
              <a:gd name="connsiteX41" fmla="*/ 4404 w 10000"/>
              <a:gd name="connsiteY41" fmla="*/ 10000 h 10000"/>
              <a:gd name="connsiteX42" fmla="*/ 3945 w 10000"/>
              <a:gd name="connsiteY42" fmla="*/ 9831 h 10000"/>
              <a:gd name="connsiteX43" fmla="*/ 3670 w 10000"/>
              <a:gd name="connsiteY43" fmla="*/ 9719 h 10000"/>
              <a:gd name="connsiteX44" fmla="*/ 3578 w 10000"/>
              <a:gd name="connsiteY44" fmla="*/ 9494 h 10000"/>
              <a:gd name="connsiteX45" fmla="*/ 3211 w 10000"/>
              <a:gd name="connsiteY45" fmla="*/ 9382 h 10000"/>
              <a:gd name="connsiteX46" fmla="*/ 2844 w 10000"/>
              <a:gd name="connsiteY46" fmla="*/ 9157 h 10000"/>
              <a:gd name="connsiteX47" fmla="*/ 2661 w 10000"/>
              <a:gd name="connsiteY47" fmla="*/ 9045 h 10000"/>
              <a:gd name="connsiteX48" fmla="*/ 2569 w 10000"/>
              <a:gd name="connsiteY48" fmla="*/ 8820 h 10000"/>
              <a:gd name="connsiteX49" fmla="*/ 2569 w 10000"/>
              <a:gd name="connsiteY49"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10000 w 10000"/>
              <a:gd name="connsiteY4" fmla="*/ 2978 h 10000"/>
              <a:gd name="connsiteX5" fmla="*/ 9908 w 10000"/>
              <a:gd name="connsiteY5" fmla="*/ 2360 h 10000"/>
              <a:gd name="connsiteX6" fmla="*/ 9541 w 10000"/>
              <a:gd name="connsiteY6" fmla="*/ 1854 h 10000"/>
              <a:gd name="connsiteX7" fmla="*/ 9174 w 10000"/>
              <a:gd name="connsiteY7" fmla="*/ 1292 h 10000"/>
              <a:gd name="connsiteX8" fmla="*/ 8440 w 10000"/>
              <a:gd name="connsiteY8" fmla="*/ 843 h 10000"/>
              <a:gd name="connsiteX9" fmla="*/ 7798 w 10000"/>
              <a:gd name="connsiteY9" fmla="*/ 449 h 10000"/>
              <a:gd name="connsiteX10" fmla="*/ 6881 w 10000"/>
              <a:gd name="connsiteY10" fmla="*/ 169 h 10000"/>
              <a:gd name="connsiteX11" fmla="*/ 5963 w 10000"/>
              <a:gd name="connsiteY11" fmla="*/ 0 h 10000"/>
              <a:gd name="connsiteX12" fmla="*/ 4954 w 10000"/>
              <a:gd name="connsiteY12" fmla="*/ 0 h 10000"/>
              <a:gd name="connsiteX13" fmla="*/ 3945 w 10000"/>
              <a:gd name="connsiteY13" fmla="*/ 0 h 10000"/>
              <a:gd name="connsiteX14" fmla="*/ 2936 w 10000"/>
              <a:gd name="connsiteY14" fmla="*/ 169 h 10000"/>
              <a:gd name="connsiteX15" fmla="*/ 2202 w 10000"/>
              <a:gd name="connsiteY15" fmla="*/ 449 h 10000"/>
              <a:gd name="connsiteX16" fmla="*/ 1376 w 10000"/>
              <a:gd name="connsiteY16" fmla="*/ 843 h 10000"/>
              <a:gd name="connsiteX17" fmla="*/ 826 w 10000"/>
              <a:gd name="connsiteY17" fmla="*/ 1292 h 10000"/>
              <a:gd name="connsiteX18" fmla="*/ 275 w 10000"/>
              <a:gd name="connsiteY18" fmla="*/ 1854 h 10000"/>
              <a:gd name="connsiteX19" fmla="*/ 92 w 10000"/>
              <a:gd name="connsiteY19" fmla="*/ 2360 h 10000"/>
              <a:gd name="connsiteX20" fmla="*/ 0 w 10000"/>
              <a:gd name="connsiteY20" fmla="*/ 2978 h 10000"/>
              <a:gd name="connsiteX21" fmla="*/ 0 w 10000"/>
              <a:gd name="connsiteY21" fmla="*/ 3483 h 10000"/>
              <a:gd name="connsiteX22" fmla="*/ 183 w 10000"/>
              <a:gd name="connsiteY22" fmla="*/ 3876 h 10000"/>
              <a:gd name="connsiteX23" fmla="*/ 367 w 10000"/>
              <a:gd name="connsiteY23" fmla="*/ 4213 h 10000"/>
              <a:gd name="connsiteX24" fmla="*/ 642 w 10000"/>
              <a:gd name="connsiteY24" fmla="*/ 4663 h 10000"/>
              <a:gd name="connsiteX25" fmla="*/ 1101 w 10000"/>
              <a:gd name="connsiteY25" fmla="*/ 4888 h 10000"/>
              <a:gd name="connsiteX26" fmla="*/ 1560 w 10000"/>
              <a:gd name="connsiteY26" fmla="*/ 5281 h 10000"/>
              <a:gd name="connsiteX27" fmla="*/ 1927 w 10000"/>
              <a:gd name="connsiteY27" fmla="*/ 5506 h 10000"/>
              <a:gd name="connsiteX28" fmla="*/ 2569 w 10000"/>
              <a:gd name="connsiteY28" fmla="*/ 5730 h 10000"/>
              <a:gd name="connsiteX29" fmla="*/ 2569 w 10000"/>
              <a:gd name="connsiteY29" fmla="*/ 7191 h 10000"/>
              <a:gd name="connsiteX30" fmla="*/ 7339 w 10000"/>
              <a:gd name="connsiteY30" fmla="*/ 7191 h 10000"/>
              <a:gd name="connsiteX31" fmla="*/ 7339 w 10000"/>
              <a:gd name="connsiteY31" fmla="*/ 8820 h 10000"/>
              <a:gd name="connsiteX32" fmla="*/ 7248 w 10000"/>
              <a:gd name="connsiteY32" fmla="*/ 9045 h 10000"/>
              <a:gd name="connsiteX33" fmla="*/ 7156 w 10000"/>
              <a:gd name="connsiteY33" fmla="*/ 9157 h 10000"/>
              <a:gd name="connsiteX34" fmla="*/ 6789 w 10000"/>
              <a:gd name="connsiteY34" fmla="*/ 9382 h 10000"/>
              <a:gd name="connsiteX35" fmla="*/ 6330 w 10000"/>
              <a:gd name="connsiteY35" fmla="*/ 9494 h 10000"/>
              <a:gd name="connsiteX36" fmla="*/ 6239 w 10000"/>
              <a:gd name="connsiteY36" fmla="*/ 9719 h 10000"/>
              <a:gd name="connsiteX37" fmla="*/ 5872 w 10000"/>
              <a:gd name="connsiteY37" fmla="*/ 9831 h 10000"/>
              <a:gd name="connsiteX38" fmla="*/ 5596 w 10000"/>
              <a:gd name="connsiteY38" fmla="*/ 10000 h 10000"/>
              <a:gd name="connsiteX39" fmla="*/ 4954 w 10000"/>
              <a:gd name="connsiteY39" fmla="*/ 10000 h 10000"/>
              <a:gd name="connsiteX40" fmla="*/ 4404 w 10000"/>
              <a:gd name="connsiteY40" fmla="*/ 10000 h 10000"/>
              <a:gd name="connsiteX41" fmla="*/ 3945 w 10000"/>
              <a:gd name="connsiteY41" fmla="*/ 9831 h 10000"/>
              <a:gd name="connsiteX42" fmla="*/ 3670 w 10000"/>
              <a:gd name="connsiteY42" fmla="*/ 9719 h 10000"/>
              <a:gd name="connsiteX43" fmla="*/ 3578 w 10000"/>
              <a:gd name="connsiteY43" fmla="*/ 9494 h 10000"/>
              <a:gd name="connsiteX44" fmla="*/ 3211 w 10000"/>
              <a:gd name="connsiteY44" fmla="*/ 9382 h 10000"/>
              <a:gd name="connsiteX45" fmla="*/ 2844 w 10000"/>
              <a:gd name="connsiteY45" fmla="*/ 9157 h 10000"/>
              <a:gd name="connsiteX46" fmla="*/ 2661 w 10000"/>
              <a:gd name="connsiteY46" fmla="*/ 9045 h 10000"/>
              <a:gd name="connsiteX47" fmla="*/ 2569 w 10000"/>
              <a:gd name="connsiteY47" fmla="*/ 8820 h 10000"/>
              <a:gd name="connsiteX48" fmla="*/ 2569 w 10000"/>
              <a:gd name="connsiteY48" fmla="*/ 8202 h 10000"/>
              <a:gd name="connsiteX0" fmla="*/ 7339 w 10000"/>
              <a:gd name="connsiteY0" fmla="*/ 5730 h 10000"/>
              <a:gd name="connsiteX1" fmla="*/ 7339 w 10000"/>
              <a:gd name="connsiteY1" fmla="*/ 5730 h 10000"/>
              <a:gd name="connsiteX2" fmla="*/ 7890 w 10000"/>
              <a:gd name="connsiteY2" fmla="*/ 5506 h 10000"/>
              <a:gd name="connsiteX3" fmla="*/ 10000 w 10000"/>
              <a:gd name="connsiteY3" fmla="*/ 2978 h 10000"/>
              <a:gd name="connsiteX4" fmla="*/ 9908 w 10000"/>
              <a:gd name="connsiteY4" fmla="*/ 2360 h 10000"/>
              <a:gd name="connsiteX5" fmla="*/ 9541 w 10000"/>
              <a:gd name="connsiteY5" fmla="*/ 1854 h 10000"/>
              <a:gd name="connsiteX6" fmla="*/ 9174 w 10000"/>
              <a:gd name="connsiteY6" fmla="*/ 1292 h 10000"/>
              <a:gd name="connsiteX7" fmla="*/ 8440 w 10000"/>
              <a:gd name="connsiteY7" fmla="*/ 843 h 10000"/>
              <a:gd name="connsiteX8" fmla="*/ 7798 w 10000"/>
              <a:gd name="connsiteY8" fmla="*/ 449 h 10000"/>
              <a:gd name="connsiteX9" fmla="*/ 6881 w 10000"/>
              <a:gd name="connsiteY9" fmla="*/ 169 h 10000"/>
              <a:gd name="connsiteX10" fmla="*/ 5963 w 10000"/>
              <a:gd name="connsiteY10" fmla="*/ 0 h 10000"/>
              <a:gd name="connsiteX11" fmla="*/ 4954 w 10000"/>
              <a:gd name="connsiteY11" fmla="*/ 0 h 10000"/>
              <a:gd name="connsiteX12" fmla="*/ 3945 w 10000"/>
              <a:gd name="connsiteY12" fmla="*/ 0 h 10000"/>
              <a:gd name="connsiteX13" fmla="*/ 2936 w 10000"/>
              <a:gd name="connsiteY13" fmla="*/ 169 h 10000"/>
              <a:gd name="connsiteX14" fmla="*/ 2202 w 10000"/>
              <a:gd name="connsiteY14" fmla="*/ 449 h 10000"/>
              <a:gd name="connsiteX15" fmla="*/ 1376 w 10000"/>
              <a:gd name="connsiteY15" fmla="*/ 843 h 10000"/>
              <a:gd name="connsiteX16" fmla="*/ 826 w 10000"/>
              <a:gd name="connsiteY16" fmla="*/ 1292 h 10000"/>
              <a:gd name="connsiteX17" fmla="*/ 275 w 10000"/>
              <a:gd name="connsiteY17" fmla="*/ 1854 h 10000"/>
              <a:gd name="connsiteX18" fmla="*/ 92 w 10000"/>
              <a:gd name="connsiteY18" fmla="*/ 2360 h 10000"/>
              <a:gd name="connsiteX19" fmla="*/ 0 w 10000"/>
              <a:gd name="connsiteY19" fmla="*/ 2978 h 10000"/>
              <a:gd name="connsiteX20" fmla="*/ 0 w 10000"/>
              <a:gd name="connsiteY20" fmla="*/ 3483 h 10000"/>
              <a:gd name="connsiteX21" fmla="*/ 183 w 10000"/>
              <a:gd name="connsiteY21" fmla="*/ 3876 h 10000"/>
              <a:gd name="connsiteX22" fmla="*/ 367 w 10000"/>
              <a:gd name="connsiteY22" fmla="*/ 4213 h 10000"/>
              <a:gd name="connsiteX23" fmla="*/ 642 w 10000"/>
              <a:gd name="connsiteY23" fmla="*/ 4663 h 10000"/>
              <a:gd name="connsiteX24" fmla="*/ 1101 w 10000"/>
              <a:gd name="connsiteY24" fmla="*/ 4888 h 10000"/>
              <a:gd name="connsiteX25" fmla="*/ 1560 w 10000"/>
              <a:gd name="connsiteY25" fmla="*/ 5281 h 10000"/>
              <a:gd name="connsiteX26" fmla="*/ 1927 w 10000"/>
              <a:gd name="connsiteY26" fmla="*/ 5506 h 10000"/>
              <a:gd name="connsiteX27" fmla="*/ 2569 w 10000"/>
              <a:gd name="connsiteY27" fmla="*/ 5730 h 10000"/>
              <a:gd name="connsiteX28" fmla="*/ 2569 w 10000"/>
              <a:gd name="connsiteY28" fmla="*/ 7191 h 10000"/>
              <a:gd name="connsiteX29" fmla="*/ 7339 w 10000"/>
              <a:gd name="connsiteY29" fmla="*/ 7191 h 10000"/>
              <a:gd name="connsiteX30" fmla="*/ 7339 w 10000"/>
              <a:gd name="connsiteY30" fmla="*/ 8820 h 10000"/>
              <a:gd name="connsiteX31" fmla="*/ 7248 w 10000"/>
              <a:gd name="connsiteY31" fmla="*/ 9045 h 10000"/>
              <a:gd name="connsiteX32" fmla="*/ 7156 w 10000"/>
              <a:gd name="connsiteY32" fmla="*/ 9157 h 10000"/>
              <a:gd name="connsiteX33" fmla="*/ 6789 w 10000"/>
              <a:gd name="connsiteY33" fmla="*/ 9382 h 10000"/>
              <a:gd name="connsiteX34" fmla="*/ 6330 w 10000"/>
              <a:gd name="connsiteY34" fmla="*/ 9494 h 10000"/>
              <a:gd name="connsiteX35" fmla="*/ 6239 w 10000"/>
              <a:gd name="connsiteY35" fmla="*/ 9719 h 10000"/>
              <a:gd name="connsiteX36" fmla="*/ 5872 w 10000"/>
              <a:gd name="connsiteY36" fmla="*/ 9831 h 10000"/>
              <a:gd name="connsiteX37" fmla="*/ 5596 w 10000"/>
              <a:gd name="connsiteY37" fmla="*/ 10000 h 10000"/>
              <a:gd name="connsiteX38" fmla="*/ 4954 w 10000"/>
              <a:gd name="connsiteY38" fmla="*/ 10000 h 10000"/>
              <a:gd name="connsiteX39" fmla="*/ 4404 w 10000"/>
              <a:gd name="connsiteY39" fmla="*/ 10000 h 10000"/>
              <a:gd name="connsiteX40" fmla="*/ 3945 w 10000"/>
              <a:gd name="connsiteY40" fmla="*/ 9831 h 10000"/>
              <a:gd name="connsiteX41" fmla="*/ 3670 w 10000"/>
              <a:gd name="connsiteY41" fmla="*/ 9719 h 10000"/>
              <a:gd name="connsiteX42" fmla="*/ 3578 w 10000"/>
              <a:gd name="connsiteY42" fmla="*/ 9494 h 10000"/>
              <a:gd name="connsiteX43" fmla="*/ 3211 w 10000"/>
              <a:gd name="connsiteY43" fmla="*/ 9382 h 10000"/>
              <a:gd name="connsiteX44" fmla="*/ 2844 w 10000"/>
              <a:gd name="connsiteY44" fmla="*/ 9157 h 10000"/>
              <a:gd name="connsiteX45" fmla="*/ 2661 w 10000"/>
              <a:gd name="connsiteY45" fmla="*/ 9045 h 10000"/>
              <a:gd name="connsiteX46" fmla="*/ 2569 w 10000"/>
              <a:gd name="connsiteY46" fmla="*/ 8820 h 10000"/>
              <a:gd name="connsiteX47" fmla="*/ 2569 w 10000"/>
              <a:gd name="connsiteY47" fmla="*/ 8202 h 10000"/>
              <a:gd name="connsiteX0" fmla="*/ 7339 w 10000"/>
              <a:gd name="connsiteY0" fmla="*/ 5730 h 10000"/>
              <a:gd name="connsiteX1" fmla="*/ 7339 w 10000"/>
              <a:gd name="connsiteY1" fmla="*/ 5730 h 10000"/>
              <a:gd name="connsiteX2" fmla="*/ 10000 w 10000"/>
              <a:gd name="connsiteY2" fmla="*/ 2978 h 10000"/>
              <a:gd name="connsiteX3" fmla="*/ 9908 w 10000"/>
              <a:gd name="connsiteY3" fmla="*/ 2360 h 10000"/>
              <a:gd name="connsiteX4" fmla="*/ 9541 w 10000"/>
              <a:gd name="connsiteY4" fmla="*/ 1854 h 10000"/>
              <a:gd name="connsiteX5" fmla="*/ 9174 w 10000"/>
              <a:gd name="connsiteY5" fmla="*/ 1292 h 10000"/>
              <a:gd name="connsiteX6" fmla="*/ 8440 w 10000"/>
              <a:gd name="connsiteY6" fmla="*/ 843 h 10000"/>
              <a:gd name="connsiteX7" fmla="*/ 7798 w 10000"/>
              <a:gd name="connsiteY7" fmla="*/ 449 h 10000"/>
              <a:gd name="connsiteX8" fmla="*/ 6881 w 10000"/>
              <a:gd name="connsiteY8" fmla="*/ 169 h 10000"/>
              <a:gd name="connsiteX9" fmla="*/ 5963 w 10000"/>
              <a:gd name="connsiteY9" fmla="*/ 0 h 10000"/>
              <a:gd name="connsiteX10" fmla="*/ 4954 w 10000"/>
              <a:gd name="connsiteY10" fmla="*/ 0 h 10000"/>
              <a:gd name="connsiteX11" fmla="*/ 3945 w 10000"/>
              <a:gd name="connsiteY11" fmla="*/ 0 h 10000"/>
              <a:gd name="connsiteX12" fmla="*/ 2936 w 10000"/>
              <a:gd name="connsiteY12" fmla="*/ 169 h 10000"/>
              <a:gd name="connsiteX13" fmla="*/ 2202 w 10000"/>
              <a:gd name="connsiteY13" fmla="*/ 449 h 10000"/>
              <a:gd name="connsiteX14" fmla="*/ 1376 w 10000"/>
              <a:gd name="connsiteY14" fmla="*/ 843 h 10000"/>
              <a:gd name="connsiteX15" fmla="*/ 826 w 10000"/>
              <a:gd name="connsiteY15" fmla="*/ 1292 h 10000"/>
              <a:gd name="connsiteX16" fmla="*/ 275 w 10000"/>
              <a:gd name="connsiteY16" fmla="*/ 1854 h 10000"/>
              <a:gd name="connsiteX17" fmla="*/ 92 w 10000"/>
              <a:gd name="connsiteY17" fmla="*/ 2360 h 10000"/>
              <a:gd name="connsiteX18" fmla="*/ 0 w 10000"/>
              <a:gd name="connsiteY18" fmla="*/ 2978 h 10000"/>
              <a:gd name="connsiteX19" fmla="*/ 0 w 10000"/>
              <a:gd name="connsiteY19" fmla="*/ 3483 h 10000"/>
              <a:gd name="connsiteX20" fmla="*/ 183 w 10000"/>
              <a:gd name="connsiteY20" fmla="*/ 3876 h 10000"/>
              <a:gd name="connsiteX21" fmla="*/ 367 w 10000"/>
              <a:gd name="connsiteY21" fmla="*/ 4213 h 10000"/>
              <a:gd name="connsiteX22" fmla="*/ 642 w 10000"/>
              <a:gd name="connsiteY22" fmla="*/ 4663 h 10000"/>
              <a:gd name="connsiteX23" fmla="*/ 1101 w 10000"/>
              <a:gd name="connsiteY23" fmla="*/ 4888 h 10000"/>
              <a:gd name="connsiteX24" fmla="*/ 1560 w 10000"/>
              <a:gd name="connsiteY24" fmla="*/ 5281 h 10000"/>
              <a:gd name="connsiteX25" fmla="*/ 1927 w 10000"/>
              <a:gd name="connsiteY25" fmla="*/ 5506 h 10000"/>
              <a:gd name="connsiteX26" fmla="*/ 2569 w 10000"/>
              <a:gd name="connsiteY26" fmla="*/ 5730 h 10000"/>
              <a:gd name="connsiteX27" fmla="*/ 2569 w 10000"/>
              <a:gd name="connsiteY27" fmla="*/ 7191 h 10000"/>
              <a:gd name="connsiteX28" fmla="*/ 7339 w 10000"/>
              <a:gd name="connsiteY28" fmla="*/ 7191 h 10000"/>
              <a:gd name="connsiteX29" fmla="*/ 7339 w 10000"/>
              <a:gd name="connsiteY29" fmla="*/ 8820 h 10000"/>
              <a:gd name="connsiteX30" fmla="*/ 7248 w 10000"/>
              <a:gd name="connsiteY30" fmla="*/ 9045 h 10000"/>
              <a:gd name="connsiteX31" fmla="*/ 7156 w 10000"/>
              <a:gd name="connsiteY31" fmla="*/ 9157 h 10000"/>
              <a:gd name="connsiteX32" fmla="*/ 6789 w 10000"/>
              <a:gd name="connsiteY32" fmla="*/ 9382 h 10000"/>
              <a:gd name="connsiteX33" fmla="*/ 6330 w 10000"/>
              <a:gd name="connsiteY33" fmla="*/ 9494 h 10000"/>
              <a:gd name="connsiteX34" fmla="*/ 6239 w 10000"/>
              <a:gd name="connsiteY34" fmla="*/ 9719 h 10000"/>
              <a:gd name="connsiteX35" fmla="*/ 5872 w 10000"/>
              <a:gd name="connsiteY35" fmla="*/ 9831 h 10000"/>
              <a:gd name="connsiteX36" fmla="*/ 5596 w 10000"/>
              <a:gd name="connsiteY36" fmla="*/ 10000 h 10000"/>
              <a:gd name="connsiteX37" fmla="*/ 4954 w 10000"/>
              <a:gd name="connsiteY37" fmla="*/ 10000 h 10000"/>
              <a:gd name="connsiteX38" fmla="*/ 4404 w 10000"/>
              <a:gd name="connsiteY38" fmla="*/ 10000 h 10000"/>
              <a:gd name="connsiteX39" fmla="*/ 3945 w 10000"/>
              <a:gd name="connsiteY39" fmla="*/ 9831 h 10000"/>
              <a:gd name="connsiteX40" fmla="*/ 3670 w 10000"/>
              <a:gd name="connsiteY40" fmla="*/ 9719 h 10000"/>
              <a:gd name="connsiteX41" fmla="*/ 3578 w 10000"/>
              <a:gd name="connsiteY41" fmla="*/ 9494 h 10000"/>
              <a:gd name="connsiteX42" fmla="*/ 3211 w 10000"/>
              <a:gd name="connsiteY42" fmla="*/ 9382 h 10000"/>
              <a:gd name="connsiteX43" fmla="*/ 2844 w 10000"/>
              <a:gd name="connsiteY43" fmla="*/ 9157 h 10000"/>
              <a:gd name="connsiteX44" fmla="*/ 2661 w 10000"/>
              <a:gd name="connsiteY44" fmla="*/ 9045 h 10000"/>
              <a:gd name="connsiteX45" fmla="*/ 2569 w 10000"/>
              <a:gd name="connsiteY45" fmla="*/ 8820 h 10000"/>
              <a:gd name="connsiteX46" fmla="*/ 2569 w 10000"/>
              <a:gd name="connsiteY46" fmla="*/ 8202 h 10000"/>
              <a:gd name="connsiteX0" fmla="*/ 7339 w 12281"/>
              <a:gd name="connsiteY0" fmla="*/ 5730 h 10000"/>
              <a:gd name="connsiteX1" fmla="*/ 12281 w 12281"/>
              <a:gd name="connsiteY1" fmla="*/ 5033 h 10000"/>
              <a:gd name="connsiteX2" fmla="*/ 10000 w 12281"/>
              <a:gd name="connsiteY2" fmla="*/ 2978 h 10000"/>
              <a:gd name="connsiteX3" fmla="*/ 9908 w 12281"/>
              <a:gd name="connsiteY3" fmla="*/ 2360 h 10000"/>
              <a:gd name="connsiteX4" fmla="*/ 9541 w 12281"/>
              <a:gd name="connsiteY4" fmla="*/ 1854 h 10000"/>
              <a:gd name="connsiteX5" fmla="*/ 9174 w 12281"/>
              <a:gd name="connsiteY5" fmla="*/ 1292 h 10000"/>
              <a:gd name="connsiteX6" fmla="*/ 8440 w 12281"/>
              <a:gd name="connsiteY6" fmla="*/ 843 h 10000"/>
              <a:gd name="connsiteX7" fmla="*/ 7798 w 12281"/>
              <a:gd name="connsiteY7" fmla="*/ 449 h 10000"/>
              <a:gd name="connsiteX8" fmla="*/ 6881 w 12281"/>
              <a:gd name="connsiteY8" fmla="*/ 169 h 10000"/>
              <a:gd name="connsiteX9" fmla="*/ 5963 w 12281"/>
              <a:gd name="connsiteY9" fmla="*/ 0 h 10000"/>
              <a:gd name="connsiteX10" fmla="*/ 4954 w 12281"/>
              <a:gd name="connsiteY10" fmla="*/ 0 h 10000"/>
              <a:gd name="connsiteX11" fmla="*/ 3945 w 12281"/>
              <a:gd name="connsiteY11" fmla="*/ 0 h 10000"/>
              <a:gd name="connsiteX12" fmla="*/ 2936 w 12281"/>
              <a:gd name="connsiteY12" fmla="*/ 169 h 10000"/>
              <a:gd name="connsiteX13" fmla="*/ 2202 w 12281"/>
              <a:gd name="connsiteY13" fmla="*/ 449 h 10000"/>
              <a:gd name="connsiteX14" fmla="*/ 1376 w 12281"/>
              <a:gd name="connsiteY14" fmla="*/ 843 h 10000"/>
              <a:gd name="connsiteX15" fmla="*/ 826 w 12281"/>
              <a:gd name="connsiteY15" fmla="*/ 1292 h 10000"/>
              <a:gd name="connsiteX16" fmla="*/ 275 w 12281"/>
              <a:gd name="connsiteY16" fmla="*/ 1854 h 10000"/>
              <a:gd name="connsiteX17" fmla="*/ 92 w 12281"/>
              <a:gd name="connsiteY17" fmla="*/ 2360 h 10000"/>
              <a:gd name="connsiteX18" fmla="*/ 0 w 12281"/>
              <a:gd name="connsiteY18" fmla="*/ 2978 h 10000"/>
              <a:gd name="connsiteX19" fmla="*/ 0 w 12281"/>
              <a:gd name="connsiteY19" fmla="*/ 3483 h 10000"/>
              <a:gd name="connsiteX20" fmla="*/ 183 w 12281"/>
              <a:gd name="connsiteY20" fmla="*/ 3876 h 10000"/>
              <a:gd name="connsiteX21" fmla="*/ 367 w 12281"/>
              <a:gd name="connsiteY21" fmla="*/ 4213 h 10000"/>
              <a:gd name="connsiteX22" fmla="*/ 642 w 12281"/>
              <a:gd name="connsiteY22" fmla="*/ 4663 h 10000"/>
              <a:gd name="connsiteX23" fmla="*/ 1101 w 12281"/>
              <a:gd name="connsiteY23" fmla="*/ 4888 h 10000"/>
              <a:gd name="connsiteX24" fmla="*/ 1560 w 12281"/>
              <a:gd name="connsiteY24" fmla="*/ 5281 h 10000"/>
              <a:gd name="connsiteX25" fmla="*/ 1927 w 12281"/>
              <a:gd name="connsiteY25" fmla="*/ 5506 h 10000"/>
              <a:gd name="connsiteX26" fmla="*/ 2569 w 12281"/>
              <a:gd name="connsiteY26" fmla="*/ 5730 h 10000"/>
              <a:gd name="connsiteX27" fmla="*/ 2569 w 12281"/>
              <a:gd name="connsiteY27" fmla="*/ 7191 h 10000"/>
              <a:gd name="connsiteX28" fmla="*/ 7339 w 12281"/>
              <a:gd name="connsiteY28" fmla="*/ 7191 h 10000"/>
              <a:gd name="connsiteX29" fmla="*/ 7339 w 12281"/>
              <a:gd name="connsiteY29" fmla="*/ 8820 h 10000"/>
              <a:gd name="connsiteX30" fmla="*/ 7248 w 12281"/>
              <a:gd name="connsiteY30" fmla="*/ 9045 h 10000"/>
              <a:gd name="connsiteX31" fmla="*/ 7156 w 12281"/>
              <a:gd name="connsiteY31" fmla="*/ 9157 h 10000"/>
              <a:gd name="connsiteX32" fmla="*/ 6789 w 12281"/>
              <a:gd name="connsiteY32" fmla="*/ 9382 h 10000"/>
              <a:gd name="connsiteX33" fmla="*/ 6330 w 12281"/>
              <a:gd name="connsiteY33" fmla="*/ 9494 h 10000"/>
              <a:gd name="connsiteX34" fmla="*/ 6239 w 12281"/>
              <a:gd name="connsiteY34" fmla="*/ 9719 h 10000"/>
              <a:gd name="connsiteX35" fmla="*/ 5872 w 12281"/>
              <a:gd name="connsiteY35" fmla="*/ 9831 h 10000"/>
              <a:gd name="connsiteX36" fmla="*/ 5596 w 12281"/>
              <a:gd name="connsiteY36" fmla="*/ 10000 h 10000"/>
              <a:gd name="connsiteX37" fmla="*/ 4954 w 12281"/>
              <a:gd name="connsiteY37" fmla="*/ 10000 h 10000"/>
              <a:gd name="connsiteX38" fmla="*/ 4404 w 12281"/>
              <a:gd name="connsiteY38" fmla="*/ 10000 h 10000"/>
              <a:gd name="connsiteX39" fmla="*/ 3945 w 12281"/>
              <a:gd name="connsiteY39" fmla="*/ 9831 h 10000"/>
              <a:gd name="connsiteX40" fmla="*/ 3670 w 12281"/>
              <a:gd name="connsiteY40" fmla="*/ 9719 h 10000"/>
              <a:gd name="connsiteX41" fmla="*/ 3578 w 12281"/>
              <a:gd name="connsiteY41" fmla="*/ 9494 h 10000"/>
              <a:gd name="connsiteX42" fmla="*/ 3211 w 12281"/>
              <a:gd name="connsiteY42" fmla="*/ 9382 h 10000"/>
              <a:gd name="connsiteX43" fmla="*/ 2844 w 12281"/>
              <a:gd name="connsiteY43" fmla="*/ 9157 h 10000"/>
              <a:gd name="connsiteX44" fmla="*/ 2661 w 12281"/>
              <a:gd name="connsiteY44" fmla="*/ 9045 h 10000"/>
              <a:gd name="connsiteX45" fmla="*/ 2569 w 12281"/>
              <a:gd name="connsiteY45" fmla="*/ 8820 h 10000"/>
              <a:gd name="connsiteX46" fmla="*/ 2569 w 12281"/>
              <a:gd name="connsiteY46" fmla="*/ 8202 h 10000"/>
              <a:gd name="connsiteX0" fmla="*/ 7339 w 12337"/>
              <a:gd name="connsiteY0" fmla="*/ 5730 h 10000"/>
              <a:gd name="connsiteX1" fmla="*/ 12281 w 12337"/>
              <a:gd name="connsiteY1" fmla="*/ 5033 h 10000"/>
              <a:gd name="connsiteX2" fmla="*/ 10000 w 12337"/>
              <a:gd name="connsiteY2" fmla="*/ 2978 h 10000"/>
              <a:gd name="connsiteX3" fmla="*/ 9908 w 12337"/>
              <a:gd name="connsiteY3" fmla="*/ 2360 h 10000"/>
              <a:gd name="connsiteX4" fmla="*/ 9541 w 12337"/>
              <a:gd name="connsiteY4" fmla="*/ 1854 h 10000"/>
              <a:gd name="connsiteX5" fmla="*/ 9174 w 12337"/>
              <a:gd name="connsiteY5" fmla="*/ 1292 h 10000"/>
              <a:gd name="connsiteX6" fmla="*/ 8440 w 12337"/>
              <a:gd name="connsiteY6" fmla="*/ 843 h 10000"/>
              <a:gd name="connsiteX7" fmla="*/ 7798 w 12337"/>
              <a:gd name="connsiteY7" fmla="*/ 449 h 10000"/>
              <a:gd name="connsiteX8" fmla="*/ 6881 w 12337"/>
              <a:gd name="connsiteY8" fmla="*/ 169 h 10000"/>
              <a:gd name="connsiteX9" fmla="*/ 5963 w 12337"/>
              <a:gd name="connsiteY9" fmla="*/ 0 h 10000"/>
              <a:gd name="connsiteX10" fmla="*/ 4954 w 12337"/>
              <a:gd name="connsiteY10" fmla="*/ 0 h 10000"/>
              <a:gd name="connsiteX11" fmla="*/ 3945 w 12337"/>
              <a:gd name="connsiteY11" fmla="*/ 0 h 10000"/>
              <a:gd name="connsiteX12" fmla="*/ 2936 w 12337"/>
              <a:gd name="connsiteY12" fmla="*/ 169 h 10000"/>
              <a:gd name="connsiteX13" fmla="*/ 2202 w 12337"/>
              <a:gd name="connsiteY13" fmla="*/ 449 h 10000"/>
              <a:gd name="connsiteX14" fmla="*/ 1376 w 12337"/>
              <a:gd name="connsiteY14" fmla="*/ 843 h 10000"/>
              <a:gd name="connsiteX15" fmla="*/ 826 w 12337"/>
              <a:gd name="connsiteY15" fmla="*/ 1292 h 10000"/>
              <a:gd name="connsiteX16" fmla="*/ 275 w 12337"/>
              <a:gd name="connsiteY16" fmla="*/ 1854 h 10000"/>
              <a:gd name="connsiteX17" fmla="*/ 92 w 12337"/>
              <a:gd name="connsiteY17" fmla="*/ 2360 h 10000"/>
              <a:gd name="connsiteX18" fmla="*/ 0 w 12337"/>
              <a:gd name="connsiteY18" fmla="*/ 2978 h 10000"/>
              <a:gd name="connsiteX19" fmla="*/ 0 w 12337"/>
              <a:gd name="connsiteY19" fmla="*/ 3483 h 10000"/>
              <a:gd name="connsiteX20" fmla="*/ 183 w 12337"/>
              <a:gd name="connsiteY20" fmla="*/ 3876 h 10000"/>
              <a:gd name="connsiteX21" fmla="*/ 367 w 12337"/>
              <a:gd name="connsiteY21" fmla="*/ 4213 h 10000"/>
              <a:gd name="connsiteX22" fmla="*/ 642 w 12337"/>
              <a:gd name="connsiteY22" fmla="*/ 4663 h 10000"/>
              <a:gd name="connsiteX23" fmla="*/ 1101 w 12337"/>
              <a:gd name="connsiteY23" fmla="*/ 4888 h 10000"/>
              <a:gd name="connsiteX24" fmla="*/ 1560 w 12337"/>
              <a:gd name="connsiteY24" fmla="*/ 5281 h 10000"/>
              <a:gd name="connsiteX25" fmla="*/ 1927 w 12337"/>
              <a:gd name="connsiteY25" fmla="*/ 5506 h 10000"/>
              <a:gd name="connsiteX26" fmla="*/ 2569 w 12337"/>
              <a:gd name="connsiteY26" fmla="*/ 5730 h 10000"/>
              <a:gd name="connsiteX27" fmla="*/ 2569 w 12337"/>
              <a:gd name="connsiteY27" fmla="*/ 7191 h 10000"/>
              <a:gd name="connsiteX28" fmla="*/ 7339 w 12337"/>
              <a:gd name="connsiteY28" fmla="*/ 7191 h 10000"/>
              <a:gd name="connsiteX29" fmla="*/ 7339 w 12337"/>
              <a:gd name="connsiteY29" fmla="*/ 8820 h 10000"/>
              <a:gd name="connsiteX30" fmla="*/ 7248 w 12337"/>
              <a:gd name="connsiteY30" fmla="*/ 9045 h 10000"/>
              <a:gd name="connsiteX31" fmla="*/ 7156 w 12337"/>
              <a:gd name="connsiteY31" fmla="*/ 9157 h 10000"/>
              <a:gd name="connsiteX32" fmla="*/ 6789 w 12337"/>
              <a:gd name="connsiteY32" fmla="*/ 9382 h 10000"/>
              <a:gd name="connsiteX33" fmla="*/ 6330 w 12337"/>
              <a:gd name="connsiteY33" fmla="*/ 9494 h 10000"/>
              <a:gd name="connsiteX34" fmla="*/ 6239 w 12337"/>
              <a:gd name="connsiteY34" fmla="*/ 9719 h 10000"/>
              <a:gd name="connsiteX35" fmla="*/ 5872 w 12337"/>
              <a:gd name="connsiteY35" fmla="*/ 9831 h 10000"/>
              <a:gd name="connsiteX36" fmla="*/ 5596 w 12337"/>
              <a:gd name="connsiteY36" fmla="*/ 10000 h 10000"/>
              <a:gd name="connsiteX37" fmla="*/ 4954 w 12337"/>
              <a:gd name="connsiteY37" fmla="*/ 10000 h 10000"/>
              <a:gd name="connsiteX38" fmla="*/ 4404 w 12337"/>
              <a:gd name="connsiteY38" fmla="*/ 10000 h 10000"/>
              <a:gd name="connsiteX39" fmla="*/ 3945 w 12337"/>
              <a:gd name="connsiteY39" fmla="*/ 9831 h 10000"/>
              <a:gd name="connsiteX40" fmla="*/ 3670 w 12337"/>
              <a:gd name="connsiteY40" fmla="*/ 9719 h 10000"/>
              <a:gd name="connsiteX41" fmla="*/ 3578 w 12337"/>
              <a:gd name="connsiteY41" fmla="*/ 9494 h 10000"/>
              <a:gd name="connsiteX42" fmla="*/ 3211 w 12337"/>
              <a:gd name="connsiteY42" fmla="*/ 9382 h 10000"/>
              <a:gd name="connsiteX43" fmla="*/ 2844 w 12337"/>
              <a:gd name="connsiteY43" fmla="*/ 9157 h 10000"/>
              <a:gd name="connsiteX44" fmla="*/ 2661 w 12337"/>
              <a:gd name="connsiteY44" fmla="*/ 9045 h 10000"/>
              <a:gd name="connsiteX45" fmla="*/ 2569 w 12337"/>
              <a:gd name="connsiteY45" fmla="*/ 8820 h 10000"/>
              <a:gd name="connsiteX46" fmla="*/ 2569 w 12337"/>
              <a:gd name="connsiteY46" fmla="*/ 8202 h 10000"/>
              <a:gd name="connsiteX0" fmla="*/ 7339 w 10083"/>
              <a:gd name="connsiteY0" fmla="*/ 5730 h 10000"/>
              <a:gd name="connsiteX1" fmla="*/ 8831 w 10083"/>
              <a:gd name="connsiteY1" fmla="*/ 4917 h 10000"/>
              <a:gd name="connsiteX2" fmla="*/ 10000 w 10083"/>
              <a:gd name="connsiteY2" fmla="*/ 2978 h 10000"/>
              <a:gd name="connsiteX3" fmla="*/ 9908 w 10083"/>
              <a:gd name="connsiteY3" fmla="*/ 2360 h 10000"/>
              <a:gd name="connsiteX4" fmla="*/ 9541 w 10083"/>
              <a:gd name="connsiteY4" fmla="*/ 1854 h 10000"/>
              <a:gd name="connsiteX5" fmla="*/ 9174 w 10083"/>
              <a:gd name="connsiteY5" fmla="*/ 1292 h 10000"/>
              <a:gd name="connsiteX6" fmla="*/ 8440 w 10083"/>
              <a:gd name="connsiteY6" fmla="*/ 843 h 10000"/>
              <a:gd name="connsiteX7" fmla="*/ 7798 w 10083"/>
              <a:gd name="connsiteY7" fmla="*/ 449 h 10000"/>
              <a:gd name="connsiteX8" fmla="*/ 6881 w 10083"/>
              <a:gd name="connsiteY8" fmla="*/ 169 h 10000"/>
              <a:gd name="connsiteX9" fmla="*/ 5963 w 10083"/>
              <a:gd name="connsiteY9" fmla="*/ 0 h 10000"/>
              <a:gd name="connsiteX10" fmla="*/ 4954 w 10083"/>
              <a:gd name="connsiteY10" fmla="*/ 0 h 10000"/>
              <a:gd name="connsiteX11" fmla="*/ 3945 w 10083"/>
              <a:gd name="connsiteY11" fmla="*/ 0 h 10000"/>
              <a:gd name="connsiteX12" fmla="*/ 2936 w 10083"/>
              <a:gd name="connsiteY12" fmla="*/ 169 h 10000"/>
              <a:gd name="connsiteX13" fmla="*/ 2202 w 10083"/>
              <a:gd name="connsiteY13" fmla="*/ 449 h 10000"/>
              <a:gd name="connsiteX14" fmla="*/ 1376 w 10083"/>
              <a:gd name="connsiteY14" fmla="*/ 843 h 10000"/>
              <a:gd name="connsiteX15" fmla="*/ 826 w 10083"/>
              <a:gd name="connsiteY15" fmla="*/ 1292 h 10000"/>
              <a:gd name="connsiteX16" fmla="*/ 275 w 10083"/>
              <a:gd name="connsiteY16" fmla="*/ 1854 h 10000"/>
              <a:gd name="connsiteX17" fmla="*/ 92 w 10083"/>
              <a:gd name="connsiteY17" fmla="*/ 2360 h 10000"/>
              <a:gd name="connsiteX18" fmla="*/ 0 w 10083"/>
              <a:gd name="connsiteY18" fmla="*/ 2978 h 10000"/>
              <a:gd name="connsiteX19" fmla="*/ 0 w 10083"/>
              <a:gd name="connsiteY19" fmla="*/ 3483 h 10000"/>
              <a:gd name="connsiteX20" fmla="*/ 183 w 10083"/>
              <a:gd name="connsiteY20" fmla="*/ 3876 h 10000"/>
              <a:gd name="connsiteX21" fmla="*/ 367 w 10083"/>
              <a:gd name="connsiteY21" fmla="*/ 4213 h 10000"/>
              <a:gd name="connsiteX22" fmla="*/ 642 w 10083"/>
              <a:gd name="connsiteY22" fmla="*/ 4663 h 10000"/>
              <a:gd name="connsiteX23" fmla="*/ 1101 w 10083"/>
              <a:gd name="connsiteY23" fmla="*/ 4888 h 10000"/>
              <a:gd name="connsiteX24" fmla="*/ 1560 w 10083"/>
              <a:gd name="connsiteY24" fmla="*/ 5281 h 10000"/>
              <a:gd name="connsiteX25" fmla="*/ 1927 w 10083"/>
              <a:gd name="connsiteY25" fmla="*/ 5506 h 10000"/>
              <a:gd name="connsiteX26" fmla="*/ 2569 w 10083"/>
              <a:gd name="connsiteY26" fmla="*/ 5730 h 10000"/>
              <a:gd name="connsiteX27" fmla="*/ 2569 w 10083"/>
              <a:gd name="connsiteY27" fmla="*/ 7191 h 10000"/>
              <a:gd name="connsiteX28" fmla="*/ 7339 w 10083"/>
              <a:gd name="connsiteY28" fmla="*/ 7191 h 10000"/>
              <a:gd name="connsiteX29" fmla="*/ 7339 w 10083"/>
              <a:gd name="connsiteY29" fmla="*/ 8820 h 10000"/>
              <a:gd name="connsiteX30" fmla="*/ 7248 w 10083"/>
              <a:gd name="connsiteY30" fmla="*/ 9045 h 10000"/>
              <a:gd name="connsiteX31" fmla="*/ 7156 w 10083"/>
              <a:gd name="connsiteY31" fmla="*/ 9157 h 10000"/>
              <a:gd name="connsiteX32" fmla="*/ 6789 w 10083"/>
              <a:gd name="connsiteY32" fmla="*/ 9382 h 10000"/>
              <a:gd name="connsiteX33" fmla="*/ 6330 w 10083"/>
              <a:gd name="connsiteY33" fmla="*/ 9494 h 10000"/>
              <a:gd name="connsiteX34" fmla="*/ 6239 w 10083"/>
              <a:gd name="connsiteY34" fmla="*/ 9719 h 10000"/>
              <a:gd name="connsiteX35" fmla="*/ 5872 w 10083"/>
              <a:gd name="connsiteY35" fmla="*/ 9831 h 10000"/>
              <a:gd name="connsiteX36" fmla="*/ 5596 w 10083"/>
              <a:gd name="connsiteY36" fmla="*/ 10000 h 10000"/>
              <a:gd name="connsiteX37" fmla="*/ 4954 w 10083"/>
              <a:gd name="connsiteY37" fmla="*/ 10000 h 10000"/>
              <a:gd name="connsiteX38" fmla="*/ 4404 w 10083"/>
              <a:gd name="connsiteY38" fmla="*/ 10000 h 10000"/>
              <a:gd name="connsiteX39" fmla="*/ 3945 w 10083"/>
              <a:gd name="connsiteY39" fmla="*/ 9831 h 10000"/>
              <a:gd name="connsiteX40" fmla="*/ 3670 w 10083"/>
              <a:gd name="connsiteY40" fmla="*/ 9719 h 10000"/>
              <a:gd name="connsiteX41" fmla="*/ 3578 w 10083"/>
              <a:gd name="connsiteY41" fmla="*/ 9494 h 10000"/>
              <a:gd name="connsiteX42" fmla="*/ 3211 w 10083"/>
              <a:gd name="connsiteY42" fmla="*/ 9382 h 10000"/>
              <a:gd name="connsiteX43" fmla="*/ 2844 w 10083"/>
              <a:gd name="connsiteY43" fmla="*/ 9157 h 10000"/>
              <a:gd name="connsiteX44" fmla="*/ 2661 w 10083"/>
              <a:gd name="connsiteY44" fmla="*/ 9045 h 10000"/>
              <a:gd name="connsiteX45" fmla="*/ 2569 w 10083"/>
              <a:gd name="connsiteY45" fmla="*/ 8820 h 10000"/>
              <a:gd name="connsiteX46" fmla="*/ 2569 w 10083"/>
              <a:gd name="connsiteY46" fmla="*/ 8202 h 10000"/>
              <a:gd name="connsiteX0" fmla="*/ 7339 w 10189"/>
              <a:gd name="connsiteY0" fmla="*/ 5730 h 10000"/>
              <a:gd name="connsiteX1" fmla="*/ 9670 w 10189"/>
              <a:gd name="connsiteY1" fmla="*/ 4395 h 10000"/>
              <a:gd name="connsiteX2" fmla="*/ 10000 w 10189"/>
              <a:gd name="connsiteY2" fmla="*/ 2978 h 10000"/>
              <a:gd name="connsiteX3" fmla="*/ 9908 w 10189"/>
              <a:gd name="connsiteY3" fmla="*/ 2360 h 10000"/>
              <a:gd name="connsiteX4" fmla="*/ 9541 w 10189"/>
              <a:gd name="connsiteY4" fmla="*/ 1854 h 10000"/>
              <a:gd name="connsiteX5" fmla="*/ 9174 w 10189"/>
              <a:gd name="connsiteY5" fmla="*/ 1292 h 10000"/>
              <a:gd name="connsiteX6" fmla="*/ 8440 w 10189"/>
              <a:gd name="connsiteY6" fmla="*/ 843 h 10000"/>
              <a:gd name="connsiteX7" fmla="*/ 7798 w 10189"/>
              <a:gd name="connsiteY7" fmla="*/ 449 h 10000"/>
              <a:gd name="connsiteX8" fmla="*/ 6881 w 10189"/>
              <a:gd name="connsiteY8" fmla="*/ 169 h 10000"/>
              <a:gd name="connsiteX9" fmla="*/ 5963 w 10189"/>
              <a:gd name="connsiteY9" fmla="*/ 0 h 10000"/>
              <a:gd name="connsiteX10" fmla="*/ 4954 w 10189"/>
              <a:gd name="connsiteY10" fmla="*/ 0 h 10000"/>
              <a:gd name="connsiteX11" fmla="*/ 3945 w 10189"/>
              <a:gd name="connsiteY11" fmla="*/ 0 h 10000"/>
              <a:gd name="connsiteX12" fmla="*/ 2936 w 10189"/>
              <a:gd name="connsiteY12" fmla="*/ 169 h 10000"/>
              <a:gd name="connsiteX13" fmla="*/ 2202 w 10189"/>
              <a:gd name="connsiteY13" fmla="*/ 449 h 10000"/>
              <a:gd name="connsiteX14" fmla="*/ 1376 w 10189"/>
              <a:gd name="connsiteY14" fmla="*/ 843 h 10000"/>
              <a:gd name="connsiteX15" fmla="*/ 826 w 10189"/>
              <a:gd name="connsiteY15" fmla="*/ 1292 h 10000"/>
              <a:gd name="connsiteX16" fmla="*/ 275 w 10189"/>
              <a:gd name="connsiteY16" fmla="*/ 1854 h 10000"/>
              <a:gd name="connsiteX17" fmla="*/ 92 w 10189"/>
              <a:gd name="connsiteY17" fmla="*/ 2360 h 10000"/>
              <a:gd name="connsiteX18" fmla="*/ 0 w 10189"/>
              <a:gd name="connsiteY18" fmla="*/ 2978 h 10000"/>
              <a:gd name="connsiteX19" fmla="*/ 0 w 10189"/>
              <a:gd name="connsiteY19" fmla="*/ 3483 h 10000"/>
              <a:gd name="connsiteX20" fmla="*/ 183 w 10189"/>
              <a:gd name="connsiteY20" fmla="*/ 3876 h 10000"/>
              <a:gd name="connsiteX21" fmla="*/ 367 w 10189"/>
              <a:gd name="connsiteY21" fmla="*/ 4213 h 10000"/>
              <a:gd name="connsiteX22" fmla="*/ 642 w 10189"/>
              <a:gd name="connsiteY22" fmla="*/ 4663 h 10000"/>
              <a:gd name="connsiteX23" fmla="*/ 1101 w 10189"/>
              <a:gd name="connsiteY23" fmla="*/ 4888 h 10000"/>
              <a:gd name="connsiteX24" fmla="*/ 1560 w 10189"/>
              <a:gd name="connsiteY24" fmla="*/ 5281 h 10000"/>
              <a:gd name="connsiteX25" fmla="*/ 1927 w 10189"/>
              <a:gd name="connsiteY25" fmla="*/ 5506 h 10000"/>
              <a:gd name="connsiteX26" fmla="*/ 2569 w 10189"/>
              <a:gd name="connsiteY26" fmla="*/ 5730 h 10000"/>
              <a:gd name="connsiteX27" fmla="*/ 2569 w 10189"/>
              <a:gd name="connsiteY27" fmla="*/ 7191 h 10000"/>
              <a:gd name="connsiteX28" fmla="*/ 7339 w 10189"/>
              <a:gd name="connsiteY28" fmla="*/ 7191 h 10000"/>
              <a:gd name="connsiteX29" fmla="*/ 7339 w 10189"/>
              <a:gd name="connsiteY29" fmla="*/ 8820 h 10000"/>
              <a:gd name="connsiteX30" fmla="*/ 7248 w 10189"/>
              <a:gd name="connsiteY30" fmla="*/ 9045 h 10000"/>
              <a:gd name="connsiteX31" fmla="*/ 7156 w 10189"/>
              <a:gd name="connsiteY31" fmla="*/ 9157 h 10000"/>
              <a:gd name="connsiteX32" fmla="*/ 6789 w 10189"/>
              <a:gd name="connsiteY32" fmla="*/ 9382 h 10000"/>
              <a:gd name="connsiteX33" fmla="*/ 6330 w 10189"/>
              <a:gd name="connsiteY33" fmla="*/ 9494 h 10000"/>
              <a:gd name="connsiteX34" fmla="*/ 6239 w 10189"/>
              <a:gd name="connsiteY34" fmla="*/ 9719 h 10000"/>
              <a:gd name="connsiteX35" fmla="*/ 5872 w 10189"/>
              <a:gd name="connsiteY35" fmla="*/ 9831 h 10000"/>
              <a:gd name="connsiteX36" fmla="*/ 5596 w 10189"/>
              <a:gd name="connsiteY36" fmla="*/ 10000 h 10000"/>
              <a:gd name="connsiteX37" fmla="*/ 4954 w 10189"/>
              <a:gd name="connsiteY37" fmla="*/ 10000 h 10000"/>
              <a:gd name="connsiteX38" fmla="*/ 4404 w 10189"/>
              <a:gd name="connsiteY38" fmla="*/ 10000 h 10000"/>
              <a:gd name="connsiteX39" fmla="*/ 3945 w 10189"/>
              <a:gd name="connsiteY39" fmla="*/ 9831 h 10000"/>
              <a:gd name="connsiteX40" fmla="*/ 3670 w 10189"/>
              <a:gd name="connsiteY40" fmla="*/ 9719 h 10000"/>
              <a:gd name="connsiteX41" fmla="*/ 3578 w 10189"/>
              <a:gd name="connsiteY41" fmla="*/ 9494 h 10000"/>
              <a:gd name="connsiteX42" fmla="*/ 3211 w 10189"/>
              <a:gd name="connsiteY42" fmla="*/ 9382 h 10000"/>
              <a:gd name="connsiteX43" fmla="*/ 2844 w 10189"/>
              <a:gd name="connsiteY43" fmla="*/ 9157 h 10000"/>
              <a:gd name="connsiteX44" fmla="*/ 2661 w 10189"/>
              <a:gd name="connsiteY44" fmla="*/ 9045 h 10000"/>
              <a:gd name="connsiteX45" fmla="*/ 2569 w 10189"/>
              <a:gd name="connsiteY45" fmla="*/ 8820 h 10000"/>
              <a:gd name="connsiteX46" fmla="*/ 2569 w 10189"/>
              <a:gd name="connsiteY46" fmla="*/ 8202 h 10000"/>
              <a:gd name="connsiteX0" fmla="*/ 7339 w 10394"/>
              <a:gd name="connsiteY0" fmla="*/ 5730 h 10000"/>
              <a:gd name="connsiteX1" fmla="*/ 9670 w 10394"/>
              <a:gd name="connsiteY1" fmla="*/ 4395 h 10000"/>
              <a:gd name="connsiteX2" fmla="*/ 10000 w 10394"/>
              <a:gd name="connsiteY2" fmla="*/ 2978 h 10000"/>
              <a:gd name="connsiteX3" fmla="*/ 9908 w 10394"/>
              <a:gd name="connsiteY3" fmla="*/ 2360 h 10000"/>
              <a:gd name="connsiteX4" fmla="*/ 9541 w 10394"/>
              <a:gd name="connsiteY4" fmla="*/ 1854 h 10000"/>
              <a:gd name="connsiteX5" fmla="*/ 9174 w 10394"/>
              <a:gd name="connsiteY5" fmla="*/ 1292 h 10000"/>
              <a:gd name="connsiteX6" fmla="*/ 8440 w 10394"/>
              <a:gd name="connsiteY6" fmla="*/ 843 h 10000"/>
              <a:gd name="connsiteX7" fmla="*/ 7798 w 10394"/>
              <a:gd name="connsiteY7" fmla="*/ 449 h 10000"/>
              <a:gd name="connsiteX8" fmla="*/ 6881 w 10394"/>
              <a:gd name="connsiteY8" fmla="*/ 169 h 10000"/>
              <a:gd name="connsiteX9" fmla="*/ 5963 w 10394"/>
              <a:gd name="connsiteY9" fmla="*/ 0 h 10000"/>
              <a:gd name="connsiteX10" fmla="*/ 4954 w 10394"/>
              <a:gd name="connsiteY10" fmla="*/ 0 h 10000"/>
              <a:gd name="connsiteX11" fmla="*/ 3945 w 10394"/>
              <a:gd name="connsiteY11" fmla="*/ 0 h 10000"/>
              <a:gd name="connsiteX12" fmla="*/ 2936 w 10394"/>
              <a:gd name="connsiteY12" fmla="*/ 169 h 10000"/>
              <a:gd name="connsiteX13" fmla="*/ 2202 w 10394"/>
              <a:gd name="connsiteY13" fmla="*/ 449 h 10000"/>
              <a:gd name="connsiteX14" fmla="*/ 1376 w 10394"/>
              <a:gd name="connsiteY14" fmla="*/ 843 h 10000"/>
              <a:gd name="connsiteX15" fmla="*/ 826 w 10394"/>
              <a:gd name="connsiteY15" fmla="*/ 1292 h 10000"/>
              <a:gd name="connsiteX16" fmla="*/ 275 w 10394"/>
              <a:gd name="connsiteY16" fmla="*/ 1854 h 10000"/>
              <a:gd name="connsiteX17" fmla="*/ 92 w 10394"/>
              <a:gd name="connsiteY17" fmla="*/ 2360 h 10000"/>
              <a:gd name="connsiteX18" fmla="*/ 0 w 10394"/>
              <a:gd name="connsiteY18" fmla="*/ 2978 h 10000"/>
              <a:gd name="connsiteX19" fmla="*/ 0 w 10394"/>
              <a:gd name="connsiteY19" fmla="*/ 3483 h 10000"/>
              <a:gd name="connsiteX20" fmla="*/ 183 w 10394"/>
              <a:gd name="connsiteY20" fmla="*/ 3876 h 10000"/>
              <a:gd name="connsiteX21" fmla="*/ 367 w 10394"/>
              <a:gd name="connsiteY21" fmla="*/ 4213 h 10000"/>
              <a:gd name="connsiteX22" fmla="*/ 642 w 10394"/>
              <a:gd name="connsiteY22" fmla="*/ 4663 h 10000"/>
              <a:gd name="connsiteX23" fmla="*/ 1101 w 10394"/>
              <a:gd name="connsiteY23" fmla="*/ 4888 h 10000"/>
              <a:gd name="connsiteX24" fmla="*/ 1560 w 10394"/>
              <a:gd name="connsiteY24" fmla="*/ 5281 h 10000"/>
              <a:gd name="connsiteX25" fmla="*/ 1927 w 10394"/>
              <a:gd name="connsiteY25" fmla="*/ 5506 h 10000"/>
              <a:gd name="connsiteX26" fmla="*/ 2569 w 10394"/>
              <a:gd name="connsiteY26" fmla="*/ 5730 h 10000"/>
              <a:gd name="connsiteX27" fmla="*/ 2569 w 10394"/>
              <a:gd name="connsiteY27" fmla="*/ 7191 h 10000"/>
              <a:gd name="connsiteX28" fmla="*/ 7339 w 10394"/>
              <a:gd name="connsiteY28" fmla="*/ 7191 h 10000"/>
              <a:gd name="connsiteX29" fmla="*/ 7339 w 10394"/>
              <a:gd name="connsiteY29" fmla="*/ 8820 h 10000"/>
              <a:gd name="connsiteX30" fmla="*/ 7248 w 10394"/>
              <a:gd name="connsiteY30" fmla="*/ 9045 h 10000"/>
              <a:gd name="connsiteX31" fmla="*/ 7156 w 10394"/>
              <a:gd name="connsiteY31" fmla="*/ 9157 h 10000"/>
              <a:gd name="connsiteX32" fmla="*/ 6789 w 10394"/>
              <a:gd name="connsiteY32" fmla="*/ 9382 h 10000"/>
              <a:gd name="connsiteX33" fmla="*/ 6330 w 10394"/>
              <a:gd name="connsiteY33" fmla="*/ 9494 h 10000"/>
              <a:gd name="connsiteX34" fmla="*/ 6239 w 10394"/>
              <a:gd name="connsiteY34" fmla="*/ 9719 h 10000"/>
              <a:gd name="connsiteX35" fmla="*/ 5872 w 10394"/>
              <a:gd name="connsiteY35" fmla="*/ 9831 h 10000"/>
              <a:gd name="connsiteX36" fmla="*/ 5596 w 10394"/>
              <a:gd name="connsiteY36" fmla="*/ 10000 h 10000"/>
              <a:gd name="connsiteX37" fmla="*/ 4954 w 10394"/>
              <a:gd name="connsiteY37" fmla="*/ 10000 h 10000"/>
              <a:gd name="connsiteX38" fmla="*/ 4404 w 10394"/>
              <a:gd name="connsiteY38" fmla="*/ 10000 h 10000"/>
              <a:gd name="connsiteX39" fmla="*/ 3945 w 10394"/>
              <a:gd name="connsiteY39" fmla="*/ 9831 h 10000"/>
              <a:gd name="connsiteX40" fmla="*/ 3670 w 10394"/>
              <a:gd name="connsiteY40" fmla="*/ 9719 h 10000"/>
              <a:gd name="connsiteX41" fmla="*/ 3578 w 10394"/>
              <a:gd name="connsiteY41" fmla="*/ 9494 h 10000"/>
              <a:gd name="connsiteX42" fmla="*/ 3211 w 10394"/>
              <a:gd name="connsiteY42" fmla="*/ 9382 h 10000"/>
              <a:gd name="connsiteX43" fmla="*/ 2844 w 10394"/>
              <a:gd name="connsiteY43" fmla="*/ 9157 h 10000"/>
              <a:gd name="connsiteX44" fmla="*/ 2661 w 10394"/>
              <a:gd name="connsiteY44" fmla="*/ 9045 h 10000"/>
              <a:gd name="connsiteX45" fmla="*/ 2569 w 10394"/>
              <a:gd name="connsiteY45" fmla="*/ 8820 h 10000"/>
              <a:gd name="connsiteX46" fmla="*/ 2569 w 10394"/>
              <a:gd name="connsiteY46" fmla="*/ 8202 h 10000"/>
              <a:gd name="connsiteX0" fmla="*/ 7339 w 10394"/>
              <a:gd name="connsiteY0" fmla="*/ 5730 h 10000"/>
              <a:gd name="connsiteX1" fmla="*/ 9670 w 10394"/>
              <a:gd name="connsiteY1" fmla="*/ 4395 h 10000"/>
              <a:gd name="connsiteX2" fmla="*/ 10000 w 10394"/>
              <a:gd name="connsiteY2" fmla="*/ 2978 h 10000"/>
              <a:gd name="connsiteX3" fmla="*/ 9541 w 10394"/>
              <a:gd name="connsiteY3" fmla="*/ 1854 h 10000"/>
              <a:gd name="connsiteX4" fmla="*/ 9174 w 10394"/>
              <a:gd name="connsiteY4" fmla="*/ 1292 h 10000"/>
              <a:gd name="connsiteX5" fmla="*/ 8440 w 10394"/>
              <a:gd name="connsiteY5" fmla="*/ 843 h 10000"/>
              <a:gd name="connsiteX6" fmla="*/ 7798 w 10394"/>
              <a:gd name="connsiteY6" fmla="*/ 449 h 10000"/>
              <a:gd name="connsiteX7" fmla="*/ 6881 w 10394"/>
              <a:gd name="connsiteY7" fmla="*/ 169 h 10000"/>
              <a:gd name="connsiteX8" fmla="*/ 5963 w 10394"/>
              <a:gd name="connsiteY8" fmla="*/ 0 h 10000"/>
              <a:gd name="connsiteX9" fmla="*/ 4954 w 10394"/>
              <a:gd name="connsiteY9" fmla="*/ 0 h 10000"/>
              <a:gd name="connsiteX10" fmla="*/ 3945 w 10394"/>
              <a:gd name="connsiteY10" fmla="*/ 0 h 10000"/>
              <a:gd name="connsiteX11" fmla="*/ 2936 w 10394"/>
              <a:gd name="connsiteY11" fmla="*/ 169 h 10000"/>
              <a:gd name="connsiteX12" fmla="*/ 2202 w 10394"/>
              <a:gd name="connsiteY12" fmla="*/ 449 h 10000"/>
              <a:gd name="connsiteX13" fmla="*/ 1376 w 10394"/>
              <a:gd name="connsiteY13" fmla="*/ 843 h 10000"/>
              <a:gd name="connsiteX14" fmla="*/ 826 w 10394"/>
              <a:gd name="connsiteY14" fmla="*/ 1292 h 10000"/>
              <a:gd name="connsiteX15" fmla="*/ 275 w 10394"/>
              <a:gd name="connsiteY15" fmla="*/ 1854 h 10000"/>
              <a:gd name="connsiteX16" fmla="*/ 92 w 10394"/>
              <a:gd name="connsiteY16" fmla="*/ 2360 h 10000"/>
              <a:gd name="connsiteX17" fmla="*/ 0 w 10394"/>
              <a:gd name="connsiteY17" fmla="*/ 2978 h 10000"/>
              <a:gd name="connsiteX18" fmla="*/ 0 w 10394"/>
              <a:gd name="connsiteY18" fmla="*/ 3483 h 10000"/>
              <a:gd name="connsiteX19" fmla="*/ 183 w 10394"/>
              <a:gd name="connsiteY19" fmla="*/ 3876 h 10000"/>
              <a:gd name="connsiteX20" fmla="*/ 367 w 10394"/>
              <a:gd name="connsiteY20" fmla="*/ 4213 h 10000"/>
              <a:gd name="connsiteX21" fmla="*/ 642 w 10394"/>
              <a:gd name="connsiteY21" fmla="*/ 4663 h 10000"/>
              <a:gd name="connsiteX22" fmla="*/ 1101 w 10394"/>
              <a:gd name="connsiteY22" fmla="*/ 4888 h 10000"/>
              <a:gd name="connsiteX23" fmla="*/ 1560 w 10394"/>
              <a:gd name="connsiteY23" fmla="*/ 5281 h 10000"/>
              <a:gd name="connsiteX24" fmla="*/ 1927 w 10394"/>
              <a:gd name="connsiteY24" fmla="*/ 5506 h 10000"/>
              <a:gd name="connsiteX25" fmla="*/ 2569 w 10394"/>
              <a:gd name="connsiteY25" fmla="*/ 5730 h 10000"/>
              <a:gd name="connsiteX26" fmla="*/ 2569 w 10394"/>
              <a:gd name="connsiteY26" fmla="*/ 7191 h 10000"/>
              <a:gd name="connsiteX27" fmla="*/ 7339 w 10394"/>
              <a:gd name="connsiteY27" fmla="*/ 7191 h 10000"/>
              <a:gd name="connsiteX28" fmla="*/ 7339 w 10394"/>
              <a:gd name="connsiteY28" fmla="*/ 8820 h 10000"/>
              <a:gd name="connsiteX29" fmla="*/ 7248 w 10394"/>
              <a:gd name="connsiteY29" fmla="*/ 9045 h 10000"/>
              <a:gd name="connsiteX30" fmla="*/ 7156 w 10394"/>
              <a:gd name="connsiteY30" fmla="*/ 9157 h 10000"/>
              <a:gd name="connsiteX31" fmla="*/ 6789 w 10394"/>
              <a:gd name="connsiteY31" fmla="*/ 9382 h 10000"/>
              <a:gd name="connsiteX32" fmla="*/ 6330 w 10394"/>
              <a:gd name="connsiteY32" fmla="*/ 9494 h 10000"/>
              <a:gd name="connsiteX33" fmla="*/ 6239 w 10394"/>
              <a:gd name="connsiteY33" fmla="*/ 9719 h 10000"/>
              <a:gd name="connsiteX34" fmla="*/ 5872 w 10394"/>
              <a:gd name="connsiteY34" fmla="*/ 9831 h 10000"/>
              <a:gd name="connsiteX35" fmla="*/ 5596 w 10394"/>
              <a:gd name="connsiteY35" fmla="*/ 10000 h 10000"/>
              <a:gd name="connsiteX36" fmla="*/ 4954 w 10394"/>
              <a:gd name="connsiteY36" fmla="*/ 10000 h 10000"/>
              <a:gd name="connsiteX37" fmla="*/ 4404 w 10394"/>
              <a:gd name="connsiteY37" fmla="*/ 10000 h 10000"/>
              <a:gd name="connsiteX38" fmla="*/ 3945 w 10394"/>
              <a:gd name="connsiteY38" fmla="*/ 9831 h 10000"/>
              <a:gd name="connsiteX39" fmla="*/ 3670 w 10394"/>
              <a:gd name="connsiteY39" fmla="*/ 9719 h 10000"/>
              <a:gd name="connsiteX40" fmla="*/ 3578 w 10394"/>
              <a:gd name="connsiteY40" fmla="*/ 9494 h 10000"/>
              <a:gd name="connsiteX41" fmla="*/ 3211 w 10394"/>
              <a:gd name="connsiteY41" fmla="*/ 9382 h 10000"/>
              <a:gd name="connsiteX42" fmla="*/ 2844 w 10394"/>
              <a:gd name="connsiteY42" fmla="*/ 9157 h 10000"/>
              <a:gd name="connsiteX43" fmla="*/ 2661 w 10394"/>
              <a:gd name="connsiteY43" fmla="*/ 9045 h 10000"/>
              <a:gd name="connsiteX44" fmla="*/ 2569 w 10394"/>
              <a:gd name="connsiteY44" fmla="*/ 8820 h 10000"/>
              <a:gd name="connsiteX45" fmla="*/ 2569 w 10394"/>
              <a:gd name="connsiteY45" fmla="*/ 8202 h 10000"/>
              <a:gd name="connsiteX0" fmla="*/ 7339 w 10394"/>
              <a:gd name="connsiteY0" fmla="*/ 5730 h 10000"/>
              <a:gd name="connsiteX1" fmla="*/ 9670 w 10394"/>
              <a:gd name="connsiteY1" fmla="*/ 4395 h 10000"/>
              <a:gd name="connsiteX2" fmla="*/ 10000 w 10394"/>
              <a:gd name="connsiteY2" fmla="*/ 2978 h 10000"/>
              <a:gd name="connsiteX3" fmla="*/ 9174 w 10394"/>
              <a:gd name="connsiteY3" fmla="*/ 1292 h 10000"/>
              <a:gd name="connsiteX4" fmla="*/ 8440 w 10394"/>
              <a:gd name="connsiteY4" fmla="*/ 843 h 10000"/>
              <a:gd name="connsiteX5" fmla="*/ 7798 w 10394"/>
              <a:gd name="connsiteY5" fmla="*/ 449 h 10000"/>
              <a:gd name="connsiteX6" fmla="*/ 6881 w 10394"/>
              <a:gd name="connsiteY6" fmla="*/ 169 h 10000"/>
              <a:gd name="connsiteX7" fmla="*/ 5963 w 10394"/>
              <a:gd name="connsiteY7" fmla="*/ 0 h 10000"/>
              <a:gd name="connsiteX8" fmla="*/ 4954 w 10394"/>
              <a:gd name="connsiteY8" fmla="*/ 0 h 10000"/>
              <a:gd name="connsiteX9" fmla="*/ 3945 w 10394"/>
              <a:gd name="connsiteY9" fmla="*/ 0 h 10000"/>
              <a:gd name="connsiteX10" fmla="*/ 2936 w 10394"/>
              <a:gd name="connsiteY10" fmla="*/ 169 h 10000"/>
              <a:gd name="connsiteX11" fmla="*/ 2202 w 10394"/>
              <a:gd name="connsiteY11" fmla="*/ 449 h 10000"/>
              <a:gd name="connsiteX12" fmla="*/ 1376 w 10394"/>
              <a:gd name="connsiteY12" fmla="*/ 843 h 10000"/>
              <a:gd name="connsiteX13" fmla="*/ 826 w 10394"/>
              <a:gd name="connsiteY13" fmla="*/ 1292 h 10000"/>
              <a:gd name="connsiteX14" fmla="*/ 275 w 10394"/>
              <a:gd name="connsiteY14" fmla="*/ 1854 h 10000"/>
              <a:gd name="connsiteX15" fmla="*/ 92 w 10394"/>
              <a:gd name="connsiteY15" fmla="*/ 2360 h 10000"/>
              <a:gd name="connsiteX16" fmla="*/ 0 w 10394"/>
              <a:gd name="connsiteY16" fmla="*/ 2978 h 10000"/>
              <a:gd name="connsiteX17" fmla="*/ 0 w 10394"/>
              <a:gd name="connsiteY17" fmla="*/ 3483 h 10000"/>
              <a:gd name="connsiteX18" fmla="*/ 183 w 10394"/>
              <a:gd name="connsiteY18" fmla="*/ 3876 h 10000"/>
              <a:gd name="connsiteX19" fmla="*/ 367 w 10394"/>
              <a:gd name="connsiteY19" fmla="*/ 4213 h 10000"/>
              <a:gd name="connsiteX20" fmla="*/ 642 w 10394"/>
              <a:gd name="connsiteY20" fmla="*/ 4663 h 10000"/>
              <a:gd name="connsiteX21" fmla="*/ 1101 w 10394"/>
              <a:gd name="connsiteY21" fmla="*/ 4888 h 10000"/>
              <a:gd name="connsiteX22" fmla="*/ 1560 w 10394"/>
              <a:gd name="connsiteY22" fmla="*/ 5281 h 10000"/>
              <a:gd name="connsiteX23" fmla="*/ 1927 w 10394"/>
              <a:gd name="connsiteY23" fmla="*/ 5506 h 10000"/>
              <a:gd name="connsiteX24" fmla="*/ 2569 w 10394"/>
              <a:gd name="connsiteY24" fmla="*/ 5730 h 10000"/>
              <a:gd name="connsiteX25" fmla="*/ 2569 w 10394"/>
              <a:gd name="connsiteY25" fmla="*/ 7191 h 10000"/>
              <a:gd name="connsiteX26" fmla="*/ 7339 w 10394"/>
              <a:gd name="connsiteY26" fmla="*/ 7191 h 10000"/>
              <a:gd name="connsiteX27" fmla="*/ 7339 w 10394"/>
              <a:gd name="connsiteY27" fmla="*/ 8820 h 10000"/>
              <a:gd name="connsiteX28" fmla="*/ 7248 w 10394"/>
              <a:gd name="connsiteY28" fmla="*/ 9045 h 10000"/>
              <a:gd name="connsiteX29" fmla="*/ 7156 w 10394"/>
              <a:gd name="connsiteY29" fmla="*/ 9157 h 10000"/>
              <a:gd name="connsiteX30" fmla="*/ 6789 w 10394"/>
              <a:gd name="connsiteY30" fmla="*/ 9382 h 10000"/>
              <a:gd name="connsiteX31" fmla="*/ 6330 w 10394"/>
              <a:gd name="connsiteY31" fmla="*/ 9494 h 10000"/>
              <a:gd name="connsiteX32" fmla="*/ 6239 w 10394"/>
              <a:gd name="connsiteY32" fmla="*/ 9719 h 10000"/>
              <a:gd name="connsiteX33" fmla="*/ 5872 w 10394"/>
              <a:gd name="connsiteY33" fmla="*/ 9831 h 10000"/>
              <a:gd name="connsiteX34" fmla="*/ 5596 w 10394"/>
              <a:gd name="connsiteY34" fmla="*/ 10000 h 10000"/>
              <a:gd name="connsiteX35" fmla="*/ 4954 w 10394"/>
              <a:gd name="connsiteY35" fmla="*/ 10000 h 10000"/>
              <a:gd name="connsiteX36" fmla="*/ 4404 w 10394"/>
              <a:gd name="connsiteY36" fmla="*/ 10000 h 10000"/>
              <a:gd name="connsiteX37" fmla="*/ 3945 w 10394"/>
              <a:gd name="connsiteY37" fmla="*/ 9831 h 10000"/>
              <a:gd name="connsiteX38" fmla="*/ 3670 w 10394"/>
              <a:gd name="connsiteY38" fmla="*/ 9719 h 10000"/>
              <a:gd name="connsiteX39" fmla="*/ 3578 w 10394"/>
              <a:gd name="connsiteY39" fmla="*/ 9494 h 10000"/>
              <a:gd name="connsiteX40" fmla="*/ 3211 w 10394"/>
              <a:gd name="connsiteY40" fmla="*/ 9382 h 10000"/>
              <a:gd name="connsiteX41" fmla="*/ 2844 w 10394"/>
              <a:gd name="connsiteY41" fmla="*/ 9157 h 10000"/>
              <a:gd name="connsiteX42" fmla="*/ 2661 w 10394"/>
              <a:gd name="connsiteY42" fmla="*/ 9045 h 10000"/>
              <a:gd name="connsiteX43" fmla="*/ 2569 w 10394"/>
              <a:gd name="connsiteY43" fmla="*/ 8820 h 10000"/>
              <a:gd name="connsiteX44" fmla="*/ 2569 w 10394"/>
              <a:gd name="connsiteY44" fmla="*/ 8202 h 10000"/>
              <a:gd name="connsiteX0" fmla="*/ 7339 w 10394"/>
              <a:gd name="connsiteY0" fmla="*/ 5730 h 10000"/>
              <a:gd name="connsiteX1" fmla="*/ 9670 w 10394"/>
              <a:gd name="connsiteY1" fmla="*/ 4395 h 10000"/>
              <a:gd name="connsiteX2" fmla="*/ 10000 w 10394"/>
              <a:gd name="connsiteY2" fmla="*/ 2978 h 10000"/>
              <a:gd name="connsiteX3" fmla="*/ 8440 w 10394"/>
              <a:gd name="connsiteY3" fmla="*/ 843 h 10000"/>
              <a:gd name="connsiteX4" fmla="*/ 7798 w 10394"/>
              <a:gd name="connsiteY4" fmla="*/ 449 h 10000"/>
              <a:gd name="connsiteX5" fmla="*/ 6881 w 10394"/>
              <a:gd name="connsiteY5" fmla="*/ 169 h 10000"/>
              <a:gd name="connsiteX6" fmla="*/ 5963 w 10394"/>
              <a:gd name="connsiteY6" fmla="*/ 0 h 10000"/>
              <a:gd name="connsiteX7" fmla="*/ 4954 w 10394"/>
              <a:gd name="connsiteY7" fmla="*/ 0 h 10000"/>
              <a:gd name="connsiteX8" fmla="*/ 3945 w 10394"/>
              <a:gd name="connsiteY8" fmla="*/ 0 h 10000"/>
              <a:gd name="connsiteX9" fmla="*/ 2936 w 10394"/>
              <a:gd name="connsiteY9" fmla="*/ 169 h 10000"/>
              <a:gd name="connsiteX10" fmla="*/ 2202 w 10394"/>
              <a:gd name="connsiteY10" fmla="*/ 449 h 10000"/>
              <a:gd name="connsiteX11" fmla="*/ 1376 w 10394"/>
              <a:gd name="connsiteY11" fmla="*/ 843 h 10000"/>
              <a:gd name="connsiteX12" fmla="*/ 826 w 10394"/>
              <a:gd name="connsiteY12" fmla="*/ 1292 h 10000"/>
              <a:gd name="connsiteX13" fmla="*/ 275 w 10394"/>
              <a:gd name="connsiteY13" fmla="*/ 1854 h 10000"/>
              <a:gd name="connsiteX14" fmla="*/ 92 w 10394"/>
              <a:gd name="connsiteY14" fmla="*/ 2360 h 10000"/>
              <a:gd name="connsiteX15" fmla="*/ 0 w 10394"/>
              <a:gd name="connsiteY15" fmla="*/ 2978 h 10000"/>
              <a:gd name="connsiteX16" fmla="*/ 0 w 10394"/>
              <a:gd name="connsiteY16" fmla="*/ 3483 h 10000"/>
              <a:gd name="connsiteX17" fmla="*/ 183 w 10394"/>
              <a:gd name="connsiteY17" fmla="*/ 3876 h 10000"/>
              <a:gd name="connsiteX18" fmla="*/ 367 w 10394"/>
              <a:gd name="connsiteY18" fmla="*/ 4213 h 10000"/>
              <a:gd name="connsiteX19" fmla="*/ 642 w 10394"/>
              <a:gd name="connsiteY19" fmla="*/ 4663 h 10000"/>
              <a:gd name="connsiteX20" fmla="*/ 1101 w 10394"/>
              <a:gd name="connsiteY20" fmla="*/ 4888 h 10000"/>
              <a:gd name="connsiteX21" fmla="*/ 1560 w 10394"/>
              <a:gd name="connsiteY21" fmla="*/ 5281 h 10000"/>
              <a:gd name="connsiteX22" fmla="*/ 1927 w 10394"/>
              <a:gd name="connsiteY22" fmla="*/ 5506 h 10000"/>
              <a:gd name="connsiteX23" fmla="*/ 2569 w 10394"/>
              <a:gd name="connsiteY23" fmla="*/ 5730 h 10000"/>
              <a:gd name="connsiteX24" fmla="*/ 2569 w 10394"/>
              <a:gd name="connsiteY24" fmla="*/ 7191 h 10000"/>
              <a:gd name="connsiteX25" fmla="*/ 7339 w 10394"/>
              <a:gd name="connsiteY25" fmla="*/ 7191 h 10000"/>
              <a:gd name="connsiteX26" fmla="*/ 7339 w 10394"/>
              <a:gd name="connsiteY26" fmla="*/ 8820 h 10000"/>
              <a:gd name="connsiteX27" fmla="*/ 7248 w 10394"/>
              <a:gd name="connsiteY27" fmla="*/ 9045 h 10000"/>
              <a:gd name="connsiteX28" fmla="*/ 7156 w 10394"/>
              <a:gd name="connsiteY28" fmla="*/ 9157 h 10000"/>
              <a:gd name="connsiteX29" fmla="*/ 6789 w 10394"/>
              <a:gd name="connsiteY29" fmla="*/ 9382 h 10000"/>
              <a:gd name="connsiteX30" fmla="*/ 6330 w 10394"/>
              <a:gd name="connsiteY30" fmla="*/ 9494 h 10000"/>
              <a:gd name="connsiteX31" fmla="*/ 6239 w 10394"/>
              <a:gd name="connsiteY31" fmla="*/ 9719 h 10000"/>
              <a:gd name="connsiteX32" fmla="*/ 5872 w 10394"/>
              <a:gd name="connsiteY32" fmla="*/ 9831 h 10000"/>
              <a:gd name="connsiteX33" fmla="*/ 5596 w 10394"/>
              <a:gd name="connsiteY33" fmla="*/ 10000 h 10000"/>
              <a:gd name="connsiteX34" fmla="*/ 4954 w 10394"/>
              <a:gd name="connsiteY34" fmla="*/ 10000 h 10000"/>
              <a:gd name="connsiteX35" fmla="*/ 4404 w 10394"/>
              <a:gd name="connsiteY35" fmla="*/ 10000 h 10000"/>
              <a:gd name="connsiteX36" fmla="*/ 3945 w 10394"/>
              <a:gd name="connsiteY36" fmla="*/ 9831 h 10000"/>
              <a:gd name="connsiteX37" fmla="*/ 3670 w 10394"/>
              <a:gd name="connsiteY37" fmla="*/ 9719 h 10000"/>
              <a:gd name="connsiteX38" fmla="*/ 3578 w 10394"/>
              <a:gd name="connsiteY38" fmla="*/ 9494 h 10000"/>
              <a:gd name="connsiteX39" fmla="*/ 3211 w 10394"/>
              <a:gd name="connsiteY39" fmla="*/ 9382 h 10000"/>
              <a:gd name="connsiteX40" fmla="*/ 2844 w 10394"/>
              <a:gd name="connsiteY40" fmla="*/ 9157 h 10000"/>
              <a:gd name="connsiteX41" fmla="*/ 2661 w 10394"/>
              <a:gd name="connsiteY41" fmla="*/ 9045 h 10000"/>
              <a:gd name="connsiteX42" fmla="*/ 2569 w 10394"/>
              <a:gd name="connsiteY42" fmla="*/ 8820 h 10000"/>
              <a:gd name="connsiteX43" fmla="*/ 2569 w 10394"/>
              <a:gd name="connsiteY43" fmla="*/ 8202 h 10000"/>
              <a:gd name="connsiteX0" fmla="*/ 7339 w 10394"/>
              <a:gd name="connsiteY0" fmla="*/ 5730 h 10000"/>
              <a:gd name="connsiteX1" fmla="*/ 9670 w 10394"/>
              <a:gd name="connsiteY1" fmla="*/ 4395 h 10000"/>
              <a:gd name="connsiteX2" fmla="*/ 10000 w 10394"/>
              <a:gd name="connsiteY2" fmla="*/ 2978 h 10000"/>
              <a:gd name="connsiteX3" fmla="*/ 7798 w 10394"/>
              <a:gd name="connsiteY3" fmla="*/ 449 h 10000"/>
              <a:gd name="connsiteX4" fmla="*/ 6881 w 10394"/>
              <a:gd name="connsiteY4" fmla="*/ 169 h 10000"/>
              <a:gd name="connsiteX5" fmla="*/ 5963 w 10394"/>
              <a:gd name="connsiteY5" fmla="*/ 0 h 10000"/>
              <a:gd name="connsiteX6" fmla="*/ 4954 w 10394"/>
              <a:gd name="connsiteY6" fmla="*/ 0 h 10000"/>
              <a:gd name="connsiteX7" fmla="*/ 3945 w 10394"/>
              <a:gd name="connsiteY7" fmla="*/ 0 h 10000"/>
              <a:gd name="connsiteX8" fmla="*/ 2936 w 10394"/>
              <a:gd name="connsiteY8" fmla="*/ 169 h 10000"/>
              <a:gd name="connsiteX9" fmla="*/ 2202 w 10394"/>
              <a:gd name="connsiteY9" fmla="*/ 449 h 10000"/>
              <a:gd name="connsiteX10" fmla="*/ 1376 w 10394"/>
              <a:gd name="connsiteY10" fmla="*/ 843 h 10000"/>
              <a:gd name="connsiteX11" fmla="*/ 826 w 10394"/>
              <a:gd name="connsiteY11" fmla="*/ 1292 h 10000"/>
              <a:gd name="connsiteX12" fmla="*/ 275 w 10394"/>
              <a:gd name="connsiteY12" fmla="*/ 1854 h 10000"/>
              <a:gd name="connsiteX13" fmla="*/ 92 w 10394"/>
              <a:gd name="connsiteY13" fmla="*/ 2360 h 10000"/>
              <a:gd name="connsiteX14" fmla="*/ 0 w 10394"/>
              <a:gd name="connsiteY14" fmla="*/ 2978 h 10000"/>
              <a:gd name="connsiteX15" fmla="*/ 0 w 10394"/>
              <a:gd name="connsiteY15" fmla="*/ 3483 h 10000"/>
              <a:gd name="connsiteX16" fmla="*/ 183 w 10394"/>
              <a:gd name="connsiteY16" fmla="*/ 3876 h 10000"/>
              <a:gd name="connsiteX17" fmla="*/ 367 w 10394"/>
              <a:gd name="connsiteY17" fmla="*/ 4213 h 10000"/>
              <a:gd name="connsiteX18" fmla="*/ 642 w 10394"/>
              <a:gd name="connsiteY18" fmla="*/ 4663 h 10000"/>
              <a:gd name="connsiteX19" fmla="*/ 1101 w 10394"/>
              <a:gd name="connsiteY19" fmla="*/ 4888 h 10000"/>
              <a:gd name="connsiteX20" fmla="*/ 1560 w 10394"/>
              <a:gd name="connsiteY20" fmla="*/ 5281 h 10000"/>
              <a:gd name="connsiteX21" fmla="*/ 1927 w 10394"/>
              <a:gd name="connsiteY21" fmla="*/ 5506 h 10000"/>
              <a:gd name="connsiteX22" fmla="*/ 2569 w 10394"/>
              <a:gd name="connsiteY22" fmla="*/ 5730 h 10000"/>
              <a:gd name="connsiteX23" fmla="*/ 2569 w 10394"/>
              <a:gd name="connsiteY23" fmla="*/ 7191 h 10000"/>
              <a:gd name="connsiteX24" fmla="*/ 7339 w 10394"/>
              <a:gd name="connsiteY24" fmla="*/ 7191 h 10000"/>
              <a:gd name="connsiteX25" fmla="*/ 7339 w 10394"/>
              <a:gd name="connsiteY25" fmla="*/ 8820 h 10000"/>
              <a:gd name="connsiteX26" fmla="*/ 7248 w 10394"/>
              <a:gd name="connsiteY26" fmla="*/ 9045 h 10000"/>
              <a:gd name="connsiteX27" fmla="*/ 7156 w 10394"/>
              <a:gd name="connsiteY27" fmla="*/ 9157 h 10000"/>
              <a:gd name="connsiteX28" fmla="*/ 6789 w 10394"/>
              <a:gd name="connsiteY28" fmla="*/ 9382 h 10000"/>
              <a:gd name="connsiteX29" fmla="*/ 6330 w 10394"/>
              <a:gd name="connsiteY29" fmla="*/ 9494 h 10000"/>
              <a:gd name="connsiteX30" fmla="*/ 6239 w 10394"/>
              <a:gd name="connsiteY30" fmla="*/ 9719 h 10000"/>
              <a:gd name="connsiteX31" fmla="*/ 5872 w 10394"/>
              <a:gd name="connsiteY31" fmla="*/ 9831 h 10000"/>
              <a:gd name="connsiteX32" fmla="*/ 5596 w 10394"/>
              <a:gd name="connsiteY32" fmla="*/ 10000 h 10000"/>
              <a:gd name="connsiteX33" fmla="*/ 4954 w 10394"/>
              <a:gd name="connsiteY33" fmla="*/ 10000 h 10000"/>
              <a:gd name="connsiteX34" fmla="*/ 4404 w 10394"/>
              <a:gd name="connsiteY34" fmla="*/ 10000 h 10000"/>
              <a:gd name="connsiteX35" fmla="*/ 3945 w 10394"/>
              <a:gd name="connsiteY35" fmla="*/ 9831 h 10000"/>
              <a:gd name="connsiteX36" fmla="*/ 3670 w 10394"/>
              <a:gd name="connsiteY36" fmla="*/ 9719 h 10000"/>
              <a:gd name="connsiteX37" fmla="*/ 3578 w 10394"/>
              <a:gd name="connsiteY37" fmla="*/ 9494 h 10000"/>
              <a:gd name="connsiteX38" fmla="*/ 3211 w 10394"/>
              <a:gd name="connsiteY38" fmla="*/ 9382 h 10000"/>
              <a:gd name="connsiteX39" fmla="*/ 2844 w 10394"/>
              <a:gd name="connsiteY39" fmla="*/ 9157 h 10000"/>
              <a:gd name="connsiteX40" fmla="*/ 2661 w 10394"/>
              <a:gd name="connsiteY40" fmla="*/ 9045 h 10000"/>
              <a:gd name="connsiteX41" fmla="*/ 2569 w 10394"/>
              <a:gd name="connsiteY41" fmla="*/ 8820 h 10000"/>
              <a:gd name="connsiteX42" fmla="*/ 2569 w 10394"/>
              <a:gd name="connsiteY42" fmla="*/ 8202 h 10000"/>
              <a:gd name="connsiteX0" fmla="*/ 7339 w 10394"/>
              <a:gd name="connsiteY0" fmla="*/ 5730 h 10000"/>
              <a:gd name="connsiteX1" fmla="*/ 9670 w 10394"/>
              <a:gd name="connsiteY1" fmla="*/ 4395 h 10000"/>
              <a:gd name="connsiteX2" fmla="*/ 10000 w 10394"/>
              <a:gd name="connsiteY2" fmla="*/ 2978 h 10000"/>
              <a:gd name="connsiteX3" fmla="*/ 6881 w 10394"/>
              <a:gd name="connsiteY3" fmla="*/ 169 h 10000"/>
              <a:gd name="connsiteX4" fmla="*/ 5963 w 10394"/>
              <a:gd name="connsiteY4" fmla="*/ 0 h 10000"/>
              <a:gd name="connsiteX5" fmla="*/ 4954 w 10394"/>
              <a:gd name="connsiteY5" fmla="*/ 0 h 10000"/>
              <a:gd name="connsiteX6" fmla="*/ 3945 w 10394"/>
              <a:gd name="connsiteY6" fmla="*/ 0 h 10000"/>
              <a:gd name="connsiteX7" fmla="*/ 2936 w 10394"/>
              <a:gd name="connsiteY7" fmla="*/ 169 h 10000"/>
              <a:gd name="connsiteX8" fmla="*/ 2202 w 10394"/>
              <a:gd name="connsiteY8" fmla="*/ 449 h 10000"/>
              <a:gd name="connsiteX9" fmla="*/ 1376 w 10394"/>
              <a:gd name="connsiteY9" fmla="*/ 843 h 10000"/>
              <a:gd name="connsiteX10" fmla="*/ 826 w 10394"/>
              <a:gd name="connsiteY10" fmla="*/ 1292 h 10000"/>
              <a:gd name="connsiteX11" fmla="*/ 275 w 10394"/>
              <a:gd name="connsiteY11" fmla="*/ 1854 h 10000"/>
              <a:gd name="connsiteX12" fmla="*/ 92 w 10394"/>
              <a:gd name="connsiteY12" fmla="*/ 2360 h 10000"/>
              <a:gd name="connsiteX13" fmla="*/ 0 w 10394"/>
              <a:gd name="connsiteY13" fmla="*/ 2978 h 10000"/>
              <a:gd name="connsiteX14" fmla="*/ 0 w 10394"/>
              <a:gd name="connsiteY14" fmla="*/ 3483 h 10000"/>
              <a:gd name="connsiteX15" fmla="*/ 183 w 10394"/>
              <a:gd name="connsiteY15" fmla="*/ 3876 h 10000"/>
              <a:gd name="connsiteX16" fmla="*/ 367 w 10394"/>
              <a:gd name="connsiteY16" fmla="*/ 4213 h 10000"/>
              <a:gd name="connsiteX17" fmla="*/ 642 w 10394"/>
              <a:gd name="connsiteY17" fmla="*/ 4663 h 10000"/>
              <a:gd name="connsiteX18" fmla="*/ 1101 w 10394"/>
              <a:gd name="connsiteY18" fmla="*/ 4888 h 10000"/>
              <a:gd name="connsiteX19" fmla="*/ 1560 w 10394"/>
              <a:gd name="connsiteY19" fmla="*/ 5281 h 10000"/>
              <a:gd name="connsiteX20" fmla="*/ 1927 w 10394"/>
              <a:gd name="connsiteY20" fmla="*/ 5506 h 10000"/>
              <a:gd name="connsiteX21" fmla="*/ 2569 w 10394"/>
              <a:gd name="connsiteY21" fmla="*/ 5730 h 10000"/>
              <a:gd name="connsiteX22" fmla="*/ 2569 w 10394"/>
              <a:gd name="connsiteY22" fmla="*/ 7191 h 10000"/>
              <a:gd name="connsiteX23" fmla="*/ 7339 w 10394"/>
              <a:gd name="connsiteY23" fmla="*/ 7191 h 10000"/>
              <a:gd name="connsiteX24" fmla="*/ 7339 w 10394"/>
              <a:gd name="connsiteY24" fmla="*/ 8820 h 10000"/>
              <a:gd name="connsiteX25" fmla="*/ 7248 w 10394"/>
              <a:gd name="connsiteY25" fmla="*/ 9045 h 10000"/>
              <a:gd name="connsiteX26" fmla="*/ 7156 w 10394"/>
              <a:gd name="connsiteY26" fmla="*/ 9157 h 10000"/>
              <a:gd name="connsiteX27" fmla="*/ 6789 w 10394"/>
              <a:gd name="connsiteY27" fmla="*/ 9382 h 10000"/>
              <a:gd name="connsiteX28" fmla="*/ 6330 w 10394"/>
              <a:gd name="connsiteY28" fmla="*/ 9494 h 10000"/>
              <a:gd name="connsiteX29" fmla="*/ 6239 w 10394"/>
              <a:gd name="connsiteY29" fmla="*/ 9719 h 10000"/>
              <a:gd name="connsiteX30" fmla="*/ 5872 w 10394"/>
              <a:gd name="connsiteY30" fmla="*/ 9831 h 10000"/>
              <a:gd name="connsiteX31" fmla="*/ 5596 w 10394"/>
              <a:gd name="connsiteY31" fmla="*/ 10000 h 10000"/>
              <a:gd name="connsiteX32" fmla="*/ 4954 w 10394"/>
              <a:gd name="connsiteY32" fmla="*/ 10000 h 10000"/>
              <a:gd name="connsiteX33" fmla="*/ 4404 w 10394"/>
              <a:gd name="connsiteY33" fmla="*/ 10000 h 10000"/>
              <a:gd name="connsiteX34" fmla="*/ 3945 w 10394"/>
              <a:gd name="connsiteY34" fmla="*/ 9831 h 10000"/>
              <a:gd name="connsiteX35" fmla="*/ 3670 w 10394"/>
              <a:gd name="connsiteY35" fmla="*/ 9719 h 10000"/>
              <a:gd name="connsiteX36" fmla="*/ 3578 w 10394"/>
              <a:gd name="connsiteY36" fmla="*/ 9494 h 10000"/>
              <a:gd name="connsiteX37" fmla="*/ 3211 w 10394"/>
              <a:gd name="connsiteY37" fmla="*/ 9382 h 10000"/>
              <a:gd name="connsiteX38" fmla="*/ 2844 w 10394"/>
              <a:gd name="connsiteY38" fmla="*/ 9157 h 10000"/>
              <a:gd name="connsiteX39" fmla="*/ 2661 w 10394"/>
              <a:gd name="connsiteY39" fmla="*/ 9045 h 10000"/>
              <a:gd name="connsiteX40" fmla="*/ 2569 w 10394"/>
              <a:gd name="connsiteY40" fmla="*/ 8820 h 10000"/>
              <a:gd name="connsiteX41" fmla="*/ 2569 w 10394"/>
              <a:gd name="connsiteY41" fmla="*/ 8202 h 10000"/>
              <a:gd name="connsiteX0" fmla="*/ 7339 w 10394"/>
              <a:gd name="connsiteY0" fmla="*/ 5950 h 10220"/>
              <a:gd name="connsiteX1" fmla="*/ 9670 w 10394"/>
              <a:gd name="connsiteY1" fmla="*/ 4615 h 10220"/>
              <a:gd name="connsiteX2" fmla="*/ 10000 w 10394"/>
              <a:gd name="connsiteY2" fmla="*/ 3198 h 10220"/>
              <a:gd name="connsiteX3" fmla="*/ 5963 w 10394"/>
              <a:gd name="connsiteY3" fmla="*/ 220 h 10220"/>
              <a:gd name="connsiteX4" fmla="*/ 4954 w 10394"/>
              <a:gd name="connsiteY4" fmla="*/ 220 h 10220"/>
              <a:gd name="connsiteX5" fmla="*/ 3945 w 10394"/>
              <a:gd name="connsiteY5" fmla="*/ 220 h 10220"/>
              <a:gd name="connsiteX6" fmla="*/ 2936 w 10394"/>
              <a:gd name="connsiteY6" fmla="*/ 389 h 10220"/>
              <a:gd name="connsiteX7" fmla="*/ 2202 w 10394"/>
              <a:gd name="connsiteY7" fmla="*/ 669 h 10220"/>
              <a:gd name="connsiteX8" fmla="*/ 1376 w 10394"/>
              <a:gd name="connsiteY8" fmla="*/ 1063 h 10220"/>
              <a:gd name="connsiteX9" fmla="*/ 826 w 10394"/>
              <a:gd name="connsiteY9" fmla="*/ 1512 h 10220"/>
              <a:gd name="connsiteX10" fmla="*/ 275 w 10394"/>
              <a:gd name="connsiteY10" fmla="*/ 2074 h 10220"/>
              <a:gd name="connsiteX11" fmla="*/ 92 w 10394"/>
              <a:gd name="connsiteY11" fmla="*/ 2580 h 10220"/>
              <a:gd name="connsiteX12" fmla="*/ 0 w 10394"/>
              <a:gd name="connsiteY12" fmla="*/ 3198 h 10220"/>
              <a:gd name="connsiteX13" fmla="*/ 0 w 10394"/>
              <a:gd name="connsiteY13" fmla="*/ 3703 h 10220"/>
              <a:gd name="connsiteX14" fmla="*/ 183 w 10394"/>
              <a:gd name="connsiteY14" fmla="*/ 4096 h 10220"/>
              <a:gd name="connsiteX15" fmla="*/ 367 w 10394"/>
              <a:gd name="connsiteY15" fmla="*/ 4433 h 10220"/>
              <a:gd name="connsiteX16" fmla="*/ 642 w 10394"/>
              <a:gd name="connsiteY16" fmla="*/ 4883 h 10220"/>
              <a:gd name="connsiteX17" fmla="*/ 1101 w 10394"/>
              <a:gd name="connsiteY17" fmla="*/ 5108 h 10220"/>
              <a:gd name="connsiteX18" fmla="*/ 1560 w 10394"/>
              <a:gd name="connsiteY18" fmla="*/ 5501 h 10220"/>
              <a:gd name="connsiteX19" fmla="*/ 1927 w 10394"/>
              <a:gd name="connsiteY19" fmla="*/ 5726 h 10220"/>
              <a:gd name="connsiteX20" fmla="*/ 2569 w 10394"/>
              <a:gd name="connsiteY20" fmla="*/ 5950 h 10220"/>
              <a:gd name="connsiteX21" fmla="*/ 2569 w 10394"/>
              <a:gd name="connsiteY21" fmla="*/ 7411 h 10220"/>
              <a:gd name="connsiteX22" fmla="*/ 7339 w 10394"/>
              <a:gd name="connsiteY22" fmla="*/ 7411 h 10220"/>
              <a:gd name="connsiteX23" fmla="*/ 7339 w 10394"/>
              <a:gd name="connsiteY23" fmla="*/ 9040 h 10220"/>
              <a:gd name="connsiteX24" fmla="*/ 7248 w 10394"/>
              <a:gd name="connsiteY24" fmla="*/ 9265 h 10220"/>
              <a:gd name="connsiteX25" fmla="*/ 7156 w 10394"/>
              <a:gd name="connsiteY25" fmla="*/ 9377 h 10220"/>
              <a:gd name="connsiteX26" fmla="*/ 6789 w 10394"/>
              <a:gd name="connsiteY26" fmla="*/ 9602 h 10220"/>
              <a:gd name="connsiteX27" fmla="*/ 6330 w 10394"/>
              <a:gd name="connsiteY27" fmla="*/ 9714 h 10220"/>
              <a:gd name="connsiteX28" fmla="*/ 6239 w 10394"/>
              <a:gd name="connsiteY28" fmla="*/ 9939 h 10220"/>
              <a:gd name="connsiteX29" fmla="*/ 5872 w 10394"/>
              <a:gd name="connsiteY29" fmla="*/ 10051 h 10220"/>
              <a:gd name="connsiteX30" fmla="*/ 5596 w 10394"/>
              <a:gd name="connsiteY30" fmla="*/ 10220 h 10220"/>
              <a:gd name="connsiteX31" fmla="*/ 4954 w 10394"/>
              <a:gd name="connsiteY31" fmla="*/ 10220 h 10220"/>
              <a:gd name="connsiteX32" fmla="*/ 4404 w 10394"/>
              <a:gd name="connsiteY32" fmla="*/ 10220 h 10220"/>
              <a:gd name="connsiteX33" fmla="*/ 3945 w 10394"/>
              <a:gd name="connsiteY33" fmla="*/ 10051 h 10220"/>
              <a:gd name="connsiteX34" fmla="*/ 3670 w 10394"/>
              <a:gd name="connsiteY34" fmla="*/ 9939 h 10220"/>
              <a:gd name="connsiteX35" fmla="*/ 3578 w 10394"/>
              <a:gd name="connsiteY35" fmla="*/ 9714 h 10220"/>
              <a:gd name="connsiteX36" fmla="*/ 3211 w 10394"/>
              <a:gd name="connsiteY36" fmla="*/ 9602 h 10220"/>
              <a:gd name="connsiteX37" fmla="*/ 2844 w 10394"/>
              <a:gd name="connsiteY37" fmla="*/ 9377 h 10220"/>
              <a:gd name="connsiteX38" fmla="*/ 2661 w 10394"/>
              <a:gd name="connsiteY38" fmla="*/ 9265 h 10220"/>
              <a:gd name="connsiteX39" fmla="*/ 2569 w 10394"/>
              <a:gd name="connsiteY39" fmla="*/ 9040 h 10220"/>
              <a:gd name="connsiteX40" fmla="*/ 2569 w 10394"/>
              <a:gd name="connsiteY40" fmla="*/ 8422 h 1022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3945 w 10394"/>
              <a:gd name="connsiteY4" fmla="*/ 0 h 10000"/>
              <a:gd name="connsiteX5" fmla="*/ 2936 w 10394"/>
              <a:gd name="connsiteY5" fmla="*/ 169 h 10000"/>
              <a:gd name="connsiteX6" fmla="*/ 2202 w 10394"/>
              <a:gd name="connsiteY6" fmla="*/ 449 h 10000"/>
              <a:gd name="connsiteX7" fmla="*/ 1376 w 10394"/>
              <a:gd name="connsiteY7" fmla="*/ 843 h 10000"/>
              <a:gd name="connsiteX8" fmla="*/ 826 w 10394"/>
              <a:gd name="connsiteY8" fmla="*/ 1292 h 10000"/>
              <a:gd name="connsiteX9" fmla="*/ 275 w 10394"/>
              <a:gd name="connsiteY9" fmla="*/ 1854 h 10000"/>
              <a:gd name="connsiteX10" fmla="*/ 92 w 10394"/>
              <a:gd name="connsiteY10" fmla="*/ 2360 h 10000"/>
              <a:gd name="connsiteX11" fmla="*/ 0 w 10394"/>
              <a:gd name="connsiteY11" fmla="*/ 2978 h 10000"/>
              <a:gd name="connsiteX12" fmla="*/ 0 w 10394"/>
              <a:gd name="connsiteY12" fmla="*/ 3483 h 10000"/>
              <a:gd name="connsiteX13" fmla="*/ 183 w 10394"/>
              <a:gd name="connsiteY13" fmla="*/ 3876 h 10000"/>
              <a:gd name="connsiteX14" fmla="*/ 367 w 10394"/>
              <a:gd name="connsiteY14" fmla="*/ 4213 h 10000"/>
              <a:gd name="connsiteX15" fmla="*/ 642 w 10394"/>
              <a:gd name="connsiteY15" fmla="*/ 4663 h 10000"/>
              <a:gd name="connsiteX16" fmla="*/ 1101 w 10394"/>
              <a:gd name="connsiteY16" fmla="*/ 4888 h 10000"/>
              <a:gd name="connsiteX17" fmla="*/ 1560 w 10394"/>
              <a:gd name="connsiteY17" fmla="*/ 5281 h 10000"/>
              <a:gd name="connsiteX18" fmla="*/ 1927 w 10394"/>
              <a:gd name="connsiteY18" fmla="*/ 5506 h 10000"/>
              <a:gd name="connsiteX19" fmla="*/ 2569 w 10394"/>
              <a:gd name="connsiteY19" fmla="*/ 5730 h 10000"/>
              <a:gd name="connsiteX20" fmla="*/ 2569 w 10394"/>
              <a:gd name="connsiteY20" fmla="*/ 7191 h 10000"/>
              <a:gd name="connsiteX21" fmla="*/ 7339 w 10394"/>
              <a:gd name="connsiteY21" fmla="*/ 7191 h 10000"/>
              <a:gd name="connsiteX22" fmla="*/ 7339 w 10394"/>
              <a:gd name="connsiteY22" fmla="*/ 8820 h 10000"/>
              <a:gd name="connsiteX23" fmla="*/ 7248 w 10394"/>
              <a:gd name="connsiteY23" fmla="*/ 9045 h 10000"/>
              <a:gd name="connsiteX24" fmla="*/ 7156 w 10394"/>
              <a:gd name="connsiteY24" fmla="*/ 9157 h 10000"/>
              <a:gd name="connsiteX25" fmla="*/ 6789 w 10394"/>
              <a:gd name="connsiteY25" fmla="*/ 9382 h 10000"/>
              <a:gd name="connsiteX26" fmla="*/ 6330 w 10394"/>
              <a:gd name="connsiteY26" fmla="*/ 9494 h 10000"/>
              <a:gd name="connsiteX27" fmla="*/ 6239 w 10394"/>
              <a:gd name="connsiteY27" fmla="*/ 9719 h 10000"/>
              <a:gd name="connsiteX28" fmla="*/ 5872 w 10394"/>
              <a:gd name="connsiteY28" fmla="*/ 9831 h 10000"/>
              <a:gd name="connsiteX29" fmla="*/ 5596 w 10394"/>
              <a:gd name="connsiteY29" fmla="*/ 10000 h 10000"/>
              <a:gd name="connsiteX30" fmla="*/ 4954 w 10394"/>
              <a:gd name="connsiteY30" fmla="*/ 10000 h 10000"/>
              <a:gd name="connsiteX31" fmla="*/ 4404 w 10394"/>
              <a:gd name="connsiteY31" fmla="*/ 10000 h 10000"/>
              <a:gd name="connsiteX32" fmla="*/ 3945 w 10394"/>
              <a:gd name="connsiteY32" fmla="*/ 9831 h 10000"/>
              <a:gd name="connsiteX33" fmla="*/ 3670 w 10394"/>
              <a:gd name="connsiteY33" fmla="*/ 9719 h 10000"/>
              <a:gd name="connsiteX34" fmla="*/ 3578 w 10394"/>
              <a:gd name="connsiteY34" fmla="*/ 9494 h 10000"/>
              <a:gd name="connsiteX35" fmla="*/ 3211 w 10394"/>
              <a:gd name="connsiteY35" fmla="*/ 9382 h 10000"/>
              <a:gd name="connsiteX36" fmla="*/ 2844 w 10394"/>
              <a:gd name="connsiteY36" fmla="*/ 9157 h 10000"/>
              <a:gd name="connsiteX37" fmla="*/ 2661 w 10394"/>
              <a:gd name="connsiteY37" fmla="*/ 9045 h 10000"/>
              <a:gd name="connsiteX38" fmla="*/ 2569 w 10394"/>
              <a:gd name="connsiteY38" fmla="*/ 8820 h 10000"/>
              <a:gd name="connsiteX39" fmla="*/ 2569 w 10394"/>
              <a:gd name="connsiteY39"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2936 w 10394"/>
              <a:gd name="connsiteY4" fmla="*/ 169 h 10000"/>
              <a:gd name="connsiteX5" fmla="*/ 2202 w 10394"/>
              <a:gd name="connsiteY5" fmla="*/ 449 h 10000"/>
              <a:gd name="connsiteX6" fmla="*/ 1376 w 10394"/>
              <a:gd name="connsiteY6" fmla="*/ 843 h 10000"/>
              <a:gd name="connsiteX7" fmla="*/ 826 w 10394"/>
              <a:gd name="connsiteY7" fmla="*/ 1292 h 10000"/>
              <a:gd name="connsiteX8" fmla="*/ 275 w 10394"/>
              <a:gd name="connsiteY8" fmla="*/ 1854 h 10000"/>
              <a:gd name="connsiteX9" fmla="*/ 92 w 10394"/>
              <a:gd name="connsiteY9" fmla="*/ 2360 h 10000"/>
              <a:gd name="connsiteX10" fmla="*/ 0 w 10394"/>
              <a:gd name="connsiteY10" fmla="*/ 2978 h 10000"/>
              <a:gd name="connsiteX11" fmla="*/ 0 w 10394"/>
              <a:gd name="connsiteY11" fmla="*/ 3483 h 10000"/>
              <a:gd name="connsiteX12" fmla="*/ 183 w 10394"/>
              <a:gd name="connsiteY12" fmla="*/ 3876 h 10000"/>
              <a:gd name="connsiteX13" fmla="*/ 367 w 10394"/>
              <a:gd name="connsiteY13" fmla="*/ 4213 h 10000"/>
              <a:gd name="connsiteX14" fmla="*/ 642 w 10394"/>
              <a:gd name="connsiteY14" fmla="*/ 4663 h 10000"/>
              <a:gd name="connsiteX15" fmla="*/ 1101 w 10394"/>
              <a:gd name="connsiteY15" fmla="*/ 4888 h 10000"/>
              <a:gd name="connsiteX16" fmla="*/ 1560 w 10394"/>
              <a:gd name="connsiteY16" fmla="*/ 5281 h 10000"/>
              <a:gd name="connsiteX17" fmla="*/ 1927 w 10394"/>
              <a:gd name="connsiteY17" fmla="*/ 5506 h 10000"/>
              <a:gd name="connsiteX18" fmla="*/ 2569 w 10394"/>
              <a:gd name="connsiteY18" fmla="*/ 5730 h 10000"/>
              <a:gd name="connsiteX19" fmla="*/ 2569 w 10394"/>
              <a:gd name="connsiteY19" fmla="*/ 7191 h 10000"/>
              <a:gd name="connsiteX20" fmla="*/ 7339 w 10394"/>
              <a:gd name="connsiteY20" fmla="*/ 7191 h 10000"/>
              <a:gd name="connsiteX21" fmla="*/ 7339 w 10394"/>
              <a:gd name="connsiteY21" fmla="*/ 8820 h 10000"/>
              <a:gd name="connsiteX22" fmla="*/ 7248 w 10394"/>
              <a:gd name="connsiteY22" fmla="*/ 9045 h 10000"/>
              <a:gd name="connsiteX23" fmla="*/ 7156 w 10394"/>
              <a:gd name="connsiteY23" fmla="*/ 9157 h 10000"/>
              <a:gd name="connsiteX24" fmla="*/ 6789 w 10394"/>
              <a:gd name="connsiteY24" fmla="*/ 9382 h 10000"/>
              <a:gd name="connsiteX25" fmla="*/ 6330 w 10394"/>
              <a:gd name="connsiteY25" fmla="*/ 9494 h 10000"/>
              <a:gd name="connsiteX26" fmla="*/ 6239 w 10394"/>
              <a:gd name="connsiteY26" fmla="*/ 9719 h 10000"/>
              <a:gd name="connsiteX27" fmla="*/ 5872 w 10394"/>
              <a:gd name="connsiteY27" fmla="*/ 9831 h 10000"/>
              <a:gd name="connsiteX28" fmla="*/ 5596 w 10394"/>
              <a:gd name="connsiteY28" fmla="*/ 10000 h 10000"/>
              <a:gd name="connsiteX29" fmla="*/ 4954 w 10394"/>
              <a:gd name="connsiteY29" fmla="*/ 10000 h 10000"/>
              <a:gd name="connsiteX30" fmla="*/ 4404 w 10394"/>
              <a:gd name="connsiteY30" fmla="*/ 10000 h 10000"/>
              <a:gd name="connsiteX31" fmla="*/ 3945 w 10394"/>
              <a:gd name="connsiteY31" fmla="*/ 9831 h 10000"/>
              <a:gd name="connsiteX32" fmla="*/ 3670 w 10394"/>
              <a:gd name="connsiteY32" fmla="*/ 9719 h 10000"/>
              <a:gd name="connsiteX33" fmla="*/ 3578 w 10394"/>
              <a:gd name="connsiteY33" fmla="*/ 9494 h 10000"/>
              <a:gd name="connsiteX34" fmla="*/ 3211 w 10394"/>
              <a:gd name="connsiteY34" fmla="*/ 9382 h 10000"/>
              <a:gd name="connsiteX35" fmla="*/ 2844 w 10394"/>
              <a:gd name="connsiteY35" fmla="*/ 9157 h 10000"/>
              <a:gd name="connsiteX36" fmla="*/ 2661 w 10394"/>
              <a:gd name="connsiteY36" fmla="*/ 9045 h 10000"/>
              <a:gd name="connsiteX37" fmla="*/ 2569 w 10394"/>
              <a:gd name="connsiteY37" fmla="*/ 8820 h 10000"/>
              <a:gd name="connsiteX38" fmla="*/ 2569 w 10394"/>
              <a:gd name="connsiteY38"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2936 w 10394"/>
              <a:gd name="connsiteY4" fmla="*/ 169 h 10000"/>
              <a:gd name="connsiteX5" fmla="*/ 1376 w 10394"/>
              <a:gd name="connsiteY5" fmla="*/ 843 h 10000"/>
              <a:gd name="connsiteX6" fmla="*/ 826 w 10394"/>
              <a:gd name="connsiteY6" fmla="*/ 1292 h 10000"/>
              <a:gd name="connsiteX7" fmla="*/ 275 w 10394"/>
              <a:gd name="connsiteY7" fmla="*/ 1854 h 10000"/>
              <a:gd name="connsiteX8" fmla="*/ 92 w 10394"/>
              <a:gd name="connsiteY8" fmla="*/ 2360 h 10000"/>
              <a:gd name="connsiteX9" fmla="*/ 0 w 10394"/>
              <a:gd name="connsiteY9" fmla="*/ 2978 h 10000"/>
              <a:gd name="connsiteX10" fmla="*/ 0 w 10394"/>
              <a:gd name="connsiteY10" fmla="*/ 3483 h 10000"/>
              <a:gd name="connsiteX11" fmla="*/ 183 w 10394"/>
              <a:gd name="connsiteY11" fmla="*/ 3876 h 10000"/>
              <a:gd name="connsiteX12" fmla="*/ 367 w 10394"/>
              <a:gd name="connsiteY12" fmla="*/ 4213 h 10000"/>
              <a:gd name="connsiteX13" fmla="*/ 642 w 10394"/>
              <a:gd name="connsiteY13" fmla="*/ 4663 h 10000"/>
              <a:gd name="connsiteX14" fmla="*/ 1101 w 10394"/>
              <a:gd name="connsiteY14" fmla="*/ 4888 h 10000"/>
              <a:gd name="connsiteX15" fmla="*/ 1560 w 10394"/>
              <a:gd name="connsiteY15" fmla="*/ 5281 h 10000"/>
              <a:gd name="connsiteX16" fmla="*/ 1927 w 10394"/>
              <a:gd name="connsiteY16" fmla="*/ 5506 h 10000"/>
              <a:gd name="connsiteX17" fmla="*/ 2569 w 10394"/>
              <a:gd name="connsiteY17" fmla="*/ 5730 h 10000"/>
              <a:gd name="connsiteX18" fmla="*/ 2569 w 10394"/>
              <a:gd name="connsiteY18" fmla="*/ 7191 h 10000"/>
              <a:gd name="connsiteX19" fmla="*/ 7339 w 10394"/>
              <a:gd name="connsiteY19" fmla="*/ 7191 h 10000"/>
              <a:gd name="connsiteX20" fmla="*/ 7339 w 10394"/>
              <a:gd name="connsiteY20" fmla="*/ 8820 h 10000"/>
              <a:gd name="connsiteX21" fmla="*/ 7248 w 10394"/>
              <a:gd name="connsiteY21" fmla="*/ 9045 h 10000"/>
              <a:gd name="connsiteX22" fmla="*/ 7156 w 10394"/>
              <a:gd name="connsiteY22" fmla="*/ 9157 h 10000"/>
              <a:gd name="connsiteX23" fmla="*/ 6789 w 10394"/>
              <a:gd name="connsiteY23" fmla="*/ 9382 h 10000"/>
              <a:gd name="connsiteX24" fmla="*/ 6330 w 10394"/>
              <a:gd name="connsiteY24" fmla="*/ 9494 h 10000"/>
              <a:gd name="connsiteX25" fmla="*/ 6239 w 10394"/>
              <a:gd name="connsiteY25" fmla="*/ 9719 h 10000"/>
              <a:gd name="connsiteX26" fmla="*/ 5872 w 10394"/>
              <a:gd name="connsiteY26" fmla="*/ 9831 h 10000"/>
              <a:gd name="connsiteX27" fmla="*/ 5596 w 10394"/>
              <a:gd name="connsiteY27" fmla="*/ 10000 h 10000"/>
              <a:gd name="connsiteX28" fmla="*/ 4954 w 10394"/>
              <a:gd name="connsiteY28" fmla="*/ 10000 h 10000"/>
              <a:gd name="connsiteX29" fmla="*/ 4404 w 10394"/>
              <a:gd name="connsiteY29" fmla="*/ 10000 h 10000"/>
              <a:gd name="connsiteX30" fmla="*/ 3945 w 10394"/>
              <a:gd name="connsiteY30" fmla="*/ 9831 h 10000"/>
              <a:gd name="connsiteX31" fmla="*/ 3670 w 10394"/>
              <a:gd name="connsiteY31" fmla="*/ 9719 h 10000"/>
              <a:gd name="connsiteX32" fmla="*/ 3578 w 10394"/>
              <a:gd name="connsiteY32" fmla="*/ 9494 h 10000"/>
              <a:gd name="connsiteX33" fmla="*/ 3211 w 10394"/>
              <a:gd name="connsiteY33" fmla="*/ 9382 h 10000"/>
              <a:gd name="connsiteX34" fmla="*/ 2844 w 10394"/>
              <a:gd name="connsiteY34" fmla="*/ 9157 h 10000"/>
              <a:gd name="connsiteX35" fmla="*/ 2661 w 10394"/>
              <a:gd name="connsiteY35" fmla="*/ 9045 h 10000"/>
              <a:gd name="connsiteX36" fmla="*/ 2569 w 10394"/>
              <a:gd name="connsiteY36" fmla="*/ 8820 h 10000"/>
              <a:gd name="connsiteX37" fmla="*/ 2569 w 10394"/>
              <a:gd name="connsiteY37"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2936 w 10394"/>
              <a:gd name="connsiteY4" fmla="*/ 169 h 10000"/>
              <a:gd name="connsiteX5" fmla="*/ 826 w 10394"/>
              <a:gd name="connsiteY5" fmla="*/ 1292 h 10000"/>
              <a:gd name="connsiteX6" fmla="*/ 275 w 10394"/>
              <a:gd name="connsiteY6" fmla="*/ 1854 h 10000"/>
              <a:gd name="connsiteX7" fmla="*/ 92 w 10394"/>
              <a:gd name="connsiteY7" fmla="*/ 2360 h 10000"/>
              <a:gd name="connsiteX8" fmla="*/ 0 w 10394"/>
              <a:gd name="connsiteY8" fmla="*/ 2978 h 10000"/>
              <a:gd name="connsiteX9" fmla="*/ 0 w 10394"/>
              <a:gd name="connsiteY9" fmla="*/ 3483 h 10000"/>
              <a:gd name="connsiteX10" fmla="*/ 183 w 10394"/>
              <a:gd name="connsiteY10" fmla="*/ 3876 h 10000"/>
              <a:gd name="connsiteX11" fmla="*/ 367 w 10394"/>
              <a:gd name="connsiteY11" fmla="*/ 4213 h 10000"/>
              <a:gd name="connsiteX12" fmla="*/ 642 w 10394"/>
              <a:gd name="connsiteY12" fmla="*/ 4663 h 10000"/>
              <a:gd name="connsiteX13" fmla="*/ 1101 w 10394"/>
              <a:gd name="connsiteY13" fmla="*/ 4888 h 10000"/>
              <a:gd name="connsiteX14" fmla="*/ 1560 w 10394"/>
              <a:gd name="connsiteY14" fmla="*/ 5281 h 10000"/>
              <a:gd name="connsiteX15" fmla="*/ 1927 w 10394"/>
              <a:gd name="connsiteY15" fmla="*/ 5506 h 10000"/>
              <a:gd name="connsiteX16" fmla="*/ 2569 w 10394"/>
              <a:gd name="connsiteY16" fmla="*/ 5730 h 10000"/>
              <a:gd name="connsiteX17" fmla="*/ 2569 w 10394"/>
              <a:gd name="connsiteY17" fmla="*/ 7191 h 10000"/>
              <a:gd name="connsiteX18" fmla="*/ 7339 w 10394"/>
              <a:gd name="connsiteY18" fmla="*/ 7191 h 10000"/>
              <a:gd name="connsiteX19" fmla="*/ 7339 w 10394"/>
              <a:gd name="connsiteY19" fmla="*/ 8820 h 10000"/>
              <a:gd name="connsiteX20" fmla="*/ 7248 w 10394"/>
              <a:gd name="connsiteY20" fmla="*/ 9045 h 10000"/>
              <a:gd name="connsiteX21" fmla="*/ 7156 w 10394"/>
              <a:gd name="connsiteY21" fmla="*/ 9157 h 10000"/>
              <a:gd name="connsiteX22" fmla="*/ 6789 w 10394"/>
              <a:gd name="connsiteY22" fmla="*/ 9382 h 10000"/>
              <a:gd name="connsiteX23" fmla="*/ 6330 w 10394"/>
              <a:gd name="connsiteY23" fmla="*/ 9494 h 10000"/>
              <a:gd name="connsiteX24" fmla="*/ 6239 w 10394"/>
              <a:gd name="connsiteY24" fmla="*/ 9719 h 10000"/>
              <a:gd name="connsiteX25" fmla="*/ 5872 w 10394"/>
              <a:gd name="connsiteY25" fmla="*/ 9831 h 10000"/>
              <a:gd name="connsiteX26" fmla="*/ 5596 w 10394"/>
              <a:gd name="connsiteY26" fmla="*/ 10000 h 10000"/>
              <a:gd name="connsiteX27" fmla="*/ 4954 w 10394"/>
              <a:gd name="connsiteY27" fmla="*/ 10000 h 10000"/>
              <a:gd name="connsiteX28" fmla="*/ 4404 w 10394"/>
              <a:gd name="connsiteY28" fmla="*/ 10000 h 10000"/>
              <a:gd name="connsiteX29" fmla="*/ 3945 w 10394"/>
              <a:gd name="connsiteY29" fmla="*/ 9831 h 10000"/>
              <a:gd name="connsiteX30" fmla="*/ 3670 w 10394"/>
              <a:gd name="connsiteY30" fmla="*/ 9719 h 10000"/>
              <a:gd name="connsiteX31" fmla="*/ 3578 w 10394"/>
              <a:gd name="connsiteY31" fmla="*/ 9494 h 10000"/>
              <a:gd name="connsiteX32" fmla="*/ 3211 w 10394"/>
              <a:gd name="connsiteY32" fmla="*/ 9382 h 10000"/>
              <a:gd name="connsiteX33" fmla="*/ 2844 w 10394"/>
              <a:gd name="connsiteY33" fmla="*/ 9157 h 10000"/>
              <a:gd name="connsiteX34" fmla="*/ 2661 w 10394"/>
              <a:gd name="connsiteY34" fmla="*/ 9045 h 10000"/>
              <a:gd name="connsiteX35" fmla="*/ 2569 w 10394"/>
              <a:gd name="connsiteY35" fmla="*/ 8820 h 10000"/>
              <a:gd name="connsiteX36" fmla="*/ 2569 w 10394"/>
              <a:gd name="connsiteY36"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826 w 10394"/>
              <a:gd name="connsiteY4" fmla="*/ 1292 h 10000"/>
              <a:gd name="connsiteX5" fmla="*/ 275 w 10394"/>
              <a:gd name="connsiteY5" fmla="*/ 1854 h 10000"/>
              <a:gd name="connsiteX6" fmla="*/ 92 w 10394"/>
              <a:gd name="connsiteY6" fmla="*/ 2360 h 10000"/>
              <a:gd name="connsiteX7" fmla="*/ 0 w 10394"/>
              <a:gd name="connsiteY7" fmla="*/ 2978 h 10000"/>
              <a:gd name="connsiteX8" fmla="*/ 0 w 10394"/>
              <a:gd name="connsiteY8" fmla="*/ 3483 h 10000"/>
              <a:gd name="connsiteX9" fmla="*/ 183 w 10394"/>
              <a:gd name="connsiteY9" fmla="*/ 3876 h 10000"/>
              <a:gd name="connsiteX10" fmla="*/ 367 w 10394"/>
              <a:gd name="connsiteY10" fmla="*/ 4213 h 10000"/>
              <a:gd name="connsiteX11" fmla="*/ 642 w 10394"/>
              <a:gd name="connsiteY11" fmla="*/ 4663 h 10000"/>
              <a:gd name="connsiteX12" fmla="*/ 1101 w 10394"/>
              <a:gd name="connsiteY12" fmla="*/ 4888 h 10000"/>
              <a:gd name="connsiteX13" fmla="*/ 1560 w 10394"/>
              <a:gd name="connsiteY13" fmla="*/ 5281 h 10000"/>
              <a:gd name="connsiteX14" fmla="*/ 1927 w 10394"/>
              <a:gd name="connsiteY14" fmla="*/ 5506 h 10000"/>
              <a:gd name="connsiteX15" fmla="*/ 2569 w 10394"/>
              <a:gd name="connsiteY15" fmla="*/ 5730 h 10000"/>
              <a:gd name="connsiteX16" fmla="*/ 2569 w 10394"/>
              <a:gd name="connsiteY16" fmla="*/ 7191 h 10000"/>
              <a:gd name="connsiteX17" fmla="*/ 7339 w 10394"/>
              <a:gd name="connsiteY17" fmla="*/ 7191 h 10000"/>
              <a:gd name="connsiteX18" fmla="*/ 7339 w 10394"/>
              <a:gd name="connsiteY18" fmla="*/ 8820 h 10000"/>
              <a:gd name="connsiteX19" fmla="*/ 7248 w 10394"/>
              <a:gd name="connsiteY19" fmla="*/ 9045 h 10000"/>
              <a:gd name="connsiteX20" fmla="*/ 7156 w 10394"/>
              <a:gd name="connsiteY20" fmla="*/ 9157 h 10000"/>
              <a:gd name="connsiteX21" fmla="*/ 6789 w 10394"/>
              <a:gd name="connsiteY21" fmla="*/ 9382 h 10000"/>
              <a:gd name="connsiteX22" fmla="*/ 6330 w 10394"/>
              <a:gd name="connsiteY22" fmla="*/ 9494 h 10000"/>
              <a:gd name="connsiteX23" fmla="*/ 6239 w 10394"/>
              <a:gd name="connsiteY23" fmla="*/ 9719 h 10000"/>
              <a:gd name="connsiteX24" fmla="*/ 5872 w 10394"/>
              <a:gd name="connsiteY24" fmla="*/ 9831 h 10000"/>
              <a:gd name="connsiteX25" fmla="*/ 5596 w 10394"/>
              <a:gd name="connsiteY25" fmla="*/ 10000 h 10000"/>
              <a:gd name="connsiteX26" fmla="*/ 4954 w 10394"/>
              <a:gd name="connsiteY26" fmla="*/ 10000 h 10000"/>
              <a:gd name="connsiteX27" fmla="*/ 4404 w 10394"/>
              <a:gd name="connsiteY27" fmla="*/ 10000 h 10000"/>
              <a:gd name="connsiteX28" fmla="*/ 3945 w 10394"/>
              <a:gd name="connsiteY28" fmla="*/ 9831 h 10000"/>
              <a:gd name="connsiteX29" fmla="*/ 3670 w 10394"/>
              <a:gd name="connsiteY29" fmla="*/ 9719 h 10000"/>
              <a:gd name="connsiteX30" fmla="*/ 3578 w 10394"/>
              <a:gd name="connsiteY30" fmla="*/ 9494 h 10000"/>
              <a:gd name="connsiteX31" fmla="*/ 3211 w 10394"/>
              <a:gd name="connsiteY31" fmla="*/ 9382 h 10000"/>
              <a:gd name="connsiteX32" fmla="*/ 2844 w 10394"/>
              <a:gd name="connsiteY32" fmla="*/ 9157 h 10000"/>
              <a:gd name="connsiteX33" fmla="*/ 2661 w 10394"/>
              <a:gd name="connsiteY33" fmla="*/ 9045 h 10000"/>
              <a:gd name="connsiteX34" fmla="*/ 2569 w 10394"/>
              <a:gd name="connsiteY34" fmla="*/ 8820 h 10000"/>
              <a:gd name="connsiteX35" fmla="*/ 2569 w 10394"/>
              <a:gd name="connsiteY35"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275 w 10394"/>
              <a:gd name="connsiteY4" fmla="*/ 1854 h 10000"/>
              <a:gd name="connsiteX5" fmla="*/ 92 w 10394"/>
              <a:gd name="connsiteY5" fmla="*/ 2360 h 10000"/>
              <a:gd name="connsiteX6" fmla="*/ 0 w 10394"/>
              <a:gd name="connsiteY6" fmla="*/ 2978 h 10000"/>
              <a:gd name="connsiteX7" fmla="*/ 0 w 10394"/>
              <a:gd name="connsiteY7" fmla="*/ 3483 h 10000"/>
              <a:gd name="connsiteX8" fmla="*/ 183 w 10394"/>
              <a:gd name="connsiteY8" fmla="*/ 3876 h 10000"/>
              <a:gd name="connsiteX9" fmla="*/ 367 w 10394"/>
              <a:gd name="connsiteY9" fmla="*/ 4213 h 10000"/>
              <a:gd name="connsiteX10" fmla="*/ 642 w 10394"/>
              <a:gd name="connsiteY10" fmla="*/ 4663 h 10000"/>
              <a:gd name="connsiteX11" fmla="*/ 1101 w 10394"/>
              <a:gd name="connsiteY11" fmla="*/ 4888 h 10000"/>
              <a:gd name="connsiteX12" fmla="*/ 1560 w 10394"/>
              <a:gd name="connsiteY12" fmla="*/ 5281 h 10000"/>
              <a:gd name="connsiteX13" fmla="*/ 1927 w 10394"/>
              <a:gd name="connsiteY13" fmla="*/ 5506 h 10000"/>
              <a:gd name="connsiteX14" fmla="*/ 2569 w 10394"/>
              <a:gd name="connsiteY14" fmla="*/ 5730 h 10000"/>
              <a:gd name="connsiteX15" fmla="*/ 2569 w 10394"/>
              <a:gd name="connsiteY15" fmla="*/ 7191 h 10000"/>
              <a:gd name="connsiteX16" fmla="*/ 7339 w 10394"/>
              <a:gd name="connsiteY16" fmla="*/ 7191 h 10000"/>
              <a:gd name="connsiteX17" fmla="*/ 7339 w 10394"/>
              <a:gd name="connsiteY17" fmla="*/ 8820 h 10000"/>
              <a:gd name="connsiteX18" fmla="*/ 7248 w 10394"/>
              <a:gd name="connsiteY18" fmla="*/ 9045 h 10000"/>
              <a:gd name="connsiteX19" fmla="*/ 7156 w 10394"/>
              <a:gd name="connsiteY19" fmla="*/ 9157 h 10000"/>
              <a:gd name="connsiteX20" fmla="*/ 6789 w 10394"/>
              <a:gd name="connsiteY20" fmla="*/ 9382 h 10000"/>
              <a:gd name="connsiteX21" fmla="*/ 6330 w 10394"/>
              <a:gd name="connsiteY21" fmla="*/ 9494 h 10000"/>
              <a:gd name="connsiteX22" fmla="*/ 6239 w 10394"/>
              <a:gd name="connsiteY22" fmla="*/ 9719 h 10000"/>
              <a:gd name="connsiteX23" fmla="*/ 5872 w 10394"/>
              <a:gd name="connsiteY23" fmla="*/ 9831 h 10000"/>
              <a:gd name="connsiteX24" fmla="*/ 5596 w 10394"/>
              <a:gd name="connsiteY24" fmla="*/ 10000 h 10000"/>
              <a:gd name="connsiteX25" fmla="*/ 4954 w 10394"/>
              <a:gd name="connsiteY25" fmla="*/ 10000 h 10000"/>
              <a:gd name="connsiteX26" fmla="*/ 4404 w 10394"/>
              <a:gd name="connsiteY26" fmla="*/ 10000 h 10000"/>
              <a:gd name="connsiteX27" fmla="*/ 3945 w 10394"/>
              <a:gd name="connsiteY27" fmla="*/ 9831 h 10000"/>
              <a:gd name="connsiteX28" fmla="*/ 3670 w 10394"/>
              <a:gd name="connsiteY28" fmla="*/ 9719 h 10000"/>
              <a:gd name="connsiteX29" fmla="*/ 3578 w 10394"/>
              <a:gd name="connsiteY29" fmla="*/ 9494 h 10000"/>
              <a:gd name="connsiteX30" fmla="*/ 3211 w 10394"/>
              <a:gd name="connsiteY30" fmla="*/ 9382 h 10000"/>
              <a:gd name="connsiteX31" fmla="*/ 2844 w 10394"/>
              <a:gd name="connsiteY31" fmla="*/ 9157 h 10000"/>
              <a:gd name="connsiteX32" fmla="*/ 2661 w 10394"/>
              <a:gd name="connsiteY32" fmla="*/ 9045 h 10000"/>
              <a:gd name="connsiteX33" fmla="*/ 2569 w 10394"/>
              <a:gd name="connsiteY33" fmla="*/ 8820 h 10000"/>
              <a:gd name="connsiteX34" fmla="*/ 2569 w 10394"/>
              <a:gd name="connsiteY34"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92 w 10394"/>
              <a:gd name="connsiteY4" fmla="*/ 2360 h 10000"/>
              <a:gd name="connsiteX5" fmla="*/ 0 w 10394"/>
              <a:gd name="connsiteY5" fmla="*/ 2978 h 10000"/>
              <a:gd name="connsiteX6" fmla="*/ 0 w 10394"/>
              <a:gd name="connsiteY6" fmla="*/ 3483 h 10000"/>
              <a:gd name="connsiteX7" fmla="*/ 183 w 10394"/>
              <a:gd name="connsiteY7" fmla="*/ 3876 h 10000"/>
              <a:gd name="connsiteX8" fmla="*/ 367 w 10394"/>
              <a:gd name="connsiteY8" fmla="*/ 4213 h 10000"/>
              <a:gd name="connsiteX9" fmla="*/ 642 w 10394"/>
              <a:gd name="connsiteY9" fmla="*/ 4663 h 10000"/>
              <a:gd name="connsiteX10" fmla="*/ 1101 w 10394"/>
              <a:gd name="connsiteY10" fmla="*/ 4888 h 10000"/>
              <a:gd name="connsiteX11" fmla="*/ 1560 w 10394"/>
              <a:gd name="connsiteY11" fmla="*/ 5281 h 10000"/>
              <a:gd name="connsiteX12" fmla="*/ 1927 w 10394"/>
              <a:gd name="connsiteY12" fmla="*/ 5506 h 10000"/>
              <a:gd name="connsiteX13" fmla="*/ 2569 w 10394"/>
              <a:gd name="connsiteY13" fmla="*/ 5730 h 10000"/>
              <a:gd name="connsiteX14" fmla="*/ 2569 w 10394"/>
              <a:gd name="connsiteY14" fmla="*/ 7191 h 10000"/>
              <a:gd name="connsiteX15" fmla="*/ 7339 w 10394"/>
              <a:gd name="connsiteY15" fmla="*/ 7191 h 10000"/>
              <a:gd name="connsiteX16" fmla="*/ 7339 w 10394"/>
              <a:gd name="connsiteY16" fmla="*/ 8820 h 10000"/>
              <a:gd name="connsiteX17" fmla="*/ 7248 w 10394"/>
              <a:gd name="connsiteY17" fmla="*/ 9045 h 10000"/>
              <a:gd name="connsiteX18" fmla="*/ 7156 w 10394"/>
              <a:gd name="connsiteY18" fmla="*/ 9157 h 10000"/>
              <a:gd name="connsiteX19" fmla="*/ 6789 w 10394"/>
              <a:gd name="connsiteY19" fmla="*/ 9382 h 10000"/>
              <a:gd name="connsiteX20" fmla="*/ 6330 w 10394"/>
              <a:gd name="connsiteY20" fmla="*/ 9494 h 10000"/>
              <a:gd name="connsiteX21" fmla="*/ 6239 w 10394"/>
              <a:gd name="connsiteY21" fmla="*/ 9719 h 10000"/>
              <a:gd name="connsiteX22" fmla="*/ 5872 w 10394"/>
              <a:gd name="connsiteY22" fmla="*/ 9831 h 10000"/>
              <a:gd name="connsiteX23" fmla="*/ 5596 w 10394"/>
              <a:gd name="connsiteY23" fmla="*/ 10000 h 10000"/>
              <a:gd name="connsiteX24" fmla="*/ 4954 w 10394"/>
              <a:gd name="connsiteY24" fmla="*/ 10000 h 10000"/>
              <a:gd name="connsiteX25" fmla="*/ 4404 w 10394"/>
              <a:gd name="connsiteY25" fmla="*/ 10000 h 10000"/>
              <a:gd name="connsiteX26" fmla="*/ 3945 w 10394"/>
              <a:gd name="connsiteY26" fmla="*/ 9831 h 10000"/>
              <a:gd name="connsiteX27" fmla="*/ 3670 w 10394"/>
              <a:gd name="connsiteY27" fmla="*/ 9719 h 10000"/>
              <a:gd name="connsiteX28" fmla="*/ 3578 w 10394"/>
              <a:gd name="connsiteY28" fmla="*/ 9494 h 10000"/>
              <a:gd name="connsiteX29" fmla="*/ 3211 w 10394"/>
              <a:gd name="connsiteY29" fmla="*/ 9382 h 10000"/>
              <a:gd name="connsiteX30" fmla="*/ 2844 w 10394"/>
              <a:gd name="connsiteY30" fmla="*/ 9157 h 10000"/>
              <a:gd name="connsiteX31" fmla="*/ 2661 w 10394"/>
              <a:gd name="connsiteY31" fmla="*/ 9045 h 10000"/>
              <a:gd name="connsiteX32" fmla="*/ 2569 w 10394"/>
              <a:gd name="connsiteY32" fmla="*/ 8820 h 10000"/>
              <a:gd name="connsiteX33" fmla="*/ 2569 w 10394"/>
              <a:gd name="connsiteY33"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487 w 10698"/>
              <a:gd name="connsiteY6" fmla="*/ 3876 h 10000"/>
              <a:gd name="connsiteX7" fmla="*/ 671 w 10698"/>
              <a:gd name="connsiteY7" fmla="*/ 4213 h 10000"/>
              <a:gd name="connsiteX8" fmla="*/ 946 w 10698"/>
              <a:gd name="connsiteY8" fmla="*/ 4663 h 10000"/>
              <a:gd name="connsiteX9" fmla="*/ 1405 w 10698"/>
              <a:gd name="connsiteY9" fmla="*/ 4888 h 10000"/>
              <a:gd name="connsiteX10" fmla="*/ 1864 w 10698"/>
              <a:gd name="connsiteY10" fmla="*/ 5281 h 10000"/>
              <a:gd name="connsiteX11" fmla="*/ 2231 w 10698"/>
              <a:gd name="connsiteY11" fmla="*/ 5506 h 10000"/>
              <a:gd name="connsiteX12" fmla="*/ 2873 w 10698"/>
              <a:gd name="connsiteY12" fmla="*/ 5730 h 10000"/>
              <a:gd name="connsiteX13" fmla="*/ 2873 w 10698"/>
              <a:gd name="connsiteY13" fmla="*/ 7191 h 10000"/>
              <a:gd name="connsiteX14" fmla="*/ 7643 w 10698"/>
              <a:gd name="connsiteY14" fmla="*/ 7191 h 10000"/>
              <a:gd name="connsiteX15" fmla="*/ 7643 w 10698"/>
              <a:gd name="connsiteY15" fmla="*/ 8820 h 10000"/>
              <a:gd name="connsiteX16" fmla="*/ 7552 w 10698"/>
              <a:gd name="connsiteY16" fmla="*/ 9045 h 10000"/>
              <a:gd name="connsiteX17" fmla="*/ 7460 w 10698"/>
              <a:gd name="connsiteY17" fmla="*/ 9157 h 10000"/>
              <a:gd name="connsiteX18" fmla="*/ 7093 w 10698"/>
              <a:gd name="connsiteY18" fmla="*/ 9382 h 10000"/>
              <a:gd name="connsiteX19" fmla="*/ 6634 w 10698"/>
              <a:gd name="connsiteY19" fmla="*/ 9494 h 10000"/>
              <a:gd name="connsiteX20" fmla="*/ 6543 w 10698"/>
              <a:gd name="connsiteY20" fmla="*/ 9719 h 10000"/>
              <a:gd name="connsiteX21" fmla="*/ 6176 w 10698"/>
              <a:gd name="connsiteY21" fmla="*/ 9831 h 10000"/>
              <a:gd name="connsiteX22" fmla="*/ 5900 w 10698"/>
              <a:gd name="connsiteY22" fmla="*/ 10000 h 10000"/>
              <a:gd name="connsiteX23" fmla="*/ 5258 w 10698"/>
              <a:gd name="connsiteY23" fmla="*/ 10000 h 10000"/>
              <a:gd name="connsiteX24" fmla="*/ 4708 w 10698"/>
              <a:gd name="connsiteY24" fmla="*/ 10000 h 10000"/>
              <a:gd name="connsiteX25" fmla="*/ 4249 w 10698"/>
              <a:gd name="connsiteY25" fmla="*/ 9831 h 10000"/>
              <a:gd name="connsiteX26" fmla="*/ 3974 w 10698"/>
              <a:gd name="connsiteY26" fmla="*/ 9719 h 10000"/>
              <a:gd name="connsiteX27" fmla="*/ 3882 w 10698"/>
              <a:gd name="connsiteY27" fmla="*/ 9494 h 10000"/>
              <a:gd name="connsiteX28" fmla="*/ 3515 w 10698"/>
              <a:gd name="connsiteY28" fmla="*/ 9382 h 10000"/>
              <a:gd name="connsiteX29" fmla="*/ 3148 w 10698"/>
              <a:gd name="connsiteY29" fmla="*/ 9157 h 10000"/>
              <a:gd name="connsiteX30" fmla="*/ 2965 w 10698"/>
              <a:gd name="connsiteY30" fmla="*/ 9045 h 10000"/>
              <a:gd name="connsiteX31" fmla="*/ 2873 w 10698"/>
              <a:gd name="connsiteY31" fmla="*/ 8820 h 10000"/>
              <a:gd name="connsiteX32" fmla="*/ 2873 w 10698"/>
              <a:gd name="connsiteY32"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946 w 10698"/>
              <a:gd name="connsiteY7" fmla="*/ 4663 h 10000"/>
              <a:gd name="connsiteX8" fmla="*/ 1405 w 10698"/>
              <a:gd name="connsiteY8" fmla="*/ 4888 h 10000"/>
              <a:gd name="connsiteX9" fmla="*/ 1864 w 10698"/>
              <a:gd name="connsiteY9" fmla="*/ 5281 h 10000"/>
              <a:gd name="connsiteX10" fmla="*/ 2231 w 10698"/>
              <a:gd name="connsiteY10" fmla="*/ 5506 h 10000"/>
              <a:gd name="connsiteX11" fmla="*/ 2873 w 10698"/>
              <a:gd name="connsiteY11" fmla="*/ 5730 h 10000"/>
              <a:gd name="connsiteX12" fmla="*/ 2873 w 10698"/>
              <a:gd name="connsiteY12" fmla="*/ 7191 h 10000"/>
              <a:gd name="connsiteX13" fmla="*/ 7643 w 10698"/>
              <a:gd name="connsiteY13" fmla="*/ 7191 h 10000"/>
              <a:gd name="connsiteX14" fmla="*/ 7643 w 10698"/>
              <a:gd name="connsiteY14" fmla="*/ 8820 h 10000"/>
              <a:gd name="connsiteX15" fmla="*/ 7552 w 10698"/>
              <a:gd name="connsiteY15" fmla="*/ 9045 h 10000"/>
              <a:gd name="connsiteX16" fmla="*/ 7460 w 10698"/>
              <a:gd name="connsiteY16" fmla="*/ 9157 h 10000"/>
              <a:gd name="connsiteX17" fmla="*/ 7093 w 10698"/>
              <a:gd name="connsiteY17" fmla="*/ 9382 h 10000"/>
              <a:gd name="connsiteX18" fmla="*/ 6634 w 10698"/>
              <a:gd name="connsiteY18" fmla="*/ 9494 h 10000"/>
              <a:gd name="connsiteX19" fmla="*/ 6543 w 10698"/>
              <a:gd name="connsiteY19" fmla="*/ 9719 h 10000"/>
              <a:gd name="connsiteX20" fmla="*/ 6176 w 10698"/>
              <a:gd name="connsiteY20" fmla="*/ 9831 h 10000"/>
              <a:gd name="connsiteX21" fmla="*/ 5900 w 10698"/>
              <a:gd name="connsiteY21" fmla="*/ 10000 h 10000"/>
              <a:gd name="connsiteX22" fmla="*/ 5258 w 10698"/>
              <a:gd name="connsiteY22" fmla="*/ 10000 h 10000"/>
              <a:gd name="connsiteX23" fmla="*/ 4708 w 10698"/>
              <a:gd name="connsiteY23" fmla="*/ 10000 h 10000"/>
              <a:gd name="connsiteX24" fmla="*/ 4249 w 10698"/>
              <a:gd name="connsiteY24" fmla="*/ 9831 h 10000"/>
              <a:gd name="connsiteX25" fmla="*/ 3974 w 10698"/>
              <a:gd name="connsiteY25" fmla="*/ 9719 h 10000"/>
              <a:gd name="connsiteX26" fmla="*/ 3882 w 10698"/>
              <a:gd name="connsiteY26" fmla="*/ 9494 h 10000"/>
              <a:gd name="connsiteX27" fmla="*/ 3515 w 10698"/>
              <a:gd name="connsiteY27" fmla="*/ 9382 h 10000"/>
              <a:gd name="connsiteX28" fmla="*/ 3148 w 10698"/>
              <a:gd name="connsiteY28" fmla="*/ 9157 h 10000"/>
              <a:gd name="connsiteX29" fmla="*/ 2965 w 10698"/>
              <a:gd name="connsiteY29" fmla="*/ 9045 h 10000"/>
              <a:gd name="connsiteX30" fmla="*/ 2873 w 10698"/>
              <a:gd name="connsiteY30" fmla="*/ 8820 h 10000"/>
              <a:gd name="connsiteX31" fmla="*/ 2873 w 10698"/>
              <a:gd name="connsiteY31"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1405 w 10698"/>
              <a:gd name="connsiteY7" fmla="*/ 4888 h 10000"/>
              <a:gd name="connsiteX8" fmla="*/ 1864 w 10698"/>
              <a:gd name="connsiteY8" fmla="*/ 5281 h 10000"/>
              <a:gd name="connsiteX9" fmla="*/ 2231 w 10698"/>
              <a:gd name="connsiteY9" fmla="*/ 5506 h 10000"/>
              <a:gd name="connsiteX10" fmla="*/ 2873 w 10698"/>
              <a:gd name="connsiteY10" fmla="*/ 5730 h 10000"/>
              <a:gd name="connsiteX11" fmla="*/ 2873 w 10698"/>
              <a:gd name="connsiteY11" fmla="*/ 7191 h 10000"/>
              <a:gd name="connsiteX12" fmla="*/ 7643 w 10698"/>
              <a:gd name="connsiteY12" fmla="*/ 7191 h 10000"/>
              <a:gd name="connsiteX13" fmla="*/ 7643 w 10698"/>
              <a:gd name="connsiteY13" fmla="*/ 8820 h 10000"/>
              <a:gd name="connsiteX14" fmla="*/ 7552 w 10698"/>
              <a:gd name="connsiteY14" fmla="*/ 9045 h 10000"/>
              <a:gd name="connsiteX15" fmla="*/ 7460 w 10698"/>
              <a:gd name="connsiteY15" fmla="*/ 9157 h 10000"/>
              <a:gd name="connsiteX16" fmla="*/ 7093 w 10698"/>
              <a:gd name="connsiteY16" fmla="*/ 9382 h 10000"/>
              <a:gd name="connsiteX17" fmla="*/ 6634 w 10698"/>
              <a:gd name="connsiteY17" fmla="*/ 9494 h 10000"/>
              <a:gd name="connsiteX18" fmla="*/ 6543 w 10698"/>
              <a:gd name="connsiteY18" fmla="*/ 9719 h 10000"/>
              <a:gd name="connsiteX19" fmla="*/ 6176 w 10698"/>
              <a:gd name="connsiteY19" fmla="*/ 9831 h 10000"/>
              <a:gd name="connsiteX20" fmla="*/ 5900 w 10698"/>
              <a:gd name="connsiteY20" fmla="*/ 10000 h 10000"/>
              <a:gd name="connsiteX21" fmla="*/ 5258 w 10698"/>
              <a:gd name="connsiteY21" fmla="*/ 10000 h 10000"/>
              <a:gd name="connsiteX22" fmla="*/ 4708 w 10698"/>
              <a:gd name="connsiteY22" fmla="*/ 10000 h 10000"/>
              <a:gd name="connsiteX23" fmla="*/ 4249 w 10698"/>
              <a:gd name="connsiteY23" fmla="*/ 9831 h 10000"/>
              <a:gd name="connsiteX24" fmla="*/ 3974 w 10698"/>
              <a:gd name="connsiteY24" fmla="*/ 9719 h 10000"/>
              <a:gd name="connsiteX25" fmla="*/ 3882 w 10698"/>
              <a:gd name="connsiteY25" fmla="*/ 9494 h 10000"/>
              <a:gd name="connsiteX26" fmla="*/ 3515 w 10698"/>
              <a:gd name="connsiteY26" fmla="*/ 9382 h 10000"/>
              <a:gd name="connsiteX27" fmla="*/ 3148 w 10698"/>
              <a:gd name="connsiteY27" fmla="*/ 9157 h 10000"/>
              <a:gd name="connsiteX28" fmla="*/ 2965 w 10698"/>
              <a:gd name="connsiteY28" fmla="*/ 9045 h 10000"/>
              <a:gd name="connsiteX29" fmla="*/ 2873 w 10698"/>
              <a:gd name="connsiteY29" fmla="*/ 8820 h 10000"/>
              <a:gd name="connsiteX30" fmla="*/ 2873 w 10698"/>
              <a:gd name="connsiteY30"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1405 w 10698"/>
              <a:gd name="connsiteY7" fmla="*/ 4888 h 10000"/>
              <a:gd name="connsiteX8" fmla="*/ 2231 w 10698"/>
              <a:gd name="connsiteY8" fmla="*/ 5506 h 10000"/>
              <a:gd name="connsiteX9" fmla="*/ 2873 w 10698"/>
              <a:gd name="connsiteY9" fmla="*/ 5730 h 10000"/>
              <a:gd name="connsiteX10" fmla="*/ 2873 w 10698"/>
              <a:gd name="connsiteY10" fmla="*/ 7191 h 10000"/>
              <a:gd name="connsiteX11" fmla="*/ 7643 w 10698"/>
              <a:gd name="connsiteY11" fmla="*/ 7191 h 10000"/>
              <a:gd name="connsiteX12" fmla="*/ 7643 w 10698"/>
              <a:gd name="connsiteY12" fmla="*/ 8820 h 10000"/>
              <a:gd name="connsiteX13" fmla="*/ 7552 w 10698"/>
              <a:gd name="connsiteY13" fmla="*/ 9045 h 10000"/>
              <a:gd name="connsiteX14" fmla="*/ 7460 w 10698"/>
              <a:gd name="connsiteY14" fmla="*/ 9157 h 10000"/>
              <a:gd name="connsiteX15" fmla="*/ 7093 w 10698"/>
              <a:gd name="connsiteY15" fmla="*/ 9382 h 10000"/>
              <a:gd name="connsiteX16" fmla="*/ 6634 w 10698"/>
              <a:gd name="connsiteY16" fmla="*/ 9494 h 10000"/>
              <a:gd name="connsiteX17" fmla="*/ 6543 w 10698"/>
              <a:gd name="connsiteY17" fmla="*/ 9719 h 10000"/>
              <a:gd name="connsiteX18" fmla="*/ 6176 w 10698"/>
              <a:gd name="connsiteY18" fmla="*/ 9831 h 10000"/>
              <a:gd name="connsiteX19" fmla="*/ 5900 w 10698"/>
              <a:gd name="connsiteY19" fmla="*/ 10000 h 10000"/>
              <a:gd name="connsiteX20" fmla="*/ 5258 w 10698"/>
              <a:gd name="connsiteY20" fmla="*/ 10000 h 10000"/>
              <a:gd name="connsiteX21" fmla="*/ 4708 w 10698"/>
              <a:gd name="connsiteY21" fmla="*/ 10000 h 10000"/>
              <a:gd name="connsiteX22" fmla="*/ 4249 w 10698"/>
              <a:gd name="connsiteY22" fmla="*/ 9831 h 10000"/>
              <a:gd name="connsiteX23" fmla="*/ 3974 w 10698"/>
              <a:gd name="connsiteY23" fmla="*/ 9719 h 10000"/>
              <a:gd name="connsiteX24" fmla="*/ 3882 w 10698"/>
              <a:gd name="connsiteY24" fmla="*/ 9494 h 10000"/>
              <a:gd name="connsiteX25" fmla="*/ 3515 w 10698"/>
              <a:gd name="connsiteY25" fmla="*/ 9382 h 10000"/>
              <a:gd name="connsiteX26" fmla="*/ 3148 w 10698"/>
              <a:gd name="connsiteY26" fmla="*/ 9157 h 10000"/>
              <a:gd name="connsiteX27" fmla="*/ 2965 w 10698"/>
              <a:gd name="connsiteY27" fmla="*/ 9045 h 10000"/>
              <a:gd name="connsiteX28" fmla="*/ 2873 w 10698"/>
              <a:gd name="connsiteY28" fmla="*/ 8820 h 10000"/>
              <a:gd name="connsiteX29" fmla="*/ 2873 w 10698"/>
              <a:gd name="connsiteY29"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1405 w 10698"/>
              <a:gd name="connsiteY7" fmla="*/ 4888 h 10000"/>
              <a:gd name="connsiteX8" fmla="*/ 2873 w 10698"/>
              <a:gd name="connsiteY8" fmla="*/ 5730 h 10000"/>
              <a:gd name="connsiteX9" fmla="*/ 2873 w 10698"/>
              <a:gd name="connsiteY9" fmla="*/ 7191 h 10000"/>
              <a:gd name="connsiteX10" fmla="*/ 7643 w 10698"/>
              <a:gd name="connsiteY10" fmla="*/ 7191 h 10000"/>
              <a:gd name="connsiteX11" fmla="*/ 7643 w 10698"/>
              <a:gd name="connsiteY11" fmla="*/ 8820 h 10000"/>
              <a:gd name="connsiteX12" fmla="*/ 7552 w 10698"/>
              <a:gd name="connsiteY12" fmla="*/ 9045 h 10000"/>
              <a:gd name="connsiteX13" fmla="*/ 7460 w 10698"/>
              <a:gd name="connsiteY13" fmla="*/ 9157 h 10000"/>
              <a:gd name="connsiteX14" fmla="*/ 7093 w 10698"/>
              <a:gd name="connsiteY14" fmla="*/ 9382 h 10000"/>
              <a:gd name="connsiteX15" fmla="*/ 6634 w 10698"/>
              <a:gd name="connsiteY15" fmla="*/ 9494 h 10000"/>
              <a:gd name="connsiteX16" fmla="*/ 6543 w 10698"/>
              <a:gd name="connsiteY16" fmla="*/ 9719 h 10000"/>
              <a:gd name="connsiteX17" fmla="*/ 6176 w 10698"/>
              <a:gd name="connsiteY17" fmla="*/ 9831 h 10000"/>
              <a:gd name="connsiteX18" fmla="*/ 5900 w 10698"/>
              <a:gd name="connsiteY18" fmla="*/ 10000 h 10000"/>
              <a:gd name="connsiteX19" fmla="*/ 5258 w 10698"/>
              <a:gd name="connsiteY19" fmla="*/ 10000 h 10000"/>
              <a:gd name="connsiteX20" fmla="*/ 4708 w 10698"/>
              <a:gd name="connsiteY20" fmla="*/ 10000 h 10000"/>
              <a:gd name="connsiteX21" fmla="*/ 4249 w 10698"/>
              <a:gd name="connsiteY21" fmla="*/ 9831 h 10000"/>
              <a:gd name="connsiteX22" fmla="*/ 3974 w 10698"/>
              <a:gd name="connsiteY22" fmla="*/ 9719 h 10000"/>
              <a:gd name="connsiteX23" fmla="*/ 3882 w 10698"/>
              <a:gd name="connsiteY23" fmla="*/ 9494 h 10000"/>
              <a:gd name="connsiteX24" fmla="*/ 3515 w 10698"/>
              <a:gd name="connsiteY24" fmla="*/ 9382 h 10000"/>
              <a:gd name="connsiteX25" fmla="*/ 3148 w 10698"/>
              <a:gd name="connsiteY25" fmla="*/ 9157 h 10000"/>
              <a:gd name="connsiteX26" fmla="*/ 2965 w 10698"/>
              <a:gd name="connsiteY26" fmla="*/ 9045 h 10000"/>
              <a:gd name="connsiteX27" fmla="*/ 2873 w 10698"/>
              <a:gd name="connsiteY27" fmla="*/ 8820 h 10000"/>
              <a:gd name="connsiteX28" fmla="*/ 2873 w 10698"/>
              <a:gd name="connsiteY28"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2873 w 10698"/>
              <a:gd name="connsiteY7" fmla="*/ 5730 h 10000"/>
              <a:gd name="connsiteX8" fmla="*/ 2873 w 10698"/>
              <a:gd name="connsiteY8" fmla="*/ 7191 h 10000"/>
              <a:gd name="connsiteX9" fmla="*/ 7643 w 10698"/>
              <a:gd name="connsiteY9" fmla="*/ 7191 h 10000"/>
              <a:gd name="connsiteX10" fmla="*/ 7643 w 10698"/>
              <a:gd name="connsiteY10" fmla="*/ 8820 h 10000"/>
              <a:gd name="connsiteX11" fmla="*/ 7552 w 10698"/>
              <a:gd name="connsiteY11" fmla="*/ 9045 h 10000"/>
              <a:gd name="connsiteX12" fmla="*/ 7460 w 10698"/>
              <a:gd name="connsiteY12" fmla="*/ 9157 h 10000"/>
              <a:gd name="connsiteX13" fmla="*/ 7093 w 10698"/>
              <a:gd name="connsiteY13" fmla="*/ 9382 h 10000"/>
              <a:gd name="connsiteX14" fmla="*/ 6634 w 10698"/>
              <a:gd name="connsiteY14" fmla="*/ 9494 h 10000"/>
              <a:gd name="connsiteX15" fmla="*/ 6543 w 10698"/>
              <a:gd name="connsiteY15" fmla="*/ 9719 h 10000"/>
              <a:gd name="connsiteX16" fmla="*/ 6176 w 10698"/>
              <a:gd name="connsiteY16" fmla="*/ 9831 h 10000"/>
              <a:gd name="connsiteX17" fmla="*/ 5900 w 10698"/>
              <a:gd name="connsiteY17" fmla="*/ 10000 h 10000"/>
              <a:gd name="connsiteX18" fmla="*/ 5258 w 10698"/>
              <a:gd name="connsiteY18" fmla="*/ 10000 h 10000"/>
              <a:gd name="connsiteX19" fmla="*/ 4708 w 10698"/>
              <a:gd name="connsiteY19" fmla="*/ 10000 h 10000"/>
              <a:gd name="connsiteX20" fmla="*/ 4249 w 10698"/>
              <a:gd name="connsiteY20" fmla="*/ 9831 h 10000"/>
              <a:gd name="connsiteX21" fmla="*/ 3974 w 10698"/>
              <a:gd name="connsiteY21" fmla="*/ 9719 h 10000"/>
              <a:gd name="connsiteX22" fmla="*/ 3882 w 10698"/>
              <a:gd name="connsiteY22" fmla="*/ 9494 h 10000"/>
              <a:gd name="connsiteX23" fmla="*/ 3515 w 10698"/>
              <a:gd name="connsiteY23" fmla="*/ 9382 h 10000"/>
              <a:gd name="connsiteX24" fmla="*/ 3148 w 10698"/>
              <a:gd name="connsiteY24" fmla="*/ 9157 h 10000"/>
              <a:gd name="connsiteX25" fmla="*/ 2965 w 10698"/>
              <a:gd name="connsiteY25" fmla="*/ 9045 h 10000"/>
              <a:gd name="connsiteX26" fmla="*/ 2873 w 10698"/>
              <a:gd name="connsiteY26" fmla="*/ 8820 h 10000"/>
              <a:gd name="connsiteX27" fmla="*/ 2873 w 10698"/>
              <a:gd name="connsiteY27"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2873 w 10698"/>
              <a:gd name="connsiteY6" fmla="*/ 5730 h 10000"/>
              <a:gd name="connsiteX7" fmla="*/ 2873 w 10698"/>
              <a:gd name="connsiteY7" fmla="*/ 7191 h 10000"/>
              <a:gd name="connsiteX8" fmla="*/ 7643 w 10698"/>
              <a:gd name="connsiteY8" fmla="*/ 7191 h 10000"/>
              <a:gd name="connsiteX9" fmla="*/ 7643 w 10698"/>
              <a:gd name="connsiteY9" fmla="*/ 8820 h 10000"/>
              <a:gd name="connsiteX10" fmla="*/ 7552 w 10698"/>
              <a:gd name="connsiteY10" fmla="*/ 9045 h 10000"/>
              <a:gd name="connsiteX11" fmla="*/ 7460 w 10698"/>
              <a:gd name="connsiteY11" fmla="*/ 9157 h 10000"/>
              <a:gd name="connsiteX12" fmla="*/ 7093 w 10698"/>
              <a:gd name="connsiteY12" fmla="*/ 9382 h 10000"/>
              <a:gd name="connsiteX13" fmla="*/ 6634 w 10698"/>
              <a:gd name="connsiteY13" fmla="*/ 9494 h 10000"/>
              <a:gd name="connsiteX14" fmla="*/ 6543 w 10698"/>
              <a:gd name="connsiteY14" fmla="*/ 9719 h 10000"/>
              <a:gd name="connsiteX15" fmla="*/ 6176 w 10698"/>
              <a:gd name="connsiteY15" fmla="*/ 9831 h 10000"/>
              <a:gd name="connsiteX16" fmla="*/ 5900 w 10698"/>
              <a:gd name="connsiteY16" fmla="*/ 10000 h 10000"/>
              <a:gd name="connsiteX17" fmla="*/ 5258 w 10698"/>
              <a:gd name="connsiteY17" fmla="*/ 10000 h 10000"/>
              <a:gd name="connsiteX18" fmla="*/ 4708 w 10698"/>
              <a:gd name="connsiteY18" fmla="*/ 10000 h 10000"/>
              <a:gd name="connsiteX19" fmla="*/ 4249 w 10698"/>
              <a:gd name="connsiteY19" fmla="*/ 9831 h 10000"/>
              <a:gd name="connsiteX20" fmla="*/ 3974 w 10698"/>
              <a:gd name="connsiteY20" fmla="*/ 9719 h 10000"/>
              <a:gd name="connsiteX21" fmla="*/ 3882 w 10698"/>
              <a:gd name="connsiteY21" fmla="*/ 9494 h 10000"/>
              <a:gd name="connsiteX22" fmla="*/ 3515 w 10698"/>
              <a:gd name="connsiteY22" fmla="*/ 9382 h 10000"/>
              <a:gd name="connsiteX23" fmla="*/ 3148 w 10698"/>
              <a:gd name="connsiteY23" fmla="*/ 9157 h 10000"/>
              <a:gd name="connsiteX24" fmla="*/ 2965 w 10698"/>
              <a:gd name="connsiteY24" fmla="*/ 9045 h 10000"/>
              <a:gd name="connsiteX25" fmla="*/ 2873 w 10698"/>
              <a:gd name="connsiteY25" fmla="*/ 8820 h 10000"/>
              <a:gd name="connsiteX26" fmla="*/ 2873 w 10698"/>
              <a:gd name="connsiteY26" fmla="*/ 8202 h 10000"/>
              <a:gd name="connsiteX0" fmla="*/ 7643 w 10517"/>
              <a:gd name="connsiteY0" fmla="*/ 5730 h 10000"/>
              <a:gd name="connsiteX1" fmla="*/ 9508 w 10517"/>
              <a:gd name="connsiteY1" fmla="*/ 4105 h 10000"/>
              <a:gd name="connsiteX2" fmla="*/ 10304 w 10517"/>
              <a:gd name="connsiteY2" fmla="*/ 2978 h 10000"/>
              <a:gd name="connsiteX3" fmla="*/ 5258 w 10517"/>
              <a:gd name="connsiteY3" fmla="*/ 0 h 10000"/>
              <a:gd name="connsiteX4" fmla="*/ 396 w 10517"/>
              <a:gd name="connsiteY4" fmla="*/ 2360 h 10000"/>
              <a:gd name="connsiteX5" fmla="*/ 304 w 10517"/>
              <a:gd name="connsiteY5" fmla="*/ 3483 h 10000"/>
              <a:gd name="connsiteX6" fmla="*/ 2873 w 10517"/>
              <a:gd name="connsiteY6" fmla="*/ 5730 h 10000"/>
              <a:gd name="connsiteX7" fmla="*/ 2873 w 10517"/>
              <a:gd name="connsiteY7" fmla="*/ 7191 h 10000"/>
              <a:gd name="connsiteX8" fmla="*/ 7643 w 10517"/>
              <a:gd name="connsiteY8" fmla="*/ 7191 h 10000"/>
              <a:gd name="connsiteX9" fmla="*/ 7643 w 10517"/>
              <a:gd name="connsiteY9" fmla="*/ 8820 h 10000"/>
              <a:gd name="connsiteX10" fmla="*/ 7552 w 10517"/>
              <a:gd name="connsiteY10" fmla="*/ 9045 h 10000"/>
              <a:gd name="connsiteX11" fmla="*/ 7460 w 10517"/>
              <a:gd name="connsiteY11" fmla="*/ 9157 h 10000"/>
              <a:gd name="connsiteX12" fmla="*/ 7093 w 10517"/>
              <a:gd name="connsiteY12" fmla="*/ 9382 h 10000"/>
              <a:gd name="connsiteX13" fmla="*/ 6634 w 10517"/>
              <a:gd name="connsiteY13" fmla="*/ 9494 h 10000"/>
              <a:gd name="connsiteX14" fmla="*/ 6543 w 10517"/>
              <a:gd name="connsiteY14" fmla="*/ 9719 h 10000"/>
              <a:gd name="connsiteX15" fmla="*/ 6176 w 10517"/>
              <a:gd name="connsiteY15" fmla="*/ 9831 h 10000"/>
              <a:gd name="connsiteX16" fmla="*/ 5900 w 10517"/>
              <a:gd name="connsiteY16" fmla="*/ 10000 h 10000"/>
              <a:gd name="connsiteX17" fmla="*/ 5258 w 10517"/>
              <a:gd name="connsiteY17" fmla="*/ 10000 h 10000"/>
              <a:gd name="connsiteX18" fmla="*/ 4708 w 10517"/>
              <a:gd name="connsiteY18" fmla="*/ 10000 h 10000"/>
              <a:gd name="connsiteX19" fmla="*/ 4249 w 10517"/>
              <a:gd name="connsiteY19" fmla="*/ 9831 h 10000"/>
              <a:gd name="connsiteX20" fmla="*/ 3974 w 10517"/>
              <a:gd name="connsiteY20" fmla="*/ 9719 h 10000"/>
              <a:gd name="connsiteX21" fmla="*/ 3882 w 10517"/>
              <a:gd name="connsiteY21" fmla="*/ 9494 h 10000"/>
              <a:gd name="connsiteX22" fmla="*/ 3515 w 10517"/>
              <a:gd name="connsiteY22" fmla="*/ 9382 h 10000"/>
              <a:gd name="connsiteX23" fmla="*/ 3148 w 10517"/>
              <a:gd name="connsiteY23" fmla="*/ 9157 h 10000"/>
              <a:gd name="connsiteX24" fmla="*/ 2965 w 10517"/>
              <a:gd name="connsiteY24" fmla="*/ 9045 h 10000"/>
              <a:gd name="connsiteX25" fmla="*/ 2873 w 10517"/>
              <a:gd name="connsiteY25" fmla="*/ 8820 h 10000"/>
              <a:gd name="connsiteX26" fmla="*/ 2873 w 10517"/>
              <a:gd name="connsiteY26" fmla="*/ 8202 h 10000"/>
              <a:gd name="connsiteX0" fmla="*/ 7643 w 10517"/>
              <a:gd name="connsiteY0" fmla="*/ 5730 h 10000"/>
              <a:gd name="connsiteX1" fmla="*/ 9508 w 10517"/>
              <a:gd name="connsiteY1" fmla="*/ 4105 h 10000"/>
              <a:gd name="connsiteX2" fmla="*/ 10304 w 10517"/>
              <a:gd name="connsiteY2" fmla="*/ 2978 h 10000"/>
              <a:gd name="connsiteX3" fmla="*/ 5258 w 10517"/>
              <a:gd name="connsiteY3" fmla="*/ 0 h 10000"/>
              <a:gd name="connsiteX4" fmla="*/ 396 w 10517"/>
              <a:gd name="connsiteY4" fmla="*/ 2360 h 10000"/>
              <a:gd name="connsiteX5" fmla="*/ 304 w 10517"/>
              <a:gd name="connsiteY5" fmla="*/ 3483 h 10000"/>
              <a:gd name="connsiteX6" fmla="*/ 2873 w 10517"/>
              <a:gd name="connsiteY6" fmla="*/ 5730 h 10000"/>
              <a:gd name="connsiteX7" fmla="*/ 2873 w 10517"/>
              <a:gd name="connsiteY7" fmla="*/ 7191 h 10000"/>
              <a:gd name="connsiteX8" fmla="*/ 7643 w 10517"/>
              <a:gd name="connsiteY8" fmla="*/ 7191 h 10000"/>
              <a:gd name="connsiteX9" fmla="*/ 7643 w 10517"/>
              <a:gd name="connsiteY9" fmla="*/ 8820 h 10000"/>
              <a:gd name="connsiteX10" fmla="*/ 7552 w 10517"/>
              <a:gd name="connsiteY10" fmla="*/ 9045 h 10000"/>
              <a:gd name="connsiteX11" fmla="*/ 7460 w 10517"/>
              <a:gd name="connsiteY11" fmla="*/ 9157 h 10000"/>
              <a:gd name="connsiteX12" fmla="*/ 7093 w 10517"/>
              <a:gd name="connsiteY12" fmla="*/ 9382 h 10000"/>
              <a:gd name="connsiteX13" fmla="*/ 6634 w 10517"/>
              <a:gd name="connsiteY13" fmla="*/ 9494 h 10000"/>
              <a:gd name="connsiteX14" fmla="*/ 6543 w 10517"/>
              <a:gd name="connsiteY14" fmla="*/ 9719 h 10000"/>
              <a:gd name="connsiteX15" fmla="*/ 6176 w 10517"/>
              <a:gd name="connsiteY15" fmla="*/ 9831 h 10000"/>
              <a:gd name="connsiteX16" fmla="*/ 5900 w 10517"/>
              <a:gd name="connsiteY16" fmla="*/ 10000 h 10000"/>
              <a:gd name="connsiteX17" fmla="*/ 5258 w 10517"/>
              <a:gd name="connsiteY17" fmla="*/ 10000 h 10000"/>
              <a:gd name="connsiteX18" fmla="*/ 4708 w 10517"/>
              <a:gd name="connsiteY18" fmla="*/ 10000 h 10000"/>
              <a:gd name="connsiteX19" fmla="*/ 4249 w 10517"/>
              <a:gd name="connsiteY19" fmla="*/ 9831 h 10000"/>
              <a:gd name="connsiteX20" fmla="*/ 3974 w 10517"/>
              <a:gd name="connsiteY20" fmla="*/ 9719 h 10000"/>
              <a:gd name="connsiteX21" fmla="*/ 3882 w 10517"/>
              <a:gd name="connsiteY21" fmla="*/ 9494 h 10000"/>
              <a:gd name="connsiteX22" fmla="*/ 3515 w 10517"/>
              <a:gd name="connsiteY22" fmla="*/ 9382 h 10000"/>
              <a:gd name="connsiteX23" fmla="*/ 3148 w 10517"/>
              <a:gd name="connsiteY23" fmla="*/ 9157 h 10000"/>
              <a:gd name="connsiteX24" fmla="*/ 2965 w 10517"/>
              <a:gd name="connsiteY24" fmla="*/ 9045 h 10000"/>
              <a:gd name="connsiteX25" fmla="*/ 2873 w 10517"/>
              <a:gd name="connsiteY25" fmla="*/ 8820 h 10000"/>
              <a:gd name="connsiteX26" fmla="*/ 2873 w 10517"/>
              <a:gd name="connsiteY26" fmla="*/ 8202 h 10000"/>
              <a:gd name="connsiteX0" fmla="*/ 7643 w 9554"/>
              <a:gd name="connsiteY0" fmla="*/ 5730 h 10000"/>
              <a:gd name="connsiteX1" fmla="*/ 9508 w 9554"/>
              <a:gd name="connsiteY1" fmla="*/ 4105 h 10000"/>
              <a:gd name="connsiteX2" fmla="*/ 5258 w 9554"/>
              <a:gd name="connsiteY2" fmla="*/ 0 h 10000"/>
              <a:gd name="connsiteX3" fmla="*/ 396 w 9554"/>
              <a:gd name="connsiteY3" fmla="*/ 2360 h 10000"/>
              <a:gd name="connsiteX4" fmla="*/ 304 w 9554"/>
              <a:gd name="connsiteY4" fmla="*/ 3483 h 10000"/>
              <a:gd name="connsiteX5" fmla="*/ 2873 w 9554"/>
              <a:gd name="connsiteY5" fmla="*/ 5730 h 10000"/>
              <a:gd name="connsiteX6" fmla="*/ 2873 w 9554"/>
              <a:gd name="connsiteY6" fmla="*/ 7191 h 10000"/>
              <a:gd name="connsiteX7" fmla="*/ 7643 w 9554"/>
              <a:gd name="connsiteY7" fmla="*/ 7191 h 10000"/>
              <a:gd name="connsiteX8" fmla="*/ 7643 w 9554"/>
              <a:gd name="connsiteY8" fmla="*/ 8820 h 10000"/>
              <a:gd name="connsiteX9" fmla="*/ 7552 w 9554"/>
              <a:gd name="connsiteY9" fmla="*/ 9045 h 10000"/>
              <a:gd name="connsiteX10" fmla="*/ 7460 w 9554"/>
              <a:gd name="connsiteY10" fmla="*/ 9157 h 10000"/>
              <a:gd name="connsiteX11" fmla="*/ 7093 w 9554"/>
              <a:gd name="connsiteY11" fmla="*/ 9382 h 10000"/>
              <a:gd name="connsiteX12" fmla="*/ 6634 w 9554"/>
              <a:gd name="connsiteY12" fmla="*/ 9494 h 10000"/>
              <a:gd name="connsiteX13" fmla="*/ 6543 w 9554"/>
              <a:gd name="connsiteY13" fmla="*/ 9719 h 10000"/>
              <a:gd name="connsiteX14" fmla="*/ 6176 w 9554"/>
              <a:gd name="connsiteY14" fmla="*/ 9831 h 10000"/>
              <a:gd name="connsiteX15" fmla="*/ 5900 w 9554"/>
              <a:gd name="connsiteY15" fmla="*/ 10000 h 10000"/>
              <a:gd name="connsiteX16" fmla="*/ 5258 w 9554"/>
              <a:gd name="connsiteY16" fmla="*/ 10000 h 10000"/>
              <a:gd name="connsiteX17" fmla="*/ 4708 w 9554"/>
              <a:gd name="connsiteY17" fmla="*/ 10000 h 10000"/>
              <a:gd name="connsiteX18" fmla="*/ 4249 w 9554"/>
              <a:gd name="connsiteY18" fmla="*/ 9831 h 10000"/>
              <a:gd name="connsiteX19" fmla="*/ 3974 w 9554"/>
              <a:gd name="connsiteY19" fmla="*/ 9719 h 10000"/>
              <a:gd name="connsiteX20" fmla="*/ 3882 w 9554"/>
              <a:gd name="connsiteY20" fmla="*/ 9494 h 10000"/>
              <a:gd name="connsiteX21" fmla="*/ 3515 w 9554"/>
              <a:gd name="connsiteY21" fmla="*/ 9382 h 10000"/>
              <a:gd name="connsiteX22" fmla="*/ 3148 w 9554"/>
              <a:gd name="connsiteY22" fmla="*/ 9157 h 10000"/>
              <a:gd name="connsiteX23" fmla="*/ 2965 w 9554"/>
              <a:gd name="connsiteY23" fmla="*/ 9045 h 10000"/>
              <a:gd name="connsiteX24" fmla="*/ 2873 w 9554"/>
              <a:gd name="connsiteY24" fmla="*/ 8820 h 10000"/>
              <a:gd name="connsiteX25" fmla="*/ 2873 w 9554"/>
              <a:gd name="connsiteY25" fmla="*/ 8202 h 10000"/>
              <a:gd name="connsiteX0" fmla="*/ 8000 w 10335"/>
              <a:gd name="connsiteY0" fmla="*/ 5730 h 10000"/>
              <a:gd name="connsiteX1" fmla="*/ 9952 w 10335"/>
              <a:gd name="connsiteY1" fmla="*/ 4105 h 10000"/>
              <a:gd name="connsiteX2" fmla="*/ 5503 w 10335"/>
              <a:gd name="connsiteY2" fmla="*/ 0 h 10000"/>
              <a:gd name="connsiteX3" fmla="*/ 414 w 10335"/>
              <a:gd name="connsiteY3" fmla="*/ 2360 h 10000"/>
              <a:gd name="connsiteX4" fmla="*/ 318 w 10335"/>
              <a:gd name="connsiteY4" fmla="*/ 3483 h 10000"/>
              <a:gd name="connsiteX5" fmla="*/ 3007 w 10335"/>
              <a:gd name="connsiteY5" fmla="*/ 5730 h 10000"/>
              <a:gd name="connsiteX6" fmla="*/ 3007 w 10335"/>
              <a:gd name="connsiteY6" fmla="*/ 7191 h 10000"/>
              <a:gd name="connsiteX7" fmla="*/ 8000 w 10335"/>
              <a:gd name="connsiteY7" fmla="*/ 7191 h 10000"/>
              <a:gd name="connsiteX8" fmla="*/ 8000 w 10335"/>
              <a:gd name="connsiteY8" fmla="*/ 8820 h 10000"/>
              <a:gd name="connsiteX9" fmla="*/ 7905 w 10335"/>
              <a:gd name="connsiteY9" fmla="*/ 9045 h 10000"/>
              <a:gd name="connsiteX10" fmla="*/ 7808 w 10335"/>
              <a:gd name="connsiteY10" fmla="*/ 9157 h 10000"/>
              <a:gd name="connsiteX11" fmla="*/ 7424 w 10335"/>
              <a:gd name="connsiteY11" fmla="*/ 9382 h 10000"/>
              <a:gd name="connsiteX12" fmla="*/ 6944 w 10335"/>
              <a:gd name="connsiteY12" fmla="*/ 9494 h 10000"/>
              <a:gd name="connsiteX13" fmla="*/ 6848 w 10335"/>
              <a:gd name="connsiteY13" fmla="*/ 9719 h 10000"/>
              <a:gd name="connsiteX14" fmla="*/ 6464 w 10335"/>
              <a:gd name="connsiteY14" fmla="*/ 9831 h 10000"/>
              <a:gd name="connsiteX15" fmla="*/ 6175 w 10335"/>
              <a:gd name="connsiteY15" fmla="*/ 10000 h 10000"/>
              <a:gd name="connsiteX16" fmla="*/ 5503 w 10335"/>
              <a:gd name="connsiteY16" fmla="*/ 10000 h 10000"/>
              <a:gd name="connsiteX17" fmla="*/ 4928 w 10335"/>
              <a:gd name="connsiteY17" fmla="*/ 10000 h 10000"/>
              <a:gd name="connsiteX18" fmla="*/ 4447 w 10335"/>
              <a:gd name="connsiteY18" fmla="*/ 9831 h 10000"/>
              <a:gd name="connsiteX19" fmla="*/ 4160 w 10335"/>
              <a:gd name="connsiteY19" fmla="*/ 9719 h 10000"/>
              <a:gd name="connsiteX20" fmla="*/ 4063 w 10335"/>
              <a:gd name="connsiteY20" fmla="*/ 9494 h 10000"/>
              <a:gd name="connsiteX21" fmla="*/ 3679 w 10335"/>
              <a:gd name="connsiteY21" fmla="*/ 9382 h 10000"/>
              <a:gd name="connsiteX22" fmla="*/ 3295 w 10335"/>
              <a:gd name="connsiteY22" fmla="*/ 9157 h 10000"/>
              <a:gd name="connsiteX23" fmla="*/ 3103 w 10335"/>
              <a:gd name="connsiteY23" fmla="*/ 9045 h 10000"/>
              <a:gd name="connsiteX24" fmla="*/ 3007 w 10335"/>
              <a:gd name="connsiteY24" fmla="*/ 8820 h 10000"/>
              <a:gd name="connsiteX25" fmla="*/ 3007 w 10335"/>
              <a:gd name="connsiteY25" fmla="*/ 8202 h 10000"/>
              <a:gd name="connsiteX0" fmla="*/ 8000 w 10127"/>
              <a:gd name="connsiteY0" fmla="*/ 5730 h 10000"/>
              <a:gd name="connsiteX1" fmla="*/ 9952 w 10127"/>
              <a:gd name="connsiteY1" fmla="*/ 4105 h 10000"/>
              <a:gd name="connsiteX2" fmla="*/ 5503 w 10127"/>
              <a:gd name="connsiteY2" fmla="*/ 0 h 10000"/>
              <a:gd name="connsiteX3" fmla="*/ 414 w 10127"/>
              <a:gd name="connsiteY3" fmla="*/ 2360 h 10000"/>
              <a:gd name="connsiteX4" fmla="*/ 318 w 10127"/>
              <a:gd name="connsiteY4" fmla="*/ 3483 h 10000"/>
              <a:gd name="connsiteX5" fmla="*/ 3007 w 10127"/>
              <a:gd name="connsiteY5" fmla="*/ 5730 h 10000"/>
              <a:gd name="connsiteX6" fmla="*/ 3007 w 10127"/>
              <a:gd name="connsiteY6" fmla="*/ 7191 h 10000"/>
              <a:gd name="connsiteX7" fmla="*/ 8000 w 10127"/>
              <a:gd name="connsiteY7" fmla="*/ 7191 h 10000"/>
              <a:gd name="connsiteX8" fmla="*/ 8000 w 10127"/>
              <a:gd name="connsiteY8" fmla="*/ 8820 h 10000"/>
              <a:gd name="connsiteX9" fmla="*/ 7905 w 10127"/>
              <a:gd name="connsiteY9" fmla="*/ 9045 h 10000"/>
              <a:gd name="connsiteX10" fmla="*/ 7808 w 10127"/>
              <a:gd name="connsiteY10" fmla="*/ 9157 h 10000"/>
              <a:gd name="connsiteX11" fmla="*/ 7424 w 10127"/>
              <a:gd name="connsiteY11" fmla="*/ 9382 h 10000"/>
              <a:gd name="connsiteX12" fmla="*/ 6944 w 10127"/>
              <a:gd name="connsiteY12" fmla="*/ 9494 h 10000"/>
              <a:gd name="connsiteX13" fmla="*/ 6848 w 10127"/>
              <a:gd name="connsiteY13" fmla="*/ 9719 h 10000"/>
              <a:gd name="connsiteX14" fmla="*/ 6464 w 10127"/>
              <a:gd name="connsiteY14" fmla="*/ 9831 h 10000"/>
              <a:gd name="connsiteX15" fmla="*/ 6175 w 10127"/>
              <a:gd name="connsiteY15" fmla="*/ 10000 h 10000"/>
              <a:gd name="connsiteX16" fmla="*/ 5503 w 10127"/>
              <a:gd name="connsiteY16" fmla="*/ 10000 h 10000"/>
              <a:gd name="connsiteX17" fmla="*/ 4928 w 10127"/>
              <a:gd name="connsiteY17" fmla="*/ 10000 h 10000"/>
              <a:gd name="connsiteX18" fmla="*/ 4447 w 10127"/>
              <a:gd name="connsiteY18" fmla="*/ 9831 h 10000"/>
              <a:gd name="connsiteX19" fmla="*/ 4160 w 10127"/>
              <a:gd name="connsiteY19" fmla="*/ 9719 h 10000"/>
              <a:gd name="connsiteX20" fmla="*/ 4063 w 10127"/>
              <a:gd name="connsiteY20" fmla="*/ 9494 h 10000"/>
              <a:gd name="connsiteX21" fmla="*/ 3679 w 10127"/>
              <a:gd name="connsiteY21" fmla="*/ 9382 h 10000"/>
              <a:gd name="connsiteX22" fmla="*/ 3295 w 10127"/>
              <a:gd name="connsiteY22" fmla="*/ 9157 h 10000"/>
              <a:gd name="connsiteX23" fmla="*/ 3103 w 10127"/>
              <a:gd name="connsiteY23" fmla="*/ 9045 h 10000"/>
              <a:gd name="connsiteX24" fmla="*/ 3007 w 10127"/>
              <a:gd name="connsiteY24" fmla="*/ 8820 h 10000"/>
              <a:gd name="connsiteX25" fmla="*/ 3007 w 10127"/>
              <a:gd name="connsiteY25" fmla="*/ 8202 h 10000"/>
              <a:gd name="connsiteX0" fmla="*/ 8000 w 10599"/>
              <a:gd name="connsiteY0" fmla="*/ 5730 h 10000"/>
              <a:gd name="connsiteX1" fmla="*/ 10440 w 10599"/>
              <a:gd name="connsiteY1" fmla="*/ 3292 h 10000"/>
              <a:gd name="connsiteX2" fmla="*/ 5503 w 10599"/>
              <a:gd name="connsiteY2" fmla="*/ 0 h 10000"/>
              <a:gd name="connsiteX3" fmla="*/ 414 w 10599"/>
              <a:gd name="connsiteY3" fmla="*/ 2360 h 10000"/>
              <a:gd name="connsiteX4" fmla="*/ 318 w 10599"/>
              <a:gd name="connsiteY4" fmla="*/ 3483 h 10000"/>
              <a:gd name="connsiteX5" fmla="*/ 3007 w 10599"/>
              <a:gd name="connsiteY5" fmla="*/ 5730 h 10000"/>
              <a:gd name="connsiteX6" fmla="*/ 3007 w 10599"/>
              <a:gd name="connsiteY6" fmla="*/ 7191 h 10000"/>
              <a:gd name="connsiteX7" fmla="*/ 8000 w 10599"/>
              <a:gd name="connsiteY7" fmla="*/ 7191 h 10000"/>
              <a:gd name="connsiteX8" fmla="*/ 8000 w 10599"/>
              <a:gd name="connsiteY8" fmla="*/ 8820 h 10000"/>
              <a:gd name="connsiteX9" fmla="*/ 7905 w 10599"/>
              <a:gd name="connsiteY9" fmla="*/ 9045 h 10000"/>
              <a:gd name="connsiteX10" fmla="*/ 7808 w 10599"/>
              <a:gd name="connsiteY10" fmla="*/ 9157 h 10000"/>
              <a:gd name="connsiteX11" fmla="*/ 7424 w 10599"/>
              <a:gd name="connsiteY11" fmla="*/ 9382 h 10000"/>
              <a:gd name="connsiteX12" fmla="*/ 6944 w 10599"/>
              <a:gd name="connsiteY12" fmla="*/ 9494 h 10000"/>
              <a:gd name="connsiteX13" fmla="*/ 6848 w 10599"/>
              <a:gd name="connsiteY13" fmla="*/ 9719 h 10000"/>
              <a:gd name="connsiteX14" fmla="*/ 6464 w 10599"/>
              <a:gd name="connsiteY14" fmla="*/ 9831 h 10000"/>
              <a:gd name="connsiteX15" fmla="*/ 6175 w 10599"/>
              <a:gd name="connsiteY15" fmla="*/ 10000 h 10000"/>
              <a:gd name="connsiteX16" fmla="*/ 5503 w 10599"/>
              <a:gd name="connsiteY16" fmla="*/ 10000 h 10000"/>
              <a:gd name="connsiteX17" fmla="*/ 4928 w 10599"/>
              <a:gd name="connsiteY17" fmla="*/ 10000 h 10000"/>
              <a:gd name="connsiteX18" fmla="*/ 4447 w 10599"/>
              <a:gd name="connsiteY18" fmla="*/ 9831 h 10000"/>
              <a:gd name="connsiteX19" fmla="*/ 4160 w 10599"/>
              <a:gd name="connsiteY19" fmla="*/ 9719 h 10000"/>
              <a:gd name="connsiteX20" fmla="*/ 4063 w 10599"/>
              <a:gd name="connsiteY20" fmla="*/ 9494 h 10000"/>
              <a:gd name="connsiteX21" fmla="*/ 3679 w 10599"/>
              <a:gd name="connsiteY21" fmla="*/ 9382 h 10000"/>
              <a:gd name="connsiteX22" fmla="*/ 3295 w 10599"/>
              <a:gd name="connsiteY22" fmla="*/ 9157 h 10000"/>
              <a:gd name="connsiteX23" fmla="*/ 3103 w 10599"/>
              <a:gd name="connsiteY23" fmla="*/ 9045 h 10000"/>
              <a:gd name="connsiteX24" fmla="*/ 3007 w 10599"/>
              <a:gd name="connsiteY24" fmla="*/ 8820 h 10000"/>
              <a:gd name="connsiteX25" fmla="*/ 3007 w 10599"/>
              <a:gd name="connsiteY25" fmla="*/ 8202 h 10000"/>
              <a:gd name="connsiteX0" fmla="*/ 8000 w 10602"/>
              <a:gd name="connsiteY0" fmla="*/ 5897 h 10167"/>
              <a:gd name="connsiteX1" fmla="*/ 10440 w 10602"/>
              <a:gd name="connsiteY1" fmla="*/ 3459 h 10167"/>
              <a:gd name="connsiteX2" fmla="*/ 5503 w 10602"/>
              <a:gd name="connsiteY2" fmla="*/ 167 h 10167"/>
              <a:gd name="connsiteX3" fmla="*/ 414 w 10602"/>
              <a:gd name="connsiteY3" fmla="*/ 2527 h 10167"/>
              <a:gd name="connsiteX4" fmla="*/ 318 w 10602"/>
              <a:gd name="connsiteY4" fmla="*/ 3650 h 10167"/>
              <a:gd name="connsiteX5" fmla="*/ 3007 w 10602"/>
              <a:gd name="connsiteY5" fmla="*/ 5897 h 10167"/>
              <a:gd name="connsiteX6" fmla="*/ 3007 w 10602"/>
              <a:gd name="connsiteY6" fmla="*/ 7358 h 10167"/>
              <a:gd name="connsiteX7" fmla="*/ 8000 w 10602"/>
              <a:gd name="connsiteY7" fmla="*/ 7358 h 10167"/>
              <a:gd name="connsiteX8" fmla="*/ 8000 w 10602"/>
              <a:gd name="connsiteY8" fmla="*/ 8987 h 10167"/>
              <a:gd name="connsiteX9" fmla="*/ 7905 w 10602"/>
              <a:gd name="connsiteY9" fmla="*/ 9212 h 10167"/>
              <a:gd name="connsiteX10" fmla="*/ 7808 w 10602"/>
              <a:gd name="connsiteY10" fmla="*/ 9324 h 10167"/>
              <a:gd name="connsiteX11" fmla="*/ 7424 w 10602"/>
              <a:gd name="connsiteY11" fmla="*/ 9549 h 10167"/>
              <a:gd name="connsiteX12" fmla="*/ 6944 w 10602"/>
              <a:gd name="connsiteY12" fmla="*/ 9661 h 10167"/>
              <a:gd name="connsiteX13" fmla="*/ 6848 w 10602"/>
              <a:gd name="connsiteY13" fmla="*/ 9886 h 10167"/>
              <a:gd name="connsiteX14" fmla="*/ 6464 w 10602"/>
              <a:gd name="connsiteY14" fmla="*/ 9998 h 10167"/>
              <a:gd name="connsiteX15" fmla="*/ 6175 w 10602"/>
              <a:gd name="connsiteY15" fmla="*/ 10167 h 10167"/>
              <a:gd name="connsiteX16" fmla="*/ 5503 w 10602"/>
              <a:gd name="connsiteY16" fmla="*/ 10167 h 10167"/>
              <a:gd name="connsiteX17" fmla="*/ 4928 w 10602"/>
              <a:gd name="connsiteY17" fmla="*/ 10167 h 10167"/>
              <a:gd name="connsiteX18" fmla="*/ 4447 w 10602"/>
              <a:gd name="connsiteY18" fmla="*/ 9998 h 10167"/>
              <a:gd name="connsiteX19" fmla="*/ 4160 w 10602"/>
              <a:gd name="connsiteY19" fmla="*/ 9886 h 10167"/>
              <a:gd name="connsiteX20" fmla="*/ 4063 w 10602"/>
              <a:gd name="connsiteY20" fmla="*/ 9661 h 10167"/>
              <a:gd name="connsiteX21" fmla="*/ 3679 w 10602"/>
              <a:gd name="connsiteY21" fmla="*/ 9549 h 10167"/>
              <a:gd name="connsiteX22" fmla="*/ 3295 w 10602"/>
              <a:gd name="connsiteY22" fmla="*/ 9324 h 10167"/>
              <a:gd name="connsiteX23" fmla="*/ 3103 w 10602"/>
              <a:gd name="connsiteY23" fmla="*/ 9212 h 10167"/>
              <a:gd name="connsiteX24" fmla="*/ 3007 w 10602"/>
              <a:gd name="connsiteY24" fmla="*/ 8987 h 10167"/>
              <a:gd name="connsiteX25" fmla="*/ 3007 w 10602"/>
              <a:gd name="connsiteY25" fmla="*/ 8369 h 10167"/>
              <a:gd name="connsiteX0" fmla="*/ 8000 w 10642"/>
              <a:gd name="connsiteY0" fmla="*/ 5731 h 10001"/>
              <a:gd name="connsiteX1" fmla="*/ 10440 w 10642"/>
              <a:gd name="connsiteY1" fmla="*/ 3293 h 10001"/>
              <a:gd name="connsiteX2" fmla="*/ 5503 w 10642"/>
              <a:gd name="connsiteY2" fmla="*/ 1 h 10001"/>
              <a:gd name="connsiteX3" fmla="*/ 414 w 10642"/>
              <a:gd name="connsiteY3" fmla="*/ 2361 h 10001"/>
              <a:gd name="connsiteX4" fmla="*/ 318 w 10642"/>
              <a:gd name="connsiteY4" fmla="*/ 3484 h 10001"/>
              <a:gd name="connsiteX5" fmla="*/ 3007 w 10642"/>
              <a:gd name="connsiteY5" fmla="*/ 5731 h 10001"/>
              <a:gd name="connsiteX6" fmla="*/ 3007 w 10642"/>
              <a:gd name="connsiteY6" fmla="*/ 7192 h 10001"/>
              <a:gd name="connsiteX7" fmla="*/ 8000 w 10642"/>
              <a:gd name="connsiteY7" fmla="*/ 7192 h 10001"/>
              <a:gd name="connsiteX8" fmla="*/ 8000 w 10642"/>
              <a:gd name="connsiteY8" fmla="*/ 8821 h 10001"/>
              <a:gd name="connsiteX9" fmla="*/ 7905 w 10642"/>
              <a:gd name="connsiteY9" fmla="*/ 9046 h 10001"/>
              <a:gd name="connsiteX10" fmla="*/ 7808 w 10642"/>
              <a:gd name="connsiteY10" fmla="*/ 9158 h 10001"/>
              <a:gd name="connsiteX11" fmla="*/ 7424 w 10642"/>
              <a:gd name="connsiteY11" fmla="*/ 9383 h 10001"/>
              <a:gd name="connsiteX12" fmla="*/ 6944 w 10642"/>
              <a:gd name="connsiteY12" fmla="*/ 9495 h 10001"/>
              <a:gd name="connsiteX13" fmla="*/ 6848 w 10642"/>
              <a:gd name="connsiteY13" fmla="*/ 9720 h 10001"/>
              <a:gd name="connsiteX14" fmla="*/ 6464 w 10642"/>
              <a:gd name="connsiteY14" fmla="*/ 9832 h 10001"/>
              <a:gd name="connsiteX15" fmla="*/ 6175 w 10642"/>
              <a:gd name="connsiteY15" fmla="*/ 10001 h 10001"/>
              <a:gd name="connsiteX16" fmla="*/ 5503 w 10642"/>
              <a:gd name="connsiteY16" fmla="*/ 10001 h 10001"/>
              <a:gd name="connsiteX17" fmla="*/ 4928 w 10642"/>
              <a:gd name="connsiteY17" fmla="*/ 10001 h 10001"/>
              <a:gd name="connsiteX18" fmla="*/ 4447 w 10642"/>
              <a:gd name="connsiteY18" fmla="*/ 9832 h 10001"/>
              <a:gd name="connsiteX19" fmla="*/ 4160 w 10642"/>
              <a:gd name="connsiteY19" fmla="*/ 9720 h 10001"/>
              <a:gd name="connsiteX20" fmla="*/ 4063 w 10642"/>
              <a:gd name="connsiteY20" fmla="*/ 9495 h 10001"/>
              <a:gd name="connsiteX21" fmla="*/ 3679 w 10642"/>
              <a:gd name="connsiteY21" fmla="*/ 9383 h 10001"/>
              <a:gd name="connsiteX22" fmla="*/ 3295 w 10642"/>
              <a:gd name="connsiteY22" fmla="*/ 9158 h 10001"/>
              <a:gd name="connsiteX23" fmla="*/ 3103 w 10642"/>
              <a:gd name="connsiteY23" fmla="*/ 9046 h 10001"/>
              <a:gd name="connsiteX24" fmla="*/ 3007 w 10642"/>
              <a:gd name="connsiteY24" fmla="*/ 8821 h 10001"/>
              <a:gd name="connsiteX25" fmla="*/ 3007 w 10642"/>
              <a:gd name="connsiteY25" fmla="*/ 8203 h 10001"/>
              <a:gd name="connsiteX0" fmla="*/ 7682 w 10284"/>
              <a:gd name="connsiteY0" fmla="*/ 5731 h 10001"/>
              <a:gd name="connsiteX1" fmla="*/ 10122 w 10284"/>
              <a:gd name="connsiteY1" fmla="*/ 3293 h 10001"/>
              <a:gd name="connsiteX2" fmla="*/ 5185 w 10284"/>
              <a:gd name="connsiteY2" fmla="*/ 1 h 10001"/>
              <a:gd name="connsiteX3" fmla="*/ 0 w 10284"/>
              <a:gd name="connsiteY3" fmla="*/ 3484 h 10001"/>
              <a:gd name="connsiteX4" fmla="*/ 2689 w 10284"/>
              <a:gd name="connsiteY4" fmla="*/ 5731 h 10001"/>
              <a:gd name="connsiteX5" fmla="*/ 2689 w 10284"/>
              <a:gd name="connsiteY5" fmla="*/ 7192 h 10001"/>
              <a:gd name="connsiteX6" fmla="*/ 7682 w 10284"/>
              <a:gd name="connsiteY6" fmla="*/ 7192 h 10001"/>
              <a:gd name="connsiteX7" fmla="*/ 7682 w 10284"/>
              <a:gd name="connsiteY7" fmla="*/ 8821 h 10001"/>
              <a:gd name="connsiteX8" fmla="*/ 7587 w 10284"/>
              <a:gd name="connsiteY8" fmla="*/ 9046 h 10001"/>
              <a:gd name="connsiteX9" fmla="*/ 7490 w 10284"/>
              <a:gd name="connsiteY9" fmla="*/ 9158 h 10001"/>
              <a:gd name="connsiteX10" fmla="*/ 7106 w 10284"/>
              <a:gd name="connsiteY10" fmla="*/ 9383 h 10001"/>
              <a:gd name="connsiteX11" fmla="*/ 6626 w 10284"/>
              <a:gd name="connsiteY11" fmla="*/ 9495 h 10001"/>
              <a:gd name="connsiteX12" fmla="*/ 6530 w 10284"/>
              <a:gd name="connsiteY12" fmla="*/ 9720 h 10001"/>
              <a:gd name="connsiteX13" fmla="*/ 6146 w 10284"/>
              <a:gd name="connsiteY13" fmla="*/ 9832 h 10001"/>
              <a:gd name="connsiteX14" fmla="*/ 5857 w 10284"/>
              <a:gd name="connsiteY14" fmla="*/ 10001 h 10001"/>
              <a:gd name="connsiteX15" fmla="*/ 5185 w 10284"/>
              <a:gd name="connsiteY15" fmla="*/ 10001 h 10001"/>
              <a:gd name="connsiteX16" fmla="*/ 4610 w 10284"/>
              <a:gd name="connsiteY16" fmla="*/ 10001 h 10001"/>
              <a:gd name="connsiteX17" fmla="*/ 4129 w 10284"/>
              <a:gd name="connsiteY17" fmla="*/ 9832 h 10001"/>
              <a:gd name="connsiteX18" fmla="*/ 3842 w 10284"/>
              <a:gd name="connsiteY18" fmla="*/ 9720 h 10001"/>
              <a:gd name="connsiteX19" fmla="*/ 3745 w 10284"/>
              <a:gd name="connsiteY19" fmla="*/ 9495 h 10001"/>
              <a:gd name="connsiteX20" fmla="*/ 3361 w 10284"/>
              <a:gd name="connsiteY20" fmla="*/ 9383 h 10001"/>
              <a:gd name="connsiteX21" fmla="*/ 2977 w 10284"/>
              <a:gd name="connsiteY21" fmla="*/ 9158 h 10001"/>
              <a:gd name="connsiteX22" fmla="*/ 2785 w 10284"/>
              <a:gd name="connsiteY22" fmla="*/ 9046 h 10001"/>
              <a:gd name="connsiteX23" fmla="*/ 2689 w 10284"/>
              <a:gd name="connsiteY23" fmla="*/ 8821 h 10001"/>
              <a:gd name="connsiteX24" fmla="*/ 2689 w 10284"/>
              <a:gd name="connsiteY24" fmla="*/ 8203 h 10001"/>
              <a:gd name="connsiteX0" fmla="*/ 7389 w 9989"/>
              <a:gd name="connsiteY0" fmla="*/ 5731 h 10001"/>
              <a:gd name="connsiteX1" fmla="*/ 9829 w 9989"/>
              <a:gd name="connsiteY1" fmla="*/ 3293 h 10001"/>
              <a:gd name="connsiteX2" fmla="*/ 4892 w 9989"/>
              <a:gd name="connsiteY2" fmla="*/ 1 h 10001"/>
              <a:gd name="connsiteX3" fmla="*/ 0 w 9989"/>
              <a:gd name="connsiteY3" fmla="*/ 3078 h 10001"/>
              <a:gd name="connsiteX4" fmla="*/ 2396 w 9989"/>
              <a:gd name="connsiteY4" fmla="*/ 5731 h 10001"/>
              <a:gd name="connsiteX5" fmla="*/ 2396 w 9989"/>
              <a:gd name="connsiteY5" fmla="*/ 7192 h 10001"/>
              <a:gd name="connsiteX6" fmla="*/ 7389 w 9989"/>
              <a:gd name="connsiteY6" fmla="*/ 7192 h 10001"/>
              <a:gd name="connsiteX7" fmla="*/ 7389 w 9989"/>
              <a:gd name="connsiteY7" fmla="*/ 8821 h 10001"/>
              <a:gd name="connsiteX8" fmla="*/ 7294 w 9989"/>
              <a:gd name="connsiteY8" fmla="*/ 9046 h 10001"/>
              <a:gd name="connsiteX9" fmla="*/ 7197 w 9989"/>
              <a:gd name="connsiteY9" fmla="*/ 9158 h 10001"/>
              <a:gd name="connsiteX10" fmla="*/ 6813 w 9989"/>
              <a:gd name="connsiteY10" fmla="*/ 9383 h 10001"/>
              <a:gd name="connsiteX11" fmla="*/ 6333 w 9989"/>
              <a:gd name="connsiteY11" fmla="*/ 9495 h 10001"/>
              <a:gd name="connsiteX12" fmla="*/ 6237 w 9989"/>
              <a:gd name="connsiteY12" fmla="*/ 9720 h 10001"/>
              <a:gd name="connsiteX13" fmla="*/ 5853 w 9989"/>
              <a:gd name="connsiteY13" fmla="*/ 9832 h 10001"/>
              <a:gd name="connsiteX14" fmla="*/ 5564 w 9989"/>
              <a:gd name="connsiteY14" fmla="*/ 10001 h 10001"/>
              <a:gd name="connsiteX15" fmla="*/ 4892 w 9989"/>
              <a:gd name="connsiteY15" fmla="*/ 10001 h 10001"/>
              <a:gd name="connsiteX16" fmla="*/ 4317 w 9989"/>
              <a:gd name="connsiteY16" fmla="*/ 10001 h 10001"/>
              <a:gd name="connsiteX17" fmla="*/ 3836 w 9989"/>
              <a:gd name="connsiteY17" fmla="*/ 9832 h 10001"/>
              <a:gd name="connsiteX18" fmla="*/ 3549 w 9989"/>
              <a:gd name="connsiteY18" fmla="*/ 9720 h 10001"/>
              <a:gd name="connsiteX19" fmla="*/ 3452 w 9989"/>
              <a:gd name="connsiteY19" fmla="*/ 9495 h 10001"/>
              <a:gd name="connsiteX20" fmla="*/ 3068 w 9989"/>
              <a:gd name="connsiteY20" fmla="*/ 9383 h 10001"/>
              <a:gd name="connsiteX21" fmla="*/ 2684 w 9989"/>
              <a:gd name="connsiteY21" fmla="*/ 9158 h 10001"/>
              <a:gd name="connsiteX22" fmla="*/ 2492 w 9989"/>
              <a:gd name="connsiteY22" fmla="*/ 9046 h 10001"/>
              <a:gd name="connsiteX23" fmla="*/ 2396 w 9989"/>
              <a:gd name="connsiteY23" fmla="*/ 8821 h 10001"/>
              <a:gd name="connsiteX24" fmla="*/ 2396 w 9989"/>
              <a:gd name="connsiteY24" fmla="*/ 8203 h 10001"/>
              <a:gd name="connsiteX0" fmla="*/ 7397 w 10000"/>
              <a:gd name="connsiteY0" fmla="*/ 5730 h 10000"/>
              <a:gd name="connsiteX1" fmla="*/ 9840 w 10000"/>
              <a:gd name="connsiteY1" fmla="*/ 3293 h 10000"/>
              <a:gd name="connsiteX2" fmla="*/ 4897 w 10000"/>
              <a:gd name="connsiteY2" fmla="*/ 1 h 10000"/>
              <a:gd name="connsiteX3" fmla="*/ 0 w 10000"/>
              <a:gd name="connsiteY3" fmla="*/ 3078 h 10000"/>
              <a:gd name="connsiteX4" fmla="*/ 2399 w 10000"/>
              <a:gd name="connsiteY4" fmla="*/ 5730 h 10000"/>
              <a:gd name="connsiteX5" fmla="*/ 2399 w 10000"/>
              <a:gd name="connsiteY5" fmla="*/ 7191 h 10000"/>
              <a:gd name="connsiteX6" fmla="*/ 7397 w 10000"/>
              <a:gd name="connsiteY6" fmla="*/ 7191 h 10000"/>
              <a:gd name="connsiteX7" fmla="*/ 7397 w 10000"/>
              <a:gd name="connsiteY7" fmla="*/ 8820 h 10000"/>
              <a:gd name="connsiteX8" fmla="*/ 7302 w 10000"/>
              <a:gd name="connsiteY8" fmla="*/ 9045 h 10000"/>
              <a:gd name="connsiteX9" fmla="*/ 7205 w 10000"/>
              <a:gd name="connsiteY9" fmla="*/ 9157 h 10000"/>
              <a:gd name="connsiteX10" fmla="*/ 6821 w 10000"/>
              <a:gd name="connsiteY10" fmla="*/ 9382 h 10000"/>
              <a:gd name="connsiteX11" fmla="*/ 6340 w 10000"/>
              <a:gd name="connsiteY11" fmla="*/ 9494 h 10000"/>
              <a:gd name="connsiteX12" fmla="*/ 6244 w 10000"/>
              <a:gd name="connsiteY12" fmla="*/ 9719 h 10000"/>
              <a:gd name="connsiteX13" fmla="*/ 5859 w 10000"/>
              <a:gd name="connsiteY13" fmla="*/ 9831 h 10000"/>
              <a:gd name="connsiteX14" fmla="*/ 5570 w 10000"/>
              <a:gd name="connsiteY14" fmla="*/ 10000 h 10000"/>
              <a:gd name="connsiteX15" fmla="*/ 4897 w 10000"/>
              <a:gd name="connsiteY15" fmla="*/ 10000 h 10000"/>
              <a:gd name="connsiteX16" fmla="*/ 4322 w 10000"/>
              <a:gd name="connsiteY16" fmla="*/ 10000 h 10000"/>
              <a:gd name="connsiteX17" fmla="*/ 3840 w 10000"/>
              <a:gd name="connsiteY17" fmla="*/ 9831 h 10000"/>
              <a:gd name="connsiteX18" fmla="*/ 3553 w 10000"/>
              <a:gd name="connsiteY18" fmla="*/ 9719 h 10000"/>
              <a:gd name="connsiteX19" fmla="*/ 3456 w 10000"/>
              <a:gd name="connsiteY19" fmla="*/ 9494 h 10000"/>
              <a:gd name="connsiteX20" fmla="*/ 3071 w 10000"/>
              <a:gd name="connsiteY20" fmla="*/ 9382 h 10000"/>
              <a:gd name="connsiteX21" fmla="*/ 2687 w 10000"/>
              <a:gd name="connsiteY21" fmla="*/ 9157 h 10000"/>
              <a:gd name="connsiteX22" fmla="*/ 2495 w 10000"/>
              <a:gd name="connsiteY22" fmla="*/ 9045 h 10000"/>
              <a:gd name="connsiteX23" fmla="*/ 2399 w 10000"/>
              <a:gd name="connsiteY23" fmla="*/ 8820 h 10000"/>
              <a:gd name="connsiteX24" fmla="*/ 2399 w 10000"/>
              <a:gd name="connsiteY24" fmla="*/ 8202 h 10000"/>
              <a:gd name="connsiteX0" fmla="*/ 7397 w 10000"/>
              <a:gd name="connsiteY0" fmla="*/ 5730 h 10000"/>
              <a:gd name="connsiteX1" fmla="*/ 9840 w 10000"/>
              <a:gd name="connsiteY1" fmla="*/ 3293 h 10000"/>
              <a:gd name="connsiteX2" fmla="*/ 4897 w 10000"/>
              <a:gd name="connsiteY2" fmla="*/ 1 h 10000"/>
              <a:gd name="connsiteX3" fmla="*/ 0 w 10000"/>
              <a:gd name="connsiteY3" fmla="*/ 3078 h 10000"/>
              <a:gd name="connsiteX4" fmla="*/ 2399 w 10000"/>
              <a:gd name="connsiteY4" fmla="*/ 5730 h 10000"/>
              <a:gd name="connsiteX5" fmla="*/ 2399 w 10000"/>
              <a:gd name="connsiteY5" fmla="*/ 7191 h 10000"/>
              <a:gd name="connsiteX6" fmla="*/ 7397 w 10000"/>
              <a:gd name="connsiteY6" fmla="*/ 7191 h 10000"/>
              <a:gd name="connsiteX7" fmla="*/ 7397 w 10000"/>
              <a:gd name="connsiteY7" fmla="*/ 8820 h 10000"/>
              <a:gd name="connsiteX8" fmla="*/ 7302 w 10000"/>
              <a:gd name="connsiteY8" fmla="*/ 9045 h 10000"/>
              <a:gd name="connsiteX9" fmla="*/ 7205 w 10000"/>
              <a:gd name="connsiteY9" fmla="*/ 9157 h 10000"/>
              <a:gd name="connsiteX10" fmla="*/ 6821 w 10000"/>
              <a:gd name="connsiteY10" fmla="*/ 9382 h 10000"/>
              <a:gd name="connsiteX11" fmla="*/ 6340 w 10000"/>
              <a:gd name="connsiteY11" fmla="*/ 9494 h 10000"/>
              <a:gd name="connsiteX12" fmla="*/ 6244 w 10000"/>
              <a:gd name="connsiteY12" fmla="*/ 9719 h 10000"/>
              <a:gd name="connsiteX13" fmla="*/ 5859 w 10000"/>
              <a:gd name="connsiteY13" fmla="*/ 9831 h 10000"/>
              <a:gd name="connsiteX14" fmla="*/ 5570 w 10000"/>
              <a:gd name="connsiteY14" fmla="*/ 10000 h 10000"/>
              <a:gd name="connsiteX15" fmla="*/ 4897 w 10000"/>
              <a:gd name="connsiteY15" fmla="*/ 10000 h 10000"/>
              <a:gd name="connsiteX16" fmla="*/ 4322 w 10000"/>
              <a:gd name="connsiteY16" fmla="*/ 10000 h 10000"/>
              <a:gd name="connsiteX17" fmla="*/ 3840 w 10000"/>
              <a:gd name="connsiteY17" fmla="*/ 9831 h 10000"/>
              <a:gd name="connsiteX18" fmla="*/ 3553 w 10000"/>
              <a:gd name="connsiteY18" fmla="*/ 9719 h 10000"/>
              <a:gd name="connsiteX19" fmla="*/ 3456 w 10000"/>
              <a:gd name="connsiteY19" fmla="*/ 9494 h 10000"/>
              <a:gd name="connsiteX20" fmla="*/ 3071 w 10000"/>
              <a:gd name="connsiteY20" fmla="*/ 9382 h 10000"/>
              <a:gd name="connsiteX21" fmla="*/ 2687 w 10000"/>
              <a:gd name="connsiteY21" fmla="*/ 9157 h 10000"/>
              <a:gd name="connsiteX22" fmla="*/ 2495 w 10000"/>
              <a:gd name="connsiteY22" fmla="*/ 9045 h 10000"/>
              <a:gd name="connsiteX23" fmla="*/ 2399 w 10000"/>
              <a:gd name="connsiteY23" fmla="*/ 8820 h 10000"/>
              <a:gd name="connsiteX24" fmla="*/ 2399 w 10000"/>
              <a:gd name="connsiteY24" fmla="*/ 8202 h 10000"/>
              <a:gd name="connsiteX0" fmla="*/ 7500 w 10103"/>
              <a:gd name="connsiteY0" fmla="*/ 5730 h 10000"/>
              <a:gd name="connsiteX1" fmla="*/ 9943 w 10103"/>
              <a:gd name="connsiteY1" fmla="*/ 3293 h 10000"/>
              <a:gd name="connsiteX2" fmla="*/ 5000 w 10103"/>
              <a:gd name="connsiteY2" fmla="*/ 1 h 10000"/>
              <a:gd name="connsiteX3" fmla="*/ 103 w 10103"/>
              <a:gd name="connsiteY3" fmla="*/ 3078 h 10000"/>
              <a:gd name="connsiteX4" fmla="*/ 2502 w 10103"/>
              <a:gd name="connsiteY4" fmla="*/ 5730 h 10000"/>
              <a:gd name="connsiteX5" fmla="*/ 2502 w 10103"/>
              <a:gd name="connsiteY5" fmla="*/ 7191 h 10000"/>
              <a:gd name="connsiteX6" fmla="*/ 7500 w 10103"/>
              <a:gd name="connsiteY6" fmla="*/ 7191 h 10000"/>
              <a:gd name="connsiteX7" fmla="*/ 7500 w 10103"/>
              <a:gd name="connsiteY7" fmla="*/ 8820 h 10000"/>
              <a:gd name="connsiteX8" fmla="*/ 7405 w 10103"/>
              <a:gd name="connsiteY8" fmla="*/ 9045 h 10000"/>
              <a:gd name="connsiteX9" fmla="*/ 7308 w 10103"/>
              <a:gd name="connsiteY9" fmla="*/ 9157 h 10000"/>
              <a:gd name="connsiteX10" fmla="*/ 6924 w 10103"/>
              <a:gd name="connsiteY10" fmla="*/ 9382 h 10000"/>
              <a:gd name="connsiteX11" fmla="*/ 6443 w 10103"/>
              <a:gd name="connsiteY11" fmla="*/ 9494 h 10000"/>
              <a:gd name="connsiteX12" fmla="*/ 6347 w 10103"/>
              <a:gd name="connsiteY12" fmla="*/ 9719 h 10000"/>
              <a:gd name="connsiteX13" fmla="*/ 5962 w 10103"/>
              <a:gd name="connsiteY13" fmla="*/ 9831 h 10000"/>
              <a:gd name="connsiteX14" fmla="*/ 5673 w 10103"/>
              <a:gd name="connsiteY14" fmla="*/ 10000 h 10000"/>
              <a:gd name="connsiteX15" fmla="*/ 5000 w 10103"/>
              <a:gd name="connsiteY15" fmla="*/ 10000 h 10000"/>
              <a:gd name="connsiteX16" fmla="*/ 4425 w 10103"/>
              <a:gd name="connsiteY16" fmla="*/ 10000 h 10000"/>
              <a:gd name="connsiteX17" fmla="*/ 3943 w 10103"/>
              <a:gd name="connsiteY17" fmla="*/ 9831 h 10000"/>
              <a:gd name="connsiteX18" fmla="*/ 3656 w 10103"/>
              <a:gd name="connsiteY18" fmla="*/ 9719 h 10000"/>
              <a:gd name="connsiteX19" fmla="*/ 3559 w 10103"/>
              <a:gd name="connsiteY19" fmla="*/ 9494 h 10000"/>
              <a:gd name="connsiteX20" fmla="*/ 3174 w 10103"/>
              <a:gd name="connsiteY20" fmla="*/ 9382 h 10000"/>
              <a:gd name="connsiteX21" fmla="*/ 2790 w 10103"/>
              <a:gd name="connsiteY21" fmla="*/ 9157 h 10000"/>
              <a:gd name="connsiteX22" fmla="*/ 2598 w 10103"/>
              <a:gd name="connsiteY22" fmla="*/ 9045 h 10000"/>
              <a:gd name="connsiteX23" fmla="*/ 2502 w 10103"/>
              <a:gd name="connsiteY23" fmla="*/ 8820 h 10000"/>
              <a:gd name="connsiteX24" fmla="*/ 2502 w 10103"/>
              <a:gd name="connsiteY24" fmla="*/ 8202 h 10000"/>
              <a:gd name="connsiteX0" fmla="*/ 7407 w 10010"/>
              <a:gd name="connsiteY0" fmla="*/ 5730 h 10000"/>
              <a:gd name="connsiteX1" fmla="*/ 9850 w 10010"/>
              <a:gd name="connsiteY1" fmla="*/ 3293 h 10000"/>
              <a:gd name="connsiteX2" fmla="*/ 4907 w 10010"/>
              <a:gd name="connsiteY2" fmla="*/ 1 h 10000"/>
              <a:gd name="connsiteX3" fmla="*/ 10 w 10010"/>
              <a:gd name="connsiteY3" fmla="*/ 3078 h 10000"/>
              <a:gd name="connsiteX4" fmla="*/ 2409 w 10010"/>
              <a:gd name="connsiteY4" fmla="*/ 5730 h 10000"/>
              <a:gd name="connsiteX5" fmla="*/ 2409 w 10010"/>
              <a:gd name="connsiteY5" fmla="*/ 7191 h 10000"/>
              <a:gd name="connsiteX6" fmla="*/ 7407 w 10010"/>
              <a:gd name="connsiteY6" fmla="*/ 7191 h 10000"/>
              <a:gd name="connsiteX7" fmla="*/ 7407 w 10010"/>
              <a:gd name="connsiteY7" fmla="*/ 8820 h 10000"/>
              <a:gd name="connsiteX8" fmla="*/ 7312 w 10010"/>
              <a:gd name="connsiteY8" fmla="*/ 9045 h 10000"/>
              <a:gd name="connsiteX9" fmla="*/ 7215 w 10010"/>
              <a:gd name="connsiteY9" fmla="*/ 9157 h 10000"/>
              <a:gd name="connsiteX10" fmla="*/ 6831 w 10010"/>
              <a:gd name="connsiteY10" fmla="*/ 9382 h 10000"/>
              <a:gd name="connsiteX11" fmla="*/ 6350 w 10010"/>
              <a:gd name="connsiteY11" fmla="*/ 9494 h 10000"/>
              <a:gd name="connsiteX12" fmla="*/ 6254 w 10010"/>
              <a:gd name="connsiteY12" fmla="*/ 9719 h 10000"/>
              <a:gd name="connsiteX13" fmla="*/ 5869 w 10010"/>
              <a:gd name="connsiteY13" fmla="*/ 9831 h 10000"/>
              <a:gd name="connsiteX14" fmla="*/ 5580 w 10010"/>
              <a:gd name="connsiteY14" fmla="*/ 10000 h 10000"/>
              <a:gd name="connsiteX15" fmla="*/ 4907 w 10010"/>
              <a:gd name="connsiteY15" fmla="*/ 10000 h 10000"/>
              <a:gd name="connsiteX16" fmla="*/ 4332 w 10010"/>
              <a:gd name="connsiteY16" fmla="*/ 10000 h 10000"/>
              <a:gd name="connsiteX17" fmla="*/ 3850 w 10010"/>
              <a:gd name="connsiteY17" fmla="*/ 9831 h 10000"/>
              <a:gd name="connsiteX18" fmla="*/ 3563 w 10010"/>
              <a:gd name="connsiteY18" fmla="*/ 9719 h 10000"/>
              <a:gd name="connsiteX19" fmla="*/ 3466 w 10010"/>
              <a:gd name="connsiteY19" fmla="*/ 9494 h 10000"/>
              <a:gd name="connsiteX20" fmla="*/ 3081 w 10010"/>
              <a:gd name="connsiteY20" fmla="*/ 9382 h 10000"/>
              <a:gd name="connsiteX21" fmla="*/ 2697 w 10010"/>
              <a:gd name="connsiteY21" fmla="*/ 9157 h 10000"/>
              <a:gd name="connsiteX22" fmla="*/ 2505 w 10010"/>
              <a:gd name="connsiteY22" fmla="*/ 9045 h 10000"/>
              <a:gd name="connsiteX23" fmla="*/ 2409 w 10010"/>
              <a:gd name="connsiteY23" fmla="*/ 8820 h 10000"/>
              <a:gd name="connsiteX24" fmla="*/ 2409 w 10010"/>
              <a:gd name="connsiteY24" fmla="*/ 8202 h 10000"/>
              <a:gd name="connsiteX0" fmla="*/ 7698 w 10303"/>
              <a:gd name="connsiteY0" fmla="*/ 5735 h 10005"/>
              <a:gd name="connsiteX1" fmla="*/ 10141 w 10303"/>
              <a:gd name="connsiteY1" fmla="*/ 3298 h 10005"/>
              <a:gd name="connsiteX2" fmla="*/ 5198 w 10303"/>
              <a:gd name="connsiteY2" fmla="*/ 6 h 10005"/>
              <a:gd name="connsiteX3" fmla="*/ 8 w 10303"/>
              <a:gd name="connsiteY3" fmla="*/ 2619 h 10005"/>
              <a:gd name="connsiteX4" fmla="*/ 2700 w 10303"/>
              <a:gd name="connsiteY4" fmla="*/ 5735 h 10005"/>
              <a:gd name="connsiteX5" fmla="*/ 2700 w 10303"/>
              <a:gd name="connsiteY5" fmla="*/ 7196 h 10005"/>
              <a:gd name="connsiteX6" fmla="*/ 7698 w 10303"/>
              <a:gd name="connsiteY6" fmla="*/ 7196 h 10005"/>
              <a:gd name="connsiteX7" fmla="*/ 7698 w 10303"/>
              <a:gd name="connsiteY7" fmla="*/ 8825 h 10005"/>
              <a:gd name="connsiteX8" fmla="*/ 7603 w 10303"/>
              <a:gd name="connsiteY8" fmla="*/ 9050 h 10005"/>
              <a:gd name="connsiteX9" fmla="*/ 7506 w 10303"/>
              <a:gd name="connsiteY9" fmla="*/ 9162 h 10005"/>
              <a:gd name="connsiteX10" fmla="*/ 7122 w 10303"/>
              <a:gd name="connsiteY10" fmla="*/ 9387 h 10005"/>
              <a:gd name="connsiteX11" fmla="*/ 6641 w 10303"/>
              <a:gd name="connsiteY11" fmla="*/ 9499 h 10005"/>
              <a:gd name="connsiteX12" fmla="*/ 6545 w 10303"/>
              <a:gd name="connsiteY12" fmla="*/ 9724 h 10005"/>
              <a:gd name="connsiteX13" fmla="*/ 6160 w 10303"/>
              <a:gd name="connsiteY13" fmla="*/ 9836 h 10005"/>
              <a:gd name="connsiteX14" fmla="*/ 5871 w 10303"/>
              <a:gd name="connsiteY14" fmla="*/ 10005 h 10005"/>
              <a:gd name="connsiteX15" fmla="*/ 5198 w 10303"/>
              <a:gd name="connsiteY15" fmla="*/ 10005 h 10005"/>
              <a:gd name="connsiteX16" fmla="*/ 4623 w 10303"/>
              <a:gd name="connsiteY16" fmla="*/ 10005 h 10005"/>
              <a:gd name="connsiteX17" fmla="*/ 4141 w 10303"/>
              <a:gd name="connsiteY17" fmla="*/ 9836 h 10005"/>
              <a:gd name="connsiteX18" fmla="*/ 3854 w 10303"/>
              <a:gd name="connsiteY18" fmla="*/ 9724 h 10005"/>
              <a:gd name="connsiteX19" fmla="*/ 3757 w 10303"/>
              <a:gd name="connsiteY19" fmla="*/ 9499 h 10005"/>
              <a:gd name="connsiteX20" fmla="*/ 3372 w 10303"/>
              <a:gd name="connsiteY20" fmla="*/ 9387 h 10005"/>
              <a:gd name="connsiteX21" fmla="*/ 2988 w 10303"/>
              <a:gd name="connsiteY21" fmla="*/ 9162 h 10005"/>
              <a:gd name="connsiteX22" fmla="*/ 2796 w 10303"/>
              <a:gd name="connsiteY22" fmla="*/ 9050 h 10005"/>
              <a:gd name="connsiteX23" fmla="*/ 2700 w 10303"/>
              <a:gd name="connsiteY23" fmla="*/ 8825 h 10005"/>
              <a:gd name="connsiteX24" fmla="*/ 2700 w 10303"/>
              <a:gd name="connsiteY24" fmla="*/ 8207 h 10005"/>
              <a:gd name="connsiteX0" fmla="*/ 7693 w 10298"/>
              <a:gd name="connsiteY0" fmla="*/ 5735 h 10005"/>
              <a:gd name="connsiteX1" fmla="*/ 10136 w 10298"/>
              <a:gd name="connsiteY1" fmla="*/ 3298 h 10005"/>
              <a:gd name="connsiteX2" fmla="*/ 5193 w 10298"/>
              <a:gd name="connsiteY2" fmla="*/ 6 h 10005"/>
              <a:gd name="connsiteX3" fmla="*/ 3 w 10298"/>
              <a:gd name="connsiteY3" fmla="*/ 2619 h 10005"/>
              <a:gd name="connsiteX4" fmla="*/ 2695 w 10298"/>
              <a:gd name="connsiteY4" fmla="*/ 5735 h 10005"/>
              <a:gd name="connsiteX5" fmla="*/ 2695 w 10298"/>
              <a:gd name="connsiteY5" fmla="*/ 7196 h 10005"/>
              <a:gd name="connsiteX6" fmla="*/ 7693 w 10298"/>
              <a:gd name="connsiteY6" fmla="*/ 7196 h 10005"/>
              <a:gd name="connsiteX7" fmla="*/ 7693 w 10298"/>
              <a:gd name="connsiteY7" fmla="*/ 8825 h 10005"/>
              <a:gd name="connsiteX8" fmla="*/ 7598 w 10298"/>
              <a:gd name="connsiteY8" fmla="*/ 9050 h 10005"/>
              <a:gd name="connsiteX9" fmla="*/ 7501 w 10298"/>
              <a:gd name="connsiteY9" fmla="*/ 9162 h 10005"/>
              <a:gd name="connsiteX10" fmla="*/ 7117 w 10298"/>
              <a:gd name="connsiteY10" fmla="*/ 9387 h 10005"/>
              <a:gd name="connsiteX11" fmla="*/ 6636 w 10298"/>
              <a:gd name="connsiteY11" fmla="*/ 9499 h 10005"/>
              <a:gd name="connsiteX12" fmla="*/ 6540 w 10298"/>
              <a:gd name="connsiteY12" fmla="*/ 9724 h 10005"/>
              <a:gd name="connsiteX13" fmla="*/ 6155 w 10298"/>
              <a:gd name="connsiteY13" fmla="*/ 9836 h 10005"/>
              <a:gd name="connsiteX14" fmla="*/ 5866 w 10298"/>
              <a:gd name="connsiteY14" fmla="*/ 10005 h 10005"/>
              <a:gd name="connsiteX15" fmla="*/ 5193 w 10298"/>
              <a:gd name="connsiteY15" fmla="*/ 10005 h 10005"/>
              <a:gd name="connsiteX16" fmla="*/ 4618 w 10298"/>
              <a:gd name="connsiteY16" fmla="*/ 10005 h 10005"/>
              <a:gd name="connsiteX17" fmla="*/ 4136 w 10298"/>
              <a:gd name="connsiteY17" fmla="*/ 9836 h 10005"/>
              <a:gd name="connsiteX18" fmla="*/ 3849 w 10298"/>
              <a:gd name="connsiteY18" fmla="*/ 9724 h 10005"/>
              <a:gd name="connsiteX19" fmla="*/ 3752 w 10298"/>
              <a:gd name="connsiteY19" fmla="*/ 9499 h 10005"/>
              <a:gd name="connsiteX20" fmla="*/ 3367 w 10298"/>
              <a:gd name="connsiteY20" fmla="*/ 9387 h 10005"/>
              <a:gd name="connsiteX21" fmla="*/ 2983 w 10298"/>
              <a:gd name="connsiteY21" fmla="*/ 9162 h 10005"/>
              <a:gd name="connsiteX22" fmla="*/ 2791 w 10298"/>
              <a:gd name="connsiteY22" fmla="*/ 9050 h 10005"/>
              <a:gd name="connsiteX23" fmla="*/ 2695 w 10298"/>
              <a:gd name="connsiteY23" fmla="*/ 8825 h 10005"/>
              <a:gd name="connsiteX24" fmla="*/ 2695 w 10298"/>
              <a:gd name="connsiteY24" fmla="*/ 8207 h 10005"/>
              <a:gd name="connsiteX0" fmla="*/ 7205 w 9807"/>
              <a:gd name="connsiteY0" fmla="*/ 5735 h 10005"/>
              <a:gd name="connsiteX1" fmla="*/ 9648 w 9807"/>
              <a:gd name="connsiteY1" fmla="*/ 3298 h 10005"/>
              <a:gd name="connsiteX2" fmla="*/ 4705 w 9807"/>
              <a:gd name="connsiteY2" fmla="*/ 6 h 10005"/>
              <a:gd name="connsiteX3" fmla="*/ 4 w 9807"/>
              <a:gd name="connsiteY3" fmla="*/ 2619 h 10005"/>
              <a:gd name="connsiteX4" fmla="*/ 2207 w 9807"/>
              <a:gd name="connsiteY4" fmla="*/ 5735 h 10005"/>
              <a:gd name="connsiteX5" fmla="*/ 2207 w 9807"/>
              <a:gd name="connsiteY5" fmla="*/ 7196 h 10005"/>
              <a:gd name="connsiteX6" fmla="*/ 7205 w 9807"/>
              <a:gd name="connsiteY6" fmla="*/ 7196 h 10005"/>
              <a:gd name="connsiteX7" fmla="*/ 7205 w 9807"/>
              <a:gd name="connsiteY7" fmla="*/ 8825 h 10005"/>
              <a:gd name="connsiteX8" fmla="*/ 7110 w 9807"/>
              <a:gd name="connsiteY8" fmla="*/ 9050 h 10005"/>
              <a:gd name="connsiteX9" fmla="*/ 7013 w 9807"/>
              <a:gd name="connsiteY9" fmla="*/ 9162 h 10005"/>
              <a:gd name="connsiteX10" fmla="*/ 6629 w 9807"/>
              <a:gd name="connsiteY10" fmla="*/ 9387 h 10005"/>
              <a:gd name="connsiteX11" fmla="*/ 6148 w 9807"/>
              <a:gd name="connsiteY11" fmla="*/ 9499 h 10005"/>
              <a:gd name="connsiteX12" fmla="*/ 6052 w 9807"/>
              <a:gd name="connsiteY12" fmla="*/ 9724 h 10005"/>
              <a:gd name="connsiteX13" fmla="*/ 5667 w 9807"/>
              <a:gd name="connsiteY13" fmla="*/ 9836 h 10005"/>
              <a:gd name="connsiteX14" fmla="*/ 5378 w 9807"/>
              <a:gd name="connsiteY14" fmla="*/ 10005 h 10005"/>
              <a:gd name="connsiteX15" fmla="*/ 4705 w 9807"/>
              <a:gd name="connsiteY15" fmla="*/ 10005 h 10005"/>
              <a:gd name="connsiteX16" fmla="*/ 4130 w 9807"/>
              <a:gd name="connsiteY16" fmla="*/ 10005 h 10005"/>
              <a:gd name="connsiteX17" fmla="*/ 3648 w 9807"/>
              <a:gd name="connsiteY17" fmla="*/ 9836 h 10005"/>
              <a:gd name="connsiteX18" fmla="*/ 3361 w 9807"/>
              <a:gd name="connsiteY18" fmla="*/ 9724 h 10005"/>
              <a:gd name="connsiteX19" fmla="*/ 3264 w 9807"/>
              <a:gd name="connsiteY19" fmla="*/ 9499 h 10005"/>
              <a:gd name="connsiteX20" fmla="*/ 2879 w 9807"/>
              <a:gd name="connsiteY20" fmla="*/ 9387 h 10005"/>
              <a:gd name="connsiteX21" fmla="*/ 2495 w 9807"/>
              <a:gd name="connsiteY21" fmla="*/ 9162 h 10005"/>
              <a:gd name="connsiteX22" fmla="*/ 2303 w 9807"/>
              <a:gd name="connsiteY22" fmla="*/ 9050 h 10005"/>
              <a:gd name="connsiteX23" fmla="*/ 2207 w 9807"/>
              <a:gd name="connsiteY23" fmla="*/ 8825 h 10005"/>
              <a:gd name="connsiteX24" fmla="*/ 2207 w 9807"/>
              <a:gd name="connsiteY24" fmla="*/ 8207 h 10005"/>
              <a:gd name="connsiteX0" fmla="*/ 7347 w 10000"/>
              <a:gd name="connsiteY0" fmla="*/ 5734 h 10002"/>
              <a:gd name="connsiteX1" fmla="*/ 9838 w 10000"/>
              <a:gd name="connsiteY1" fmla="*/ 3298 h 10002"/>
              <a:gd name="connsiteX2" fmla="*/ 4798 w 10000"/>
              <a:gd name="connsiteY2" fmla="*/ 8 h 10002"/>
              <a:gd name="connsiteX3" fmla="*/ 4 w 10000"/>
              <a:gd name="connsiteY3" fmla="*/ 2620 h 10002"/>
              <a:gd name="connsiteX4" fmla="*/ 2250 w 10000"/>
              <a:gd name="connsiteY4" fmla="*/ 5734 h 10002"/>
              <a:gd name="connsiteX5" fmla="*/ 2250 w 10000"/>
              <a:gd name="connsiteY5" fmla="*/ 7194 h 10002"/>
              <a:gd name="connsiteX6" fmla="*/ 7347 w 10000"/>
              <a:gd name="connsiteY6" fmla="*/ 7194 h 10002"/>
              <a:gd name="connsiteX7" fmla="*/ 7347 w 10000"/>
              <a:gd name="connsiteY7" fmla="*/ 8823 h 10002"/>
              <a:gd name="connsiteX8" fmla="*/ 7250 w 10000"/>
              <a:gd name="connsiteY8" fmla="*/ 9047 h 10002"/>
              <a:gd name="connsiteX9" fmla="*/ 7151 w 10000"/>
              <a:gd name="connsiteY9" fmla="*/ 9159 h 10002"/>
              <a:gd name="connsiteX10" fmla="*/ 6759 w 10000"/>
              <a:gd name="connsiteY10" fmla="*/ 9384 h 10002"/>
              <a:gd name="connsiteX11" fmla="*/ 6269 w 10000"/>
              <a:gd name="connsiteY11" fmla="*/ 9496 h 10002"/>
              <a:gd name="connsiteX12" fmla="*/ 6171 w 10000"/>
              <a:gd name="connsiteY12" fmla="*/ 9721 h 10002"/>
              <a:gd name="connsiteX13" fmla="*/ 5779 w 10000"/>
              <a:gd name="connsiteY13" fmla="*/ 9833 h 10002"/>
              <a:gd name="connsiteX14" fmla="*/ 5484 w 10000"/>
              <a:gd name="connsiteY14" fmla="*/ 10002 h 10002"/>
              <a:gd name="connsiteX15" fmla="*/ 4798 w 10000"/>
              <a:gd name="connsiteY15" fmla="*/ 10002 h 10002"/>
              <a:gd name="connsiteX16" fmla="*/ 4211 w 10000"/>
              <a:gd name="connsiteY16" fmla="*/ 10002 h 10002"/>
              <a:gd name="connsiteX17" fmla="*/ 3720 w 10000"/>
              <a:gd name="connsiteY17" fmla="*/ 9833 h 10002"/>
              <a:gd name="connsiteX18" fmla="*/ 3427 w 10000"/>
              <a:gd name="connsiteY18" fmla="*/ 9721 h 10002"/>
              <a:gd name="connsiteX19" fmla="*/ 3328 w 10000"/>
              <a:gd name="connsiteY19" fmla="*/ 9496 h 10002"/>
              <a:gd name="connsiteX20" fmla="*/ 2936 w 10000"/>
              <a:gd name="connsiteY20" fmla="*/ 9384 h 10002"/>
              <a:gd name="connsiteX21" fmla="*/ 2544 w 10000"/>
              <a:gd name="connsiteY21" fmla="*/ 9159 h 10002"/>
              <a:gd name="connsiteX22" fmla="*/ 2348 w 10000"/>
              <a:gd name="connsiteY22" fmla="*/ 9047 h 10002"/>
              <a:gd name="connsiteX23" fmla="*/ 2250 w 10000"/>
              <a:gd name="connsiteY23" fmla="*/ 8823 h 10002"/>
              <a:gd name="connsiteX24" fmla="*/ 2250 w 10000"/>
              <a:gd name="connsiteY24" fmla="*/ 8205 h 10002"/>
              <a:gd name="connsiteX0" fmla="*/ 7347 w 9807"/>
              <a:gd name="connsiteY0" fmla="*/ 5727 h 9995"/>
              <a:gd name="connsiteX1" fmla="*/ 9639 w 9807"/>
              <a:gd name="connsiteY1" fmla="*/ 2827 h 9995"/>
              <a:gd name="connsiteX2" fmla="*/ 4798 w 9807"/>
              <a:gd name="connsiteY2" fmla="*/ 1 h 9995"/>
              <a:gd name="connsiteX3" fmla="*/ 4 w 9807"/>
              <a:gd name="connsiteY3" fmla="*/ 2613 h 9995"/>
              <a:gd name="connsiteX4" fmla="*/ 2250 w 9807"/>
              <a:gd name="connsiteY4" fmla="*/ 5727 h 9995"/>
              <a:gd name="connsiteX5" fmla="*/ 2250 w 9807"/>
              <a:gd name="connsiteY5" fmla="*/ 7187 h 9995"/>
              <a:gd name="connsiteX6" fmla="*/ 7347 w 9807"/>
              <a:gd name="connsiteY6" fmla="*/ 7187 h 9995"/>
              <a:gd name="connsiteX7" fmla="*/ 7347 w 9807"/>
              <a:gd name="connsiteY7" fmla="*/ 8816 h 9995"/>
              <a:gd name="connsiteX8" fmla="*/ 7250 w 9807"/>
              <a:gd name="connsiteY8" fmla="*/ 9040 h 9995"/>
              <a:gd name="connsiteX9" fmla="*/ 7151 w 9807"/>
              <a:gd name="connsiteY9" fmla="*/ 9152 h 9995"/>
              <a:gd name="connsiteX10" fmla="*/ 6759 w 9807"/>
              <a:gd name="connsiteY10" fmla="*/ 9377 h 9995"/>
              <a:gd name="connsiteX11" fmla="*/ 6269 w 9807"/>
              <a:gd name="connsiteY11" fmla="*/ 9489 h 9995"/>
              <a:gd name="connsiteX12" fmla="*/ 6171 w 9807"/>
              <a:gd name="connsiteY12" fmla="*/ 9714 h 9995"/>
              <a:gd name="connsiteX13" fmla="*/ 5779 w 9807"/>
              <a:gd name="connsiteY13" fmla="*/ 9826 h 9995"/>
              <a:gd name="connsiteX14" fmla="*/ 5484 w 9807"/>
              <a:gd name="connsiteY14" fmla="*/ 9995 h 9995"/>
              <a:gd name="connsiteX15" fmla="*/ 4798 w 9807"/>
              <a:gd name="connsiteY15" fmla="*/ 9995 h 9995"/>
              <a:gd name="connsiteX16" fmla="*/ 4211 w 9807"/>
              <a:gd name="connsiteY16" fmla="*/ 9995 h 9995"/>
              <a:gd name="connsiteX17" fmla="*/ 3720 w 9807"/>
              <a:gd name="connsiteY17" fmla="*/ 9826 h 9995"/>
              <a:gd name="connsiteX18" fmla="*/ 3427 w 9807"/>
              <a:gd name="connsiteY18" fmla="*/ 9714 h 9995"/>
              <a:gd name="connsiteX19" fmla="*/ 3328 w 9807"/>
              <a:gd name="connsiteY19" fmla="*/ 9489 h 9995"/>
              <a:gd name="connsiteX20" fmla="*/ 2936 w 9807"/>
              <a:gd name="connsiteY20" fmla="*/ 9377 h 9995"/>
              <a:gd name="connsiteX21" fmla="*/ 2544 w 9807"/>
              <a:gd name="connsiteY21" fmla="*/ 9152 h 9995"/>
              <a:gd name="connsiteX22" fmla="*/ 2348 w 9807"/>
              <a:gd name="connsiteY22" fmla="*/ 9040 h 9995"/>
              <a:gd name="connsiteX23" fmla="*/ 2250 w 9807"/>
              <a:gd name="connsiteY23" fmla="*/ 8816 h 9995"/>
              <a:gd name="connsiteX24" fmla="*/ 2250 w 9807"/>
              <a:gd name="connsiteY24" fmla="*/ 8198 h 9995"/>
              <a:gd name="connsiteX0" fmla="*/ 7492 w 9835"/>
              <a:gd name="connsiteY0" fmla="*/ 5730 h 10000"/>
              <a:gd name="connsiteX1" fmla="*/ 9829 w 9835"/>
              <a:gd name="connsiteY1" fmla="*/ 2828 h 10000"/>
              <a:gd name="connsiteX2" fmla="*/ 4892 w 9835"/>
              <a:gd name="connsiteY2" fmla="*/ 1 h 10000"/>
              <a:gd name="connsiteX3" fmla="*/ 4 w 9835"/>
              <a:gd name="connsiteY3" fmla="*/ 2614 h 10000"/>
              <a:gd name="connsiteX4" fmla="*/ 2294 w 9835"/>
              <a:gd name="connsiteY4" fmla="*/ 5730 h 10000"/>
              <a:gd name="connsiteX5" fmla="*/ 2294 w 9835"/>
              <a:gd name="connsiteY5" fmla="*/ 7191 h 10000"/>
              <a:gd name="connsiteX6" fmla="*/ 7492 w 9835"/>
              <a:gd name="connsiteY6" fmla="*/ 7191 h 10000"/>
              <a:gd name="connsiteX7" fmla="*/ 7492 w 9835"/>
              <a:gd name="connsiteY7" fmla="*/ 8820 h 10000"/>
              <a:gd name="connsiteX8" fmla="*/ 7393 w 9835"/>
              <a:gd name="connsiteY8" fmla="*/ 9045 h 10000"/>
              <a:gd name="connsiteX9" fmla="*/ 7292 w 9835"/>
              <a:gd name="connsiteY9" fmla="*/ 9157 h 10000"/>
              <a:gd name="connsiteX10" fmla="*/ 6892 w 9835"/>
              <a:gd name="connsiteY10" fmla="*/ 9382 h 10000"/>
              <a:gd name="connsiteX11" fmla="*/ 6392 w 9835"/>
              <a:gd name="connsiteY11" fmla="*/ 9494 h 10000"/>
              <a:gd name="connsiteX12" fmla="*/ 6292 w 9835"/>
              <a:gd name="connsiteY12" fmla="*/ 9719 h 10000"/>
              <a:gd name="connsiteX13" fmla="*/ 5893 w 9835"/>
              <a:gd name="connsiteY13" fmla="*/ 9831 h 10000"/>
              <a:gd name="connsiteX14" fmla="*/ 5592 w 9835"/>
              <a:gd name="connsiteY14" fmla="*/ 10000 h 10000"/>
              <a:gd name="connsiteX15" fmla="*/ 4892 w 9835"/>
              <a:gd name="connsiteY15" fmla="*/ 10000 h 10000"/>
              <a:gd name="connsiteX16" fmla="*/ 4294 w 9835"/>
              <a:gd name="connsiteY16" fmla="*/ 10000 h 10000"/>
              <a:gd name="connsiteX17" fmla="*/ 3793 w 9835"/>
              <a:gd name="connsiteY17" fmla="*/ 9831 h 10000"/>
              <a:gd name="connsiteX18" fmla="*/ 3494 w 9835"/>
              <a:gd name="connsiteY18" fmla="*/ 9719 h 10000"/>
              <a:gd name="connsiteX19" fmla="*/ 3393 w 9835"/>
              <a:gd name="connsiteY19" fmla="*/ 9494 h 10000"/>
              <a:gd name="connsiteX20" fmla="*/ 2994 w 9835"/>
              <a:gd name="connsiteY20" fmla="*/ 9382 h 10000"/>
              <a:gd name="connsiteX21" fmla="*/ 2594 w 9835"/>
              <a:gd name="connsiteY21" fmla="*/ 9157 h 10000"/>
              <a:gd name="connsiteX22" fmla="*/ 2394 w 9835"/>
              <a:gd name="connsiteY22" fmla="*/ 9045 h 10000"/>
              <a:gd name="connsiteX23" fmla="*/ 2294 w 9835"/>
              <a:gd name="connsiteY23" fmla="*/ 8820 h 10000"/>
              <a:gd name="connsiteX24" fmla="*/ 2294 w 9835"/>
              <a:gd name="connsiteY24" fmla="*/ 8202 h 10000"/>
              <a:gd name="connsiteX0" fmla="*/ 7618 w 10000"/>
              <a:gd name="connsiteY0" fmla="*/ 5730 h 10000"/>
              <a:gd name="connsiteX1" fmla="*/ 9994 w 10000"/>
              <a:gd name="connsiteY1" fmla="*/ 2828 h 10000"/>
              <a:gd name="connsiteX2" fmla="*/ 4974 w 10000"/>
              <a:gd name="connsiteY2" fmla="*/ 1 h 10000"/>
              <a:gd name="connsiteX3" fmla="*/ 4 w 10000"/>
              <a:gd name="connsiteY3" fmla="*/ 2614 h 10000"/>
              <a:gd name="connsiteX4" fmla="*/ 2332 w 10000"/>
              <a:gd name="connsiteY4" fmla="*/ 5730 h 10000"/>
              <a:gd name="connsiteX5" fmla="*/ 2332 w 10000"/>
              <a:gd name="connsiteY5" fmla="*/ 7191 h 10000"/>
              <a:gd name="connsiteX6" fmla="*/ 7618 w 10000"/>
              <a:gd name="connsiteY6" fmla="*/ 7191 h 10000"/>
              <a:gd name="connsiteX7" fmla="*/ 7618 w 10000"/>
              <a:gd name="connsiteY7" fmla="*/ 8820 h 10000"/>
              <a:gd name="connsiteX8" fmla="*/ 7517 w 10000"/>
              <a:gd name="connsiteY8" fmla="*/ 9045 h 10000"/>
              <a:gd name="connsiteX9" fmla="*/ 7414 w 10000"/>
              <a:gd name="connsiteY9" fmla="*/ 9157 h 10000"/>
              <a:gd name="connsiteX10" fmla="*/ 7008 w 10000"/>
              <a:gd name="connsiteY10" fmla="*/ 9382 h 10000"/>
              <a:gd name="connsiteX11" fmla="*/ 6499 w 10000"/>
              <a:gd name="connsiteY11" fmla="*/ 9494 h 10000"/>
              <a:gd name="connsiteX12" fmla="*/ 6398 w 10000"/>
              <a:gd name="connsiteY12" fmla="*/ 9719 h 10000"/>
              <a:gd name="connsiteX13" fmla="*/ 5992 w 10000"/>
              <a:gd name="connsiteY13" fmla="*/ 9831 h 10000"/>
              <a:gd name="connsiteX14" fmla="*/ 5686 w 10000"/>
              <a:gd name="connsiteY14" fmla="*/ 10000 h 10000"/>
              <a:gd name="connsiteX15" fmla="*/ 4974 w 10000"/>
              <a:gd name="connsiteY15" fmla="*/ 10000 h 10000"/>
              <a:gd name="connsiteX16" fmla="*/ 4366 w 10000"/>
              <a:gd name="connsiteY16" fmla="*/ 10000 h 10000"/>
              <a:gd name="connsiteX17" fmla="*/ 3857 w 10000"/>
              <a:gd name="connsiteY17" fmla="*/ 9831 h 10000"/>
              <a:gd name="connsiteX18" fmla="*/ 3553 w 10000"/>
              <a:gd name="connsiteY18" fmla="*/ 9719 h 10000"/>
              <a:gd name="connsiteX19" fmla="*/ 3450 w 10000"/>
              <a:gd name="connsiteY19" fmla="*/ 9494 h 10000"/>
              <a:gd name="connsiteX20" fmla="*/ 3044 w 10000"/>
              <a:gd name="connsiteY20" fmla="*/ 9382 h 10000"/>
              <a:gd name="connsiteX21" fmla="*/ 2638 w 10000"/>
              <a:gd name="connsiteY21" fmla="*/ 9157 h 10000"/>
              <a:gd name="connsiteX22" fmla="*/ 2434 w 10000"/>
              <a:gd name="connsiteY22" fmla="*/ 9045 h 10000"/>
              <a:gd name="connsiteX23" fmla="*/ 2332 w 10000"/>
              <a:gd name="connsiteY23" fmla="*/ 8820 h 10000"/>
              <a:gd name="connsiteX24" fmla="*/ 2332 w 10000"/>
              <a:gd name="connsiteY24" fmla="*/ 8202 h 10000"/>
              <a:gd name="connsiteX0" fmla="*/ 7678 w 10060"/>
              <a:gd name="connsiteY0" fmla="*/ 5730 h 10000"/>
              <a:gd name="connsiteX1" fmla="*/ 10054 w 10060"/>
              <a:gd name="connsiteY1" fmla="*/ 2828 h 10000"/>
              <a:gd name="connsiteX2" fmla="*/ 5034 w 10060"/>
              <a:gd name="connsiteY2" fmla="*/ 1 h 10000"/>
              <a:gd name="connsiteX3" fmla="*/ 64 w 10060"/>
              <a:gd name="connsiteY3" fmla="*/ 2614 h 10000"/>
              <a:gd name="connsiteX4" fmla="*/ 2392 w 10060"/>
              <a:gd name="connsiteY4" fmla="*/ 5730 h 10000"/>
              <a:gd name="connsiteX5" fmla="*/ 2392 w 10060"/>
              <a:gd name="connsiteY5" fmla="*/ 7191 h 10000"/>
              <a:gd name="connsiteX6" fmla="*/ 7678 w 10060"/>
              <a:gd name="connsiteY6" fmla="*/ 7191 h 10000"/>
              <a:gd name="connsiteX7" fmla="*/ 7678 w 10060"/>
              <a:gd name="connsiteY7" fmla="*/ 8820 h 10000"/>
              <a:gd name="connsiteX8" fmla="*/ 7577 w 10060"/>
              <a:gd name="connsiteY8" fmla="*/ 9045 h 10000"/>
              <a:gd name="connsiteX9" fmla="*/ 7474 w 10060"/>
              <a:gd name="connsiteY9" fmla="*/ 9157 h 10000"/>
              <a:gd name="connsiteX10" fmla="*/ 7068 w 10060"/>
              <a:gd name="connsiteY10" fmla="*/ 9382 h 10000"/>
              <a:gd name="connsiteX11" fmla="*/ 6559 w 10060"/>
              <a:gd name="connsiteY11" fmla="*/ 9494 h 10000"/>
              <a:gd name="connsiteX12" fmla="*/ 6458 w 10060"/>
              <a:gd name="connsiteY12" fmla="*/ 9719 h 10000"/>
              <a:gd name="connsiteX13" fmla="*/ 6052 w 10060"/>
              <a:gd name="connsiteY13" fmla="*/ 9831 h 10000"/>
              <a:gd name="connsiteX14" fmla="*/ 5746 w 10060"/>
              <a:gd name="connsiteY14" fmla="*/ 10000 h 10000"/>
              <a:gd name="connsiteX15" fmla="*/ 5034 w 10060"/>
              <a:gd name="connsiteY15" fmla="*/ 10000 h 10000"/>
              <a:gd name="connsiteX16" fmla="*/ 4426 w 10060"/>
              <a:gd name="connsiteY16" fmla="*/ 10000 h 10000"/>
              <a:gd name="connsiteX17" fmla="*/ 3917 w 10060"/>
              <a:gd name="connsiteY17" fmla="*/ 9831 h 10000"/>
              <a:gd name="connsiteX18" fmla="*/ 3613 w 10060"/>
              <a:gd name="connsiteY18" fmla="*/ 9719 h 10000"/>
              <a:gd name="connsiteX19" fmla="*/ 3510 w 10060"/>
              <a:gd name="connsiteY19" fmla="*/ 9494 h 10000"/>
              <a:gd name="connsiteX20" fmla="*/ 3104 w 10060"/>
              <a:gd name="connsiteY20" fmla="*/ 9382 h 10000"/>
              <a:gd name="connsiteX21" fmla="*/ 2698 w 10060"/>
              <a:gd name="connsiteY21" fmla="*/ 9157 h 10000"/>
              <a:gd name="connsiteX22" fmla="*/ 2494 w 10060"/>
              <a:gd name="connsiteY22" fmla="*/ 9045 h 10000"/>
              <a:gd name="connsiteX23" fmla="*/ 2392 w 10060"/>
              <a:gd name="connsiteY23" fmla="*/ 8820 h 10000"/>
              <a:gd name="connsiteX24" fmla="*/ 2392 w 10060"/>
              <a:gd name="connsiteY24" fmla="*/ 8202 h 10000"/>
              <a:gd name="connsiteX0" fmla="*/ 7662 w 10044"/>
              <a:gd name="connsiteY0" fmla="*/ 5730 h 10000"/>
              <a:gd name="connsiteX1" fmla="*/ 10038 w 10044"/>
              <a:gd name="connsiteY1" fmla="*/ 2828 h 10000"/>
              <a:gd name="connsiteX2" fmla="*/ 5018 w 10044"/>
              <a:gd name="connsiteY2" fmla="*/ 1 h 10000"/>
              <a:gd name="connsiteX3" fmla="*/ 48 w 10044"/>
              <a:gd name="connsiteY3" fmla="*/ 2614 h 10000"/>
              <a:gd name="connsiteX4" fmla="*/ 2376 w 10044"/>
              <a:gd name="connsiteY4" fmla="*/ 5730 h 10000"/>
              <a:gd name="connsiteX5" fmla="*/ 2376 w 10044"/>
              <a:gd name="connsiteY5" fmla="*/ 7191 h 10000"/>
              <a:gd name="connsiteX6" fmla="*/ 7662 w 10044"/>
              <a:gd name="connsiteY6" fmla="*/ 7191 h 10000"/>
              <a:gd name="connsiteX7" fmla="*/ 7662 w 10044"/>
              <a:gd name="connsiteY7" fmla="*/ 8820 h 10000"/>
              <a:gd name="connsiteX8" fmla="*/ 7561 w 10044"/>
              <a:gd name="connsiteY8" fmla="*/ 9045 h 10000"/>
              <a:gd name="connsiteX9" fmla="*/ 7458 w 10044"/>
              <a:gd name="connsiteY9" fmla="*/ 9157 h 10000"/>
              <a:gd name="connsiteX10" fmla="*/ 7052 w 10044"/>
              <a:gd name="connsiteY10" fmla="*/ 9382 h 10000"/>
              <a:gd name="connsiteX11" fmla="*/ 6543 w 10044"/>
              <a:gd name="connsiteY11" fmla="*/ 9494 h 10000"/>
              <a:gd name="connsiteX12" fmla="*/ 6442 w 10044"/>
              <a:gd name="connsiteY12" fmla="*/ 9719 h 10000"/>
              <a:gd name="connsiteX13" fmla="*/ 6036 w 10044"/>
              <a:gd name="connsiteY13" fmla="*/ 9831 h 10000"/>
              <a:gd name="connsiteX14" fmla="*/ 5730 w 10044"/>
              <a:gd name="connsiteY14" fmla="*/ 10000 h 10000"/>
              <a:gd name="connsiteX15" fmla="*/ 5018 w 10044"/>
              <a:gd name="connsiteY15" fmla="*/ 10000 h 10000"/>
              <a:gd name="connsiteX16" fmla="*/ 4410 w 10044"/>
              <a:gd name="connsiteY16" fmla="*/ 10000 h 10000"/>
              <a:gd name="connsiteX17" fmla="*/ 3901 w 10044"/>
              <a:gd name="connsiteY17" fmla="*/ 9831 h 10000"/>
              <a:gd name="connsiteX18" fmla="*/ 3597 w 10044"/>
              <a:gd name="connsiteY18" fmla="*/ 9719 h 10000"/>
              <a:gd name="connsiteX19" fmla="*/ 3494 w 10044"/>
              <a:gd name="connsiteY19" fmla="*/ 9494 h 10000"/>
              <a:gd name="connsiteX20" fmla="*/ 3088 w 10044"/>
              <a:gd name="connsiteY20" fmla="*/ 9382 h 10000"/>
              <a:gd name="connsiteX21" fmla="*/ 2682 w 10044"/>
              <a:gd name="connsiteY21" fmla="*/ 9157 h 10000"/>
              <a:gd name="connsiteX22" fmla="*/ 2478 w 10044"/>
              <a:gd name="connsiteY22" fmla="*/ 9045 h 10000"/>
              <a:gd name="connsiteX23" fmla="*/ 2376 w 10044"/>
              <a:gd name="connsiteY23" fmla="*/ 8820 h 10000"/>
              <a:gd name="connsiteX24" fmla="*/ 2376 w 10044"/>
              <a:gd name="connsiteY24" fmla="*/ 8202 h 10000"/>
              <a:gd name="connsiteX0" fmla="*/ 7617 w 9999"/>
              <a:gd name="connsiteY0" fmla="*/ 5730 h 10000"/>
              <a:gd name="connsiteX1" fmla="*/ 9993 w 9999"/>
              <a:gd name="connsiteY1" fmla="*/ 2828 h 10000"/>
              <a:gd name="connsiteX2" fmla="*/ 4973 w 9999"/>
              <a:gd name="connsiteY2" fmla="*/ 1 h 10000"/>
              <a:gd name="connsiteX3" fmla="*/ 3 w 9999"/>
              <a:gd name="connsiteY3" fmla="*/ 2614 h 10000"/>
              <a:gd name="connsiteX4" fmla="*/ 2331 w 9999"/>
              <a:gd name="connsiteY4" fmla="*/ 5730 h 10000"/>
              <a:gd name="connsiteX5" fmla="*/ 2331 w 9999"/>
              <a:gd name="connsiteY5" fmla="*/ 7191 h 10000"/>
              <a:gd name="connsiteX6" fmla="*/ 7617 w 9999"/>
              <a:gd name="connsiteY6" fmla="*/ 7191 h 10000"/>
              <a:gd name="connsiteX7" fmla="*/ 7617 w 9999"/>
              <a:gd name="connsiteY7" fmla="*/ 8820 h 10000"/>
              <a:gd name="connsiteX8" fmla="*/ 7516 w 9999"/>
              <a:gd name="connsiteY8" fmla="*/ 9045 h 10000"/>
              <a:gd name="connsiteX9" fmla="*/ 7413 w 9999"/>
              <a:gd name="connsiteY9" fmla="*/ 9157 h 10000"/>
              <a:gd name="connsiteX10" fmla="*/ 7007 w 9999"/>
              <a:gd name="connsiteY10" fmla="*/ 9382 h 10000"/>
              <a:gd name="connsiteX11" fmla="*/ 6498 w 9999"/>
              <a:gd name="connsiteY11" fmla="*/ 9494 h 10000"/>
              <a:gd name="connsiteX12" fmla="*/ 6397 w 9999"/>
              <a:gd name="connsiteY12" fmla="*/ 9719 h 10000"/>
              <a:gd name="connsiteX13" fmla="*/ 5991 w 9999"/>
              <a:gd name="connsiteY13" fmla="*/ 9831 h 10000"/>
              <a:gd name="connsiteX14" fmla="*/ 5685 w 9999"/>
              <a:gd name="connsiteY14" fmla="*/ 10000 h 10000"/>
              <a:gd name="connsiteX15" fmla="*/ 4973 w 9999"/>
              <a:gd name="connsiteY15" fmla="*/ 10000 h 10000"/>
              <a:gd name="connsiteX16" fmla="*/ 4365 w 9999"/>
              <a:gd name="connsiteY16" fmla="*/ 10000 h 10000"/>
              <a:gd name="connsiteX17" fmla="*/ 3856 w 9999"/>
              <a:gd name="connsiteY17" fmla="*/ 9831 h 10000"/>
              <a:gd name="connsiteX18" fmla="*/ 3552 w 9999"/>
              <a:gd name="connsiteY18" fmla="*/ 9719 h 10000"/>
              <a:gd name="connsiteX19" fmla="*/ 3449 w 9999"/>
              <a:gd name="connsiteY19" fmla="*/ 9494 h 10000"/>
              <a:gd name="connsiteX20" fmla="*/ 3043 w 9999"/>
              <a:gd name="connsiteY20" fmla="*/ 9382 h 10000"/>
              <a:gd name="connsiteX21" fmla="*/ 2637 w 9999"/>
              <a:gd name="connsiteY21" fmla="*/ 9157 h 10000"/>
              <a:gd name="connsiteX22" fmla="*/ 2433 w 9999"/>
              <a:gd name="connsiteY22" fmla="*/ 9045 h 10000"/>
              <a:gd name="connsiteX23" fmla="*/ 2331 w 9999"/>
              <a:gd name="connsiteY23" fmla="*/ 8820 h 10000"/>
              <a:gd name="connsiteX24" fmla="*/ 2331 w 9999"/>
              <a:gd name="connsiteY24" fmla="*/ 8202 h 10000"/>
              <a:gd name="connsiteX0" fmla="*/ 7616 w 9998"/>
              <a:gd name="connsiteY0" fmla="*/ 5730 h 10000"/>
              <a:gd name="connsiteX1" fmla="*/ 9992 w 9998"/>
              <a:gd name="connsiteY1" fmla="*/ 2828 h 10000"/>
              <a:gd name="connsiteX2" fmla="*/ 4971 w 9998"/>
              <a:gd name="connsiteY2" fmla="*/ 1 h 10000"/>
              <a:gd name="connsiteX3" fmla="*/ 1 w 9998"/>
              <a:gd name="connsiteY3" fmla="*/ 2614 h 10000"/>
              <a:gd name="connsiteX4" fmla="*/ 2329 w 9998"/>
              <a:gd name="connsiteY4" fmla="*/ 5730 h 10000"/>
              <a:gd name="connsiteX5" fmla="*/ 2329 w 9998"/>
              <a:gd name="connsiteY5" fmla="*/ 7191 h 10000"/>
              <a:gd name="connsiteX6" fmla="*/ 7616 w 9998"/>
              <a:gd name="connsiteY6" fmla="*/ 7191 h 10000"/>
              <a:gd name="connsiteX7" fmla="*/ 7616 w 9998"/>
              <a:gd name="connsiteY7" fmla="*/ 8820 h 10000"/>
              <a:gd name="connsiteX8" fmla="*/ 7515 w 9998"/>
              <a:gd name="connsiteY8" fmla="*/ 9045 h 10000"/>
              <a:gd name="connsiteX9" fmla="*/ 7412 w 9998"/>
              <a:gd name="connsiteY9" fmla="*/ 9157 h 10000"/>
              <a:gd name="connsiteX10" fmla="*/ 7006 w 9998"/>
              <a:gd name="connsiteY10" fmla="*/ 9382 h 10000"/>
              <a:gd name="connsiteX11" fmla="*/ 6497 w 9998"/>
              <a:gd name="connsiteY11" fmla="*/ 9494 h 10000"/>
              <a:gd name="connsiteX12" fmla="*/ 6396 w 9998"/>
              <a:gd name="connsiteY12" fmla="*/ 9719 h 10000"/>
              <a:gd name="connsiteX13" fmla="*/ 5990 w 9998"/>
              <a:gd name="connsiteY13" fmla="*/ 9831 h 10000"/>
              <a:gd name="connsiteX14" fmla="*/ 5684 w 9998"/>
              <a:gd name="connsiteY14" fmla="*/ 10000 h 10000"/>
              <a:gd name="connsiteX15" fmla="*/ 4971 w 9998"/>
              <a:gd name="connsiteY15" fmla="*/ 10000 h 10000"/>
              <a:gd name="connsiteX16" fmla="*/ 4363 w 9998"/>
              <a:gd name="connsiteY16" fmla="*/ 10000 h 10000"/>
              <a:gd name="connsiteX17" fmla="*/ 3854 w 9998"/>
              <a:gd name="connsiteY17" fmla="*/ 9831 h 10000"/>
              <a:gd name="connsiteX18" fmla="*/ 3550 w 9998"/>
              <a:gd name="connsiteY18" fmla="*/ 9719 h 10000"/>
              <a:gd name="connsiteX19" fmla="*/ 3447 w 9998"/>
              <a:gd name="connsiteY19" fmla="*/ 9494 h 10000"/>
              <a:gd name="connsiteX20" fmla="*/ 3041 w 9998"/>
              <a:gd name="connsiteY20" fmla="*/ 9382 h 10000"/>
              <a:gd name="connsiteX21" fmla="*/ 2635 w 9998"/>
              <a:gd name="connsiteY21" fmla="*/ 9157 h 10000"/>
              <a:gd name="connsiteX22" fmla="*/ 2431 w 9998"/>
              <a:gd name="connsiteY22" fmla="*/ 9045 h 10000"/>
              <a:gd name="connsiteX23" fmla="*/ 2329 w 9998"/>
              <a:gd name="connsiteY23" fmla="*/ 8820 h 10000"/>
              <a:gd name="connsiteX24" fmla="*/ 2329 w 9998"/>
              <a:gd name="connsiteY24" fmla="*/ 8202 h 10000"/>
              <a:gd name="connsiteX0" fmla="*/ 7618 w 10000"/>
              <a:gd name="connsiteY0" fmla="*/ 5730 h 10000"/>
              <a:gd name="connsiteX1" fmla="*/ 9994 w 10000"/>
              <a:gd name="connsiteY1" fmla="*/ 2828 h 10000"/>
              <a:gd name="connsiteX2" fmla="*/ 4972 w 10000"/>
              <a:gd name="connsiteY2" fmla="*/ 1 h 10000"/>
              <a:gd name="connsiteX3" fmla="*/ 1 w 10000"/>
              <a:gd name="connsiteY3" fmla="*/ 2614 h 10000"/>
              <a:gd name="connsiteX4" fmla="*/ 2329 w 10000"/>
              <a:gd name="connsiteY4" fmla="*/ 5730 h 10000"/>
              <a:gd name="connsiteX5" fmla="*/ 2329 w 10000"/>
              <a:gd name="connsiteY5" fmla="*/ 7191 h 10000"/>
              <a:gd name="connsiteX6" fmla="*/ 7618 w 10000"/>
              <a:gd name="connsiteY6" fmla="*/ 7191 h 10000"/>
              <a:gd name="connsiteX7" fmla="*/ 7618 w 10000"/>
              <a:gd name="connsiteY7" fmla="*/ 8820 h 10000"/>
              <a:gd name="connsiteX8" fmla="*/ 7517 w 10000"/>
              <a:gd name="connsiteY8" fmla="*/ 9045 h 10000"/>
              <a:gd name="connsiteX9" fmla="*/ 7413 w 10000"/>
              <a:gd name="connsiteY9" fmla="*/ 9157 h 10000"/>
              <a:gd name="connsiteX10" fmla="*/ 7007 w 10000"/>
              <a:gd name="connsiteY10" fmla="*/ 9382 h 10000"/>
              <a:gd name="connsiteX11" fmla="*/ 6498 w 10000"/>
              <a:gd name="connsiteY11" fmla="*/ 9494 h 10000"/>
              <a:gd name="connsiteX12" fmla="*/ 6397 w 10000"/>
              <a:gd name="connsiteY12" fmla="*/ 9719 h 10000"/>
              <a:gd name="connsiteX13" fmla="*/ 5991 w 10000"/>
              <a:gd name="connsiteY13" fmla="*/ 9831 h 10000"/>
              <a:gd name="connsiteX14" fmla="*/ 5685 w 10000"/>
              <a:gd name="connsiteY14" fmla="*/ 10000 h 10000"/>
              <a:gd name="connsiteX15" fmla="*/ 4972 w 10000"/>
              <a:gd name="connsiteY15" fmla="*/ 10000 h 10000"/>
              <a:gd name="connsiteX16" fmla="*/ 4364 w 10000"/>
              <a:gd name="connsiteY16" fmla="*/ 10000 h 10000"/>
              <a:gd name="connsiteX17" fmla="*/ 3855 w 10000"/>
              <a:gd name="connsiteY17" fmla="*/ 9831 h 10000"/>
              <a:gd name="connsiteX18" fmla="*/ 3551 w 10000"/>
              <a:gd name="connsiteY18" fmla="*/ 9719 h 10000"/>
              <a:gd name="connsiteX19" fmla="*/ 3448 w 10000"/>
              <a:gd name="connsiteY19" fmla="*/ 9494 h 10000"/>
              <a:gd name="connsiteX20" fmla="*/ 3042 w 10000"/>
              <a:gd name="connsiteY20" fmla="*/ 9382 h 10000"/>
              <a:gd name="connsiteX21" fmla="*/ 2636 w 10000"/>
              <a:gd name="connsiteY21" fmla="*/ 9157 h 10000"/>
              <a:gd name="connsiteX22" fmla="*/ 2431 w 10000"/>
              <a:gd name="connsiteY22" fmla="*/ 9045 h 10000"/>
              <a:gd name="connsiteX23" fmla="*/ 2329 w 10000"/>
              <a:gd name="connsiteY23" fmla="*/ 8820 h 10000"/>
              <a:gd name="connsiteX24" fmla="*/ 2329 w 10000"/>
              <a:gd name="connsiteY24" fmla="*/ 8202 h 10000"/>
              <a:gd name="connsiteX0" fmla="*/ 7618 w 9967"/>
              <a:gd name="connsiteY0" fmla="*/ 5730 h 10000"/>
              <a:gd name="connsiteX1" fmla="*/ 9961 w 9967"/>
              <a:gd name="connsiteY1" fmla="*/ 2622 h 10000"/>
              <a:gd name="connsiteX2" fmla="*/ 4972 w 9967"/>
              <a:gd name="connsiteY2" fmla="*/ 1 h 10000"/>
              <a:gd name="connsiteX3" fmla="*/ 1 w 9967"/>
              <a:gd name="connsiteY3" fmla="*/ 2614 h 10000"/>
              <a:gd name="connsiteX4" fmla="*/ 2329 w 9967"/>
              <a:gd name="connsiteY4" fmla="*/ 5730 h 10000"/>
              <a:gd name="connsiteX5" fmla="*/ 2329 w 9967"/>
              <a:gd name="connsiteY5" fmla="*/ 7191 h 10000"/>
              <a:gd name="connsiteX6" fmla="*/ 7618 w 9967"/>
              <a:gd name="connsiteY6" fmla="*/ 7191 h 10000"/>
              <a:gd name="connsiteX7" fmla="*/ 7618 w 9967"/>
              <a:gd name="connsiteY7" fmla="*/ 8820 h 10000"/>
              <a:gd name="connsiteX8" fmla="*/ 7517 w 9967"/>
              <a:gd name="connsiteY8" fmla="*/ 9045 h 10000"/>
              <a:gd name="connsiteX9" fmla="*/ 7413 w 9967"/>
              <a:gd name="connsiteY9" fmla="*/ 9157 h 10000"/>
              <a:gd name="connsiteX10" fmla="*/ 7007 w 9967"/>
              <a:gd name="connsiteY10" fmla="*/ 9382 h 10000"/>
              <a:gd name="connsiteX11" fmla="*/ 6498 w 9967"/>
              <a:gd name="connsiteY11" fmla="*/ 9494 h 10000"/>
              <a:gd name="connsiteX12" fmla="*/ 6397 w 9967"/>
              <a:gd name="connsiteY12" fmla="*/ 9719 h 10000"/>
              <a:gd name="connsiteX13" fmla="*/ 5991 w 9967"/>
              <a:gd name="connsiteY13" fmla="*/ 9831 h 10000"/>
              <a:gd name="connsiteX14" fmla="*/ 5685 w 9967"/>
              <a:gd name="connsiteY14" fmla="*/ 10000 h 10000"/>
              <a:gd name="connsiteX15" fmla="*/ 4972 w 9967"/>
              <a:gd name="connsiteY15" fmla="*/ 10000 h 10000"/>
              <a:gd name="connsiteX16" fmla="*/ 4364 w 9967"/>
              <a:gd name="connsiteY16" fmla="*/ 10000 h 10000"/>
              <a:gd name="connsiteX17" fmla="*/ 3855 w 9967"/>
              <a:gd name="connsiteY17" fmla="*/ 9831 h 10000"/>
              <a:gd name="connsiteX18" fmla="*/ 3551 w 9967"/>
              <a:gd name="connsiteY18" fmla="*/ 9719 h 10000"/>
              <a:gd name="connsiteX19" fmla="*/ 3448 w 9967"/>
              <a:gd name="connsiteY19" fmla="*/ 9494 h 10000"/>
              <a:gd name="connsiteX20" fmla="*/ 3042 w 9967"/>
              <a:gd name="connsiteY20" fmla="*/ 9382 h 10000"/>
              <a:gd name="connsiteX21" fmla="*/ 2636 w 9967"/>
              <a:gd name="connsiteY21" fmla="*/ 9157 h 10000"/>
              <a:gd name="connsiteX22" fmla="*/ 2431 w 9967"/>
              <a:gd name="connsiteY22" fmla="*/ 9045 h 10000"/>
              <a:gd name="connsiteX23" fmla="*/ 2329 w 9967"/>
              <a:gd name="connsiteY23" fmla="*/ 8820 h 10000"/>
              <a:gd name="connsiteX24" fmla="*/ 2329 w 9967"/>
              <a:gd name="connsiteY24" fmla="*/ 8202 h 10000"/>
              <a:gd name="connsiteX0" fmla="*/ 7643 w 9994"/>
              <a:gd name="connsiteY0" fmla="*/ 5730 h 10000"/>
              <a:gd name="connsiteX1" fmla="*/ 9994 w 9994"/>
              <a:gd name="connsiteY1" fmla="*/ 2622 h 10000"/>
              <a:gd name="connsiteX2" fmla="*/ 4988 w 9994"/>
              <a:gd name="connsiteY2" fmla="*/ 1 h 10000"/>
              <a:gd name="connsiteX3" fmla="*/ 1 w 9994"/>
              <a:gd name="connsiteY3" fmla="*/ 2614 h 10000"/>
              <a:gd name="connsiteX4" fmla="*/ 2337 w 9994"/>
              <a:gd name="connsiteY4" fmla="*/ 5730 h 10000"/>
              <a:gd name="connsiteX5" fmla="*/ 2337 w 9994"/>
              <a:gd name="connsiteY5" fmla="*/ 7191 h 10000"/>
              <a:gd name="connsiteX6" fmla="*/ 7643 w 9994"/>
              <a:gd name="connsiteY6" fmla="*/ 7191 h 10000"/>
              <a:gd name="connsiteX7" fmla="*/ 7643 w 9994"/>
              <a:gd name="connsiteY7" fmla="*/ 8820 h 10000"/>
              <a:gd name="connsiteX8" fmla="*/ 7542 w 9994"/>
              <a:gd name="connsiteY8" fmla="*/ 9045 h 10000"/>
              <a:gd name="connsiteX9" fmla="*/ 7438 w 9994"/>
              <a:gd name="connsiteY9" fmla="*/ 9157 h 10000"/>
              <a:gd name="connsiteX10" fmla="*/ 7030 w 9994"/>
              <a:gd name="connsiteY10" fmla="*/ 9382 h 10000"/>
              <a:gd name="connsiteX11" fmla="*/ 6520 w 9994"/>
              <a:gd name="connsiteY11" fmla="*/ 9494 h 10000"/>
              <a:gd name="connsiteX12" fmla="*/ 6418 w 9994"/>
              <a:gd name="connsiteY12" fmla="*/ 9719 h 10000"/>
              <a:gd name="connsiteX13" fmla="*/ 6011 w 9994"/>
              <a:gd name="connsiteY13" fmla="*/ 9831 h 10000"/>
              <a:gd name="connsiteX14" fmla="*/ 5704 w 9994"/>
              <a:gd name="connsiteY14" fmla="*/ 10000 h 10000"/>
              <a:gd name="connsiteX15" fmla="*/ 4988 w 9994"/>
              <a:gd name="connsiteY15" fmla="*/ 10000 h 10000"/>
              <a:gd name="connsiteX16" fmla="*/ 4378 w 9994"/>
              <a:gd name="connsiteY16" fmla="*/ 10000 h 10000"/>
              <a:gd name="connsiteX17" fmla="*/ 3868 w 9994"/>
              <a:gd name="connsiteY17" fmla="*/ 9831 h 10000"/>
              <a:gd name="connsiteX18" fmla="*/ 3563 w 9994"/>
              <a:gd name="connsiteY18" fmla="*/ 9719 h 10000"/>
              <a:gd name="connsiteX19" fmla="*/ 3459 w 9994"/>
              <a:gd name="connsiteY19" fmla="*/ 9494 h 10000"/>
              <a:gd name="connsiteX20" fmla="*/ 3052 w 9994"/>
              <a:gd name="connsiteY20" fmla="*/ 9382 h 10000"/>
              <a:gd name="connsiteX21" fmla="*/ 2645 w 9994"/>
              <a:gd name="connsiteY21" fmla="*/ 9157 h 10000"/>
              <a:gd name="connsiteX22" fmla="*/ 2439 w 9994"/>
              <a:gd name="connsiteY22" fmla="*/ 9045 h 10000"/>
              <a:gd name="connsiteX23" fmla="*/ 2337 w 9994"/>
              <a:gd name="connsiteY23" fmla="*/ 8820 h 10000"/>
              <a:gd name="connsiteX24" fmla="*/ 2337 w 9994"/>
              <a:gd name="connsiteY24" fmla="*/ 820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94" h="10000">
                <a:moveTo>
                  <a:pt x="7643" y="5730"/>
                </a:moveTo>
                <a:cubicBezTo>
                  <a:pt x="7589" y="4431"/>
                  <a:pt x="10049" y="4661"/>
                  <a:pt x="9994" y="2622"/>
                </a:cubicBezTo>
                <a:cubicBezTo>
                  <a:pt x="9939" y="583"/>
                  <a:pt x="6654" y="2"/>
                  <a:pt x="4988" y="1"/>
                </a:cubicBezTo>
                <a:cubicBezTo>
                  <a:pt x="3323" y="0"/>
                  <a:pt x="-43" y="693"/>
                  <a:pt x="1" y="2614"/>
                </a:cubicBezTo>
                <a:cubicBezTo>
                  <a:pt x="45" y="4535"/>
                  <a:pt x="2344" y="4799"/>
                  <a:pt x="2337" y="5730"/>
                </a:cubicBezTo>
                <a:lnTo>
                  <a:pt x="2337" y="7191"/>
                </a:lnTo>
                <a:lnTo>
                  <a:pt x="7643" y="7191"/>
                </a:lnTo>
                <a:lnTo>
                  <a:pt x="7643" y="8820"/>
                </a:lnTo>
                <a:cubicBezTo>
                  <a:pt x="7608" y="8895"/>
                  <a:pt x="7575" y="8970"/>
                  <a:pt x="7542" y="9045"/>
                </a:cubicBezTo>
                <a:cubicBezTo>
                  <a:pt x="7505" y="9082"/>
                  <a:pt x="7473" y="9120"/>
                  <a:pt x="7438" y="9157"/>
                </a:cubicBezTo>
                <a:lnTo>
                  <a:pt x="7030" y="9382"/>
                </a:lnTo>
                <a:lnTo>
                  <a:pt x="6520" y="9494"/>
                </a:lnTo>
                <a:lnTo>
                  <a:pt x="6418" y="9719"/>
                </a:lnTo>
                <a:lnTo>
                  <a:pt x="6011" y="9831"/>
                </a:lnTo>
                <a:lnTo>
                  <a:pt x="5704" y="10000"/>
                </a:lnTo>
                <a:lnTo>
                  <a:pt x="4988" y="10000"/>
                </a:lnTo>
                <a:lnTo>
                  <a:pt x="4378" y="10000"/>
                </a:lnTo>
                <a:lnTo>
                  <a:pt x="3868" y="9831"/>
                </a:lnTo>
                <a:lnTo>
                  <a:pt x="3563" y="9719"/>
                </a:lnTo>
                <a:cubicBezTo>
                  <a:pt x="3528" y="9644"/>
                  <a:pt x="3496" y="9569"/>
                  <a:pt x="3459" y="9494"/>
                </a:cubicBezTo>
                <a:lnTo>
                  <a:pt x="3052" y="9382"/>
                </a:lnTo>
                <a:lnTo>
                  <a:pt x="2645" y="9157"/>
                </a:lnTo>
                <a:lnTo>
                  <a:pt x="2439" y="9045"/>
                </a:lnTo>
                <a:cubicBezTo>
                  <a:pt x="2407" y="8970"/>
                  <a:pt x="2373" y="8895"/>
                  <a:pt x="2337" y="8820"/>
                </a:cubicBezTo>
                <a:lnTo>
                  <a:pt x="2337" y="8202"/>
                </a:lnTo>
              </a:path>
            </a:pathLst>
          </a:custGeom>
          <a:solidFill>
            <a:srgbClr val="FBBA00"/>
          </a:solidFill>
          <a:ln w="19050" cmpd="sng">
            <a:solidFill>
              <a:schemeClr val="bg1"/>
            </a:solidFill>
            <a:prstDash val="solid"/>
            <a:round/>
            <a:headEnd/>
            <a:tailEnd/>
          </a:ln>
        </p:spPr>
        <p:txBody>
          <a:bodyPr/>
          <a:lstStyle/>
          <a:p>
            <a:endParaRPr lang="de-DE" dirty="0"/>
          </a:p>
        </p:txBody>
      </p:sp>
      <p:sp>
        <p:nvSpPr>
          <p:cNvPr id="15" name="7 CuadroTexto">
            <a:extLst>
              <a:ext uri="{FF2B5EF4-FFF2-40B4-BE49-F238E27FC236}">
                <a16:creationId xmlns:a16="http://schemas.microsoft.com/office/drawing/2014/main" id="{DE1A9272-5C6A-0C00-8CA2-18003C3F3850}"/>
              </a:ext>
            </a:extLst>
          </p:cNvPr>
          <p:cNvSpPr txBox="1"/>
          <p:nvPr/>
        </p:nvSpPr>
        <p:spPr>
          <a:xfrm>
            <a:off x="8374128" y="5662264"/>
            <a:ext cx="2110430" cy="1021690"/>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i="1" dirty="0">
                <a:latin typeface="Segoe UI" panose="020B0502040204020203" pitchFamily="34" charset="0"/>
                <a:cs typeface="Segoe UI" panose="020B0502040204020203" pitchFamily="34" charset="0"/>
                <a:sym typeface="Wingdings" panose="05000000000000000000" pitchFamily="2" charset="2"/>
              </a:rPr>
              <a:t>„</a:t>
            </a:r>
            <a:r>
              <a:rPr lang="de-DE" sz="1400" i="1" dirty="0" err="1">
                <a:latin typeface="Segoe UI" panose="020B0502040204020203" pitchFamily="34" charset="0"/>
                <a:cs typeface="Segoe UI" panose="020B0502040204020203" pitchFamily="34" charset="0"/>
                <a:sym typeface="Wingdings" panose="05000000000000000000" pitchFamily="2" charset="2"/>
              </a:rPr>
              <a:t>future</a:t>
            </a:r>
            <a:r>
              <a:rPr lang="de-DE" sz="1400" i="1" dirty="0">
                <a:latin typeface="Segoe UI" panose="020B0502040204020203" pitchFamily="34" charset="0"/>
                <a:cs typeface="Segoe UI" panose="020B0502040204020203" pitchFamily="34" charset="0"/>
                <a:sym typeface="Wingdings" panose="05000000000000000000" pitchFamily="2" charset="2"/>
              </a:rPr>
              <a:t>-service“</a:t>
            </a:r>
          </a:p>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Verzicht ohne Zufluss </a:t>
            </a:r>
          </a:p>
          <a:p>
            <a:pPr>
              <a:lnSpc>
                <a:spcPct val="150000"/>
              </a:lnSpc>
            </a:pPr>
            <a:endParaRPr lang="de-DE"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5305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D90270-C813-CCC3-D1B1-5C2F04F6C92F}"/>
            </a:ext>
          </a:extLst>
        </p:cNvPr>
        <p:cNvGrpSpPr/>
        <p:nvPr/>
      </p:nvGrpSpPr>
      <p:grpSpPr>
        <a:xfrm>
          <a:off x="0" y="0"/>
          <a:ext cx="0" cy="0"/>
          <a:chOff x="0" y="0"/>
          <a:chExt cx="0" cy="0"/>
        </a:xfrm>
      </p:grpSpPr>
      <p:sp>
        <p:nvSpPr>
          <p:cNvPr id="6" name="TextBox 18">
            <a:extLst>
              <a:ext uri="{FF2B5EF4-FFF2-40B4-BE49-F238E27FC236}">
                <a16:creationId xmlns:a16="http://schemas.microsoft.com/office/drawing/2014/main" id="{71E2CD84-E7D1-2CAD-6CB9-535F13822C64}"/>
              </a:ext>
            </a:extLst>
          </p:cNvPr>
          <p:cNvSpPr txBox="1"/>
          <p:nvPr/>
        </p:nvSpPr>
        <p:spPr>
          <a:xfrm>
            <a:off x="896416" y="1021332"/>
            <a:ext cx="5513909" cy="584775"/>
          </a:xfrm>
          <a:prstGeom prst="rect">
            <a:avLst/>
          </a:prstGeom>
          <a:noFill/>
        </p:spPr>
        <p:txBody>
          <a:bodyPr wrap="square" rtlCol="0">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genda</a:t>
            </a:r>
          </a:p>
        </p:txBody>
      </p:sp>
      <p:graphicFrame>
        <p:nvGraphicFramePr>
          <p:cNvPr id="8" name="OT_AgendaTable">
            <a:extLst>
              <a:ext uri="{FF2B5EF4-FFF2-40B4-BE49-F238E27FC236}">
                <a16:creationId xmlns:a16="http://schemas.microsoft.com/office/drawing/2014/main" id="{13F46273-C5E9-617F-228A-8EB393173BEA}"/>
              </a:ext>
            </a:extLst>
          </p:cNvPr>
          <p:cNvGraphicFramePr>
            <a:graphicFrameLocks noGrp="1"/>
          </p:cNvGraphicFramePr>
          <p:nvPr>
            <p:custDataLst>
              <p:tags r:id="rId1"/>
            </p:custDataLst>
            <p:extLst>
              <p:ext uri="{D42A27DB-BD31-4B8C-83A1-F6EECF244321}">
                <p14:modId xmlns:p14="http://schemas.microsoft.com/office/powerpoint/2010/main" val="3051142355"/>
              </p:ext>
            </p:extLst>
          </p:nvPr>
        </p:nvGraphicFramePr>
        <p:xfrm>
          <a:off x="909551" y="1923728"/>
          <a:ext cx="10412654" cy="3386664"/>
        </p:xfrm>
        <a:graphic>
          <a:graphicData uri="http://schemas.openxmlformats.org/drawingml/2006/table">
            <a:tbl>
              <a:tblPr firstRow="1" bandRow="1">
                <a:tableStyleId>{2D5ABB26-0587-4C30-8999-92F81FD0307C}</a:tableStyleId>
              </a:tblPr>
              <a:tblGrid>
                <a:gridCol w="10412654">
                  <a:extLst>
                    <a:ext uri="{9D8B030D-6E8A-4147-A177-3AD203B41FA5}">
                      <a16:colId xmlns:a16="http://schemas.microsoft.com/office/drawing/2014/main" val="3315970368"/>
                    </a:ext>
                  </a:extLst>
                </a:gridCol>
              </a:tblGrid>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kern="1200" dirty="0">
                          <a:solidFill>
                            <a:schemeClr val="tx1"/>
                          </a:solidFill>
                          <a:latin typeface="Segoe UI" panose="020B0502040204020203" pitchFamily="34" charset="0"/>
                          <a:ea typeface="+mn-ea"/>
                          <a:cs typeface="Segoe UI" panose="020B0502040204020203" pitchFamily="34" charset="0"/>
                        </a:rPr>
                        <a:t>Bedeutung von Pensionszusagen beim Unternehmensverkauf </a:t>
                      </a:r>
                    </a:p>
                  </a:txBody>
                  <a:tcPr anchor="ctr">
                    <a:noFill/>
                  </a:tcPr>
                </a:tc>
                <a:extLst>
                  <a:ext uri="{0D108BD9-81ED-4DB2-BD59-A6C34878D82A}">
                    <a16:rowId xmlns:a16="http://schemas.microsoft.com/office/drawing/2014/main" val="3130548413"/>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Die „richtige“ Bewertung der Pensionsverpflichtung </a:t>
                      </a:r>
                    </a:p>
                  </a:txBody>
                  <a:tcPr anchor="ctr">
                    <a:noFill/>
                  </a:tcPr>
                </a:tc>
                <a:extLst>
                  <a:ext uri="{0D108BD9-81ED-4DB2-BD59-A6C34878D82A}">
                    <a16:rowId xmlns:a16="http://schemas.microsoft.com/office/drawing/2014/main" val="3106507590"/>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Folgen des vollständigen Verzichtes auf eine Pensionszusage </a:t>
                      </a:r>
                    </a:p>
                  </a:txBody>
                  <a:tcPr anchor="ctr">
                    <a:noFill/>
                  </a:tcPr>
                </a:tc>
                <a:extLst>
                  <a:ext uri="{0D108BD9-81ED-4DB2-BD59-A6C34878D82A}">
                    <a16:rowId xmlns:a16="http://schemas.microsoft.com/office/drawing/2014/main" val="541056519"/>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mögliche Lösung: </a:t>
                      </a:r>
                      <a:r>
                        <a:rPr lang="de-DE" sz="1800" b="0" dirty="0" err="1">
                          <a:solidFill>
                            <a:schemeClr val="tx1"/>
                          </a:solidFill>
                          <a:latin typeface="Segoe UI" panose="020B0502040204020203" pitchFamily="34" charset="0"/>
                          <a:cs typeface="Segoe UI" panose="020B0502040204020203" pitchFamily="34" charset="0"/>
                        </a:rPr>
                        <a:t>asset</a:t>
                      </a:r>
                      <a:r>
                        <a:rPr lang="de-DE" sz="1800" b="0" dirty="0">
                          <a:solidFill>
                            <a:schemeClr val="tx1"/>
                          </a:solidFill>
                          <a:latin typeface="Segoe UI" panose="020B0502040204020203" pitchFamily="34" charset="0"/>
                          <a:cs typeface="Segoe UI" panose="020B0502040204020203" pitchFamily="34" charset="0"/>
                        </a:rPr>
                        <a:t>-deal statt share-deal </a:t>
                      </a:r>
                    </a:p>
                  </a:txBody>
                  <a:tcPr anchor="ctr">
                    <a:noFill/>
                  </a:tcPr>
                </a:tc>
                <a:extLst>
                  <a:ext uri="{0D108BD9-81ED-4DB2-BD59-A6C34878D82A}">
                    <a16:rowId xmlns:a16="http://schemas.microsoft.com/office/drawing/2014/main" val="1873190663"/>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1" dirty="0">
                          <a:solidFill>
                            <a:schemeClr val="tx1"/>
                          </a:solidFill>
                          <a:latin typeface="Segoe UI" panose="020B0502040204020203" pitchFamily="34" charset="0"/>
                          <a:cs typeface="Segoe UI" panose="020B0502040204020203" pitchFamily="34" charset="0"/>
                        </a:rPr>
                        <a:t>„</a:t>
                      </a:r>
                      <a:r>
                        <a:rPr lang="de-DE" sz="1800" b="0" dirty="0">
                          <a:solidFill>
                            <a:schemeClr val="tx1"/>
                          </a:solidFill>
                          <a:latin typeface="Segoe UI" panose="020B0502040204020203" pitchFamily="34" charset="0"/>
                          <a:cs typeface="Segoe UI" panose="020B0502040204020203" pitchFamily="34" charset="0"/>
                        </a:rPr>
                        <a:t>echte“ Auslagerung auf einen externen Versorgungsträger  </a:t>
                      </a:r>
                    </a:p>
                  </a:txBody>
                  <a:tcPr anchor="ctr">
                    <a:noFill/>
                  </a:tcPr>
                </a:tc>
                <a:extLst>
                  <a:ext uri="{0D108BD9-81ED-4DB2-BD59-A6C34878D82A}">
                    <a16:rowId xmlns:a16="http://schemas.microsoft.com/office/drawing/2014/main" val="847646844"/>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Übertragung auf eine „Rentner-GmbH“ / „Holding-Struktur“ </a:t>
                      </a:r>
                    </a:p>
                  </a:txBody>
                  <a:tcPr anchor="ctr">
                    <a:solidFill>
                      <a:schemeClr val="bg1"/>
                    </a:solidFill>
                  </a:tcPr>
                </a:tc>
                <a:extLst>
                  <a:ext uri="{0D108BD9-81ED-4DB2-BD59-A6C34878D82A}">
                    <a16:rowId xmlns:a16="http://schemas.microsoft.com/office/drawing/2014/main" val="353730752"/>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Teilverzicht / Verzicht auf den „</a:t>
                      </a:r>
                      <a:r>
                        <a:rPr lang="de-DE" sz="1800" b="0" dirty="0" err="1">
                          <a:solidFill>
                            <a:schemeClr val="tx1"/>
                          </a:solidFill>
                          <a:latin typeface="Segoe UI" panose="020B0502040204020203" pitchFamily="34" charset="0"/>
                          <a:cs typeface="Segoe UI" panose="020B0502040204020203" pitchFamily="34" charset="0"/>
                        </a:rPr>
                        <a:t>future</a:t>
                      </a:r>
                      <a:r>
                        <a:rPr lang="de-DE" sz="1800" b="0" dirty="0">
                          <a:solidFill>
                            <a:schemeClr val="tx1"/>
                          </a:solidFill>
                          <a:latin typeface="Segoe UI" panose="020B0502040204020203" pitchFamily="34" charset="0"/>
                          <a:cs typeface="Segoe UI" panose="020B0502040204020203" pitchFamily="34" charset="0"/>
                        </a:rPr>
                        <a:t>-service“ </a:t>
                      </a:r>
                    </a:p>
                  </a:txBody>
                  <a:tcPr anchor="ctr">
                    <a:noFill/>
                  </a:tcPr>
                </a:tc>
                <a:extLst>
                  <a:ext uri="{0D108BD9-81ED-4DB2-BD59-A6C34878D82A}">
                    <a16:rowId xmlns:a16="http://schemas.microsoft.com/office/drawing/2014/main" val="3390285067"/>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1" dirty="0">
                          <a:solidFill>
                            <a:schemeClr val="tx1"/>
                          </a:solidFill>
                          <a:latin typeface="Segoe UI" panose="020B0502040204020203" pitchFamily="34" charset="0"/>
                          <a:cs typeface="Segoe UI" panose="020B0502040204020203" pitchFamily="34" charset="0"/>
                        </a:rPr>
                        <a:t>Dringende Empfehlung: Vereinbarung der </a:t>
                      </a:r>
                      <a:r>
                        <a:rPr lang="de-DE" sz="1800" b="1" i="1" dirty="0">
                          <a:solidFill>
                            <a:schemeClr val="tx1"/>
                          </a:solidFill>
                          <a:latin typeface="Segoe UI" panose="020B0502040204020203" pitchFamily="34" charset="0"/>
                          <a:cs typeface="Segoe UI" panose="020B0502040204020203" pitchFamily="34" charset="0"/>
                        </a:rPr>
                        <a:t>Möglichkeit</a:t>
                      </a:r>
                      <a:r>
                        <a:rPr lang="de-DE" sz="1800" b="1" dirty="0">
                          <a:solidFill>
                            <a:schemeClr val="tx1"/>
                          </a:solidFill>
                          <a:latin typeface="Segoe UI" panose="020B0502040204020203" pitchFamily="34" charset="0"/>
                          <a:cs typeface="Segoe UI" panose="020B0502040204020203" pitchFamily="34" charset="0"/>
                        </a:rPr>
                        <a:t> einer einmaligen Kapitalabfindung </a:t>
                      </a:r>
                    </a:p>
                  </a:txBody>
                  <a:tcPr anchor="ctr">
                    <a:solidFill>
                      <a:srgbClr val="FBBA00"/>
                    </a:solidFill>
                  </a:tcPr>
                </a:tc>
                <a:extLst>
                  <a:ext uri="{0D108BD9-81ED-4DB2-BD59-A6C34878D82A}">
                    <a16:rowId xmlns:a16="http://schemas.microsoft.com/office/drawing/2014/main" val="2691783076"/>
                  </a:ext>
                </a:extLst>
              </a:tr>
            </a:tbl>
          </a:graphicData>
        </a:graphic>
      </p:graphicFrame>
    </p:spTree>
    <p:extLst>
      <p:ext uri="{BB962C8B-B14F-4D97-AF65-F5344CB8AC3E}">
        <p14:creationId xmlns:p14="http://schemas.microsoft.com/office/powerpoint/2010/main" val="2674431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10740B-CA12-483B-C7C6-5D7D8470DB61}"/>
            </a:ext>
          </a:extLst>
        </p:cNvPr>
        <p:cNvGrpSpPr/>
        <p:nvPr/>
      </p:nvGrpSpPr>
      <p:grpSpPr>
        <a:xfrm>
          <a:off x="0" y="0"/>
          <a:ext cx="0" cy="0"/>
          <a:chOff x="0" y="0"/>
          <a:chExt cx="0" cy="0"/>
        </a:xfrm>
      </p:grpSpPr>
      <p:sp>
        <p:nvSpPr>
          <p:cNvPr id="55" name="Slide Number Placeholder 5">
            <a:extLst>
              <a:ext uri="{FF2B5EF4-FFF2-40B4-BE49-F238E27FC236}">
                <a16:creationId xmlns:a16="http://schemas.microsoft.com/office/drawing/2014/main" id="{15A7C483-510E-BD45-0064-F12085C10C31}"/>
              </a:ext>
            </a:extLst>
          </p:cNvPr>
          <p:cNvSpPr txBox="1">
            <a:spLocks/>
          </p:cNvSpPr>
          <p:nvPr>
            <p:custDataLst>
              <p:tags r:id="rId1"/>
            </p:custDataLst>
          </p:nvPr>
        </p:nvSpPr>
        <p:spPr>
          <a:xfrm>
            <a:off x="896416" y="7855507"/>
            <a:ext cx="283900" cy="151200"/>
          </a:xfrm>
          <a:prstGeom prst="rect">
            <a:avLst/>
          </a:prstGeom>
        </p:spPr>
        <p:txBody>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lang="en-GB" dirty="0"/>
          </a:p>
        </p:txBody>
      </p:sp>
      <p:sp>
        <p:nvSpPr>
          <p:cNvPr id="85" name="TextBox 1">
            <a:extLst>
              <a:ext uri="{FF2B5EF4-FFF2-40B4-BE49-F238E27FC236}">
                <a16:creationId xmlns:a16="http://schemas.microsoft.com/office/drawing/2014/main" id="{B99E7D76-8339-0757-DD6B-9047258BE052}"/>
              </a:ext>
            </a:extLst>
          </p:cNvPr>
          <p:cNvSpPr txBox="1"/>
          <p:nvPr/>
        </p:nvSpPr>
        <p:spPr>
          <a:xfrm>
            <a:off x="1670424" y="1084321"/>
            <a:ext cx="9324678"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Abfind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Pensionszusage</a:t>
            </a:r>
            <a:endPar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endParaRPr>
          </a:p>
        </p:txBody>
      </p:sp>
      <p:sp>
        <p:nvSpPr>
          <p:cNvPr id="3" name="7 CuadroTexto">
            <a:extLst>
              <a:ext uri="{FF2B5EF4-FFF2-40B4-BE49-F238E27FC236}">
                <a16:creationId xmlns:a16="http://schemas.microsoft.com/office/drawing/2014/main" id="{3FB24EDD-509B-0991-8ECD-07B812FD9AF2}"/>
              </a:ext>
            </a:extLst>
          </p:cNvPr>
          <p:cNvSpPr txBox="1"/>
          <p:nvPr/>
        </p:nvSpPr>
        <p:spPr>
          <a:xfrm>
            <a:off x="1487314" y="2879367"/>
            <a:ext cx="8647285" cy="2637517"/>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Um einen Verkauf des Unternehmens zu ermöglichen (oder zu große Preisabschläge zu vermeiden) wird eine Pensionszusage häufig abgefunden.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Statt eines „Einfrierens“ der bisherigen Anwartschaft und Auszahlung im Rentenalter wird auf die Pension gegen einen einmaligen Abfindungsbetrag verzichtet.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Tarifermäßigung (ermäßigt besteuernder Arbeitslohn für eine mehrjährige Tätigkeit (1/5-Regelung))</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Achtung: Risiko einer verdeckten Gewinnausschüttung bei beherrschenden Gesellschafter-Geschäftsführern  </a:t>
            </a:r>
          </a:p>
          <a:p>
            <a:pPr>
              <a:lnSpc>
                <a:spcPct val="150000"/>
              </a:lnSpc>
            </a:pPr>
            <a:endParaRPr lang="de-DE"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99327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C8C80F-7F2B-196F-7824-596F29571CAD}"/>
            </a:ext>
          </a:extLst>
        </p:cNvPr>
        <p:cNvGrpSpPr/>
        <p:nvPr/>
      </p:nvGrpSpPr>
      <p:grpSpPr>
        <a:xfrm>
          <a:off x="0" y="0"/>
          <a:ext cx="0" cy="0"/>
          <a:chOff x="0" y="0"/>
          <a:chExt cx="0" cy="0"/>
        </a:xfrm>
      </p:grpSpPr>
      <p:grpSp>
        <p:nvGrpSpPr>
          <p:cNvPr id="3" name="Gruppieren 2">
            <a:extLst>
              <a:ext uri="{FF2B5EF4-FFF2-40B4-BE49-F238E27FC236}">
                <a16:creationId xmlns:a16="http://schemas.microsoft.com/office/drawing/2014/main" id="{48940C2A-9479-D1E4-0A9E-C81690C96451}"/>
              </a:ext>
            </a:extLst>
          </p:cNvPr>
          <p:cNvGrpSpPr/>
          <p:nvPr/>
        </p:nvGrpSpPr>
        <p:grpSpPr>
          <a:xfrm>
            <a:off x="2082811" y="2756377"/>
            <a:ext cx="1405717" cy="3985406"/>
            <a:chOff x="2462777" y="1904484"/>
            <a:chExt cx="1405717" cy="3985406"/>
          </a:xfrm>
        </p:grpSpPr>
        <p:grpSp>
          <p:nvGrpSpPr>
            <p:cNvPr id="102" name="Group 138">
              <a:extLst>
                <a:ext uri="{FF2B5EF4-FFF2-40B4-BE49-F238E27FC236}">
                  <a16:creationId xmlns:a16="http://schemas.microsoft.com/office/drawing/2014/main" id="{99772E78-B307-1DE9-FD98-249A2FC2CD40}"/>
                </a:ext>
              </a:extLst>
            </p:cNvPr>
            <p:cNvGrpSpPr/>
            <p:nvPr/>
          </p:nvGrpSpPr>
          <p:grpSpPr>
            <a:xfrm>
              <a:off x="2934725" y="1904484"/>
              <a:ext cx="461820" cy="461820"/>
              <a:chOff x="1236144" y="1532568"/>
              <a:chExt cx="834324" cy="834324"/>
            </a:xfrm>
          </p:grpSpPr>
          <p:sp>
            <p:nvSpPr>
              <p:cNvPr id="103" name="Freeform: Shape 139">
                <a:extLst>
                  <a:ext uri="{FF2B5EF4-FFF2-40B4-BE49-F238E27FC236}">
                    <a16:creationId xmlns:a16="http://schemas.microsoft.com/office/drawing/2014/main" id="{DF919AB0-2314-FBE1-D4D6-B3AFA5BA48AC}"/>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4" name="Freeform: Shape 140">
                <a:extLst>
                  <a:ext uri="{FF2B5EF4-FFF2-40B4-BE49-F238E27FC236}">
                    <a16:creationId xmlns:a16="http://schemas.microsoft.com/office/drawing/2014/main" id="{3795A353-C412-0E30-CF54-8CBBE2E3ABD3}"/>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5" name="Oval 157">
                <a:extLst>
                  <a:ext uri="{FF2B5EF4-FFF2-40B4-BE49-F238E27FC236}">
                    <a16:creationId xmlns:a16="http://schemas.microsoft.com/office/drawing/2014/main" id="{2B8DA29A-BBA3-622A-1401-9AE83A0D3038}"/>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06" name="Freeform: Shape 142">
                <a:extLst>
                  <a:ext uri="{FF2B5EF4-FFF2-40B4-BE49-F238E27FC236}">
                    <a16:creationId xmlns:a16="http://schemas.microsoft.com/office/drawing/2014/main" id="{3531C7BB-465D-8597-E713-85B4BE8BEF7F}"/>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2" name="Gruppieren 1">
              <a:extLst>
                <a:ext uri="{FF2B5EF4-FFF2-40B4-BE49-F238E27FC236}">
                  <a16:creationId xmlns:a16="http://schemas.microsoft.com/office/drawing/2014/main" id="{C89EE04A-4724-EEB5-DE55-25463ABA0019}"/>
                </a:ext>
              </a:extLst>
            </p:cNvPr>
            <p:cNvGrpSpPr/>
            <p:nvPr/>
          </p:nvGrpSpPr>
          <p:grpSpPr>
            <a:xfrm>
              <a:off x="2462777" y="2379623"/>
              <a:ext cx="1405717" cy="3510267"/>
              <a:chOff x="2462777" y="2379623"/>
              <a:chExt cx="1405717" cy="3510267"/>
            </a:xfrm>
          </p:grpSpPr>
          <p:sp>
            <p:nvSpPr>
              <p:cNvPr id="100" name="Textfeld 99">
                <a:extLst>
                  <a:ext uri="{FF2B5EF4-FFF2-40B4-BE49-F238E27FC236}">
                    <a16:creationId xmlns:a16="http://schemas.microsoft.com/office/drawing/2014/main" id="{AB9348BF-F6AA-1138-BA6C-E5F70DFAF9E0}"/>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07" name="Pfeil nach unten 91">
                <a:extLst>
                  <a:ext uri="{FF2B5EF4-FFF2-40B4-BE49-F238E27FC236}">
                    <a16:creationId xmlns:a16="http://schemas.microsoft.com/office/drawing/2014/main" id="{65DA2940-185A-8200-7EF1-8D6525C0F32C}"/>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nvGrpSpPr>
              <p:cNvPr id="108" name="Group 138">
                <a:extLst>
                  <a:ext uri="{FF2B5EF4-FFF2-40B4-BE49-F238E27FC236}">
                    <a16:creationId xmlns:a16="http://schemas.microsoft.com/office/drawing/2014/main" id="{4CE6A9F1-7E30-3108-AD8E-D18EA4F90622}"/>
                  </a:ext>
                </a:extLst>
              </p:cNvPr>
              <p:cNvGrpSpPr/>
              <p:nvPr/>
            </p:nvGrpSpPr>
            <p:grpSpPr>
              <a:xfrm>
                <a:off x="3158154" y="3941620"/>
                <a:ext cx="3200" cy="4053"/>
                <a:chOff x="1650415" y="1908302"/>
                <a:chExt cx="5782" cy="7322"/>
              </a:xfrm>
            </p:grpSpPr>
            <p:sp>
              <p:nvSpPr>
                <p:cNvPr id="109" name="Freeform: Shape 139">
                  <a:extLst>
                    <a:ext uri="{FF2B5EF4-FFF2-40B4-BE49-F238E27FC236}">
                      <a16:creationId xmlns:a16="http://schemas.microsoft.com/office/drawing/2014/main" id="{13BB713E-8EF1-36CB-87C2-56C22F6E0E24}"/>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0" name="Freeform: Shape 140">
                  <a:extLst>
                    <a:ext uri="{FF2B5EF4-FFF2-40B4-BE49-F238E27FC236}">
                      <a16:creationId xmlns:a16="http://schemas.microsoft.com/office/drawing/2014/main" id="{5040A827-BA08-0A30-9C0A-AAAEC3594769}"/>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114" name="Group 138">
                <a:extLst>
                  <a:ext uri="{FF2B5EF4-FFF2-40B4-BE49-F238E27FC236}">
                    <a16:creationId xmlns:a16="http://schemas.microsoft.com/office/drawing/2014/main" id="{894E8991-B517-6DAC-8575-1800C0757D42}"/>
                  </a:ext>
                </a:extLst>
              </p:cNvPr>
              <p:cNvGrpSpPr/>
              <p:nvPr/>
            </p:nvGrpSpPr>
            <p:grpSpPr>
              <a:xfrm>
                <a:off x="3163895" y="5885837"/>
                <a:ext cx="3200" cy="4053"/>
                <a:chOff x="1650415" y="1908302"/>
                <a:chExt cx="5782" cy="7322"/>
              </a:xfrm>
            </p:grpSpPr>
            <p:sp>
              <p:nvSpPr>
                <p:cNvPr id="115" name="Freeform: Shape 139">
                  <a:extLst>
                    <a:ext uri="{FF2B5EF4-FFF2-40B4-BE49-F238E27FC236}">
                      <a16:creationId xmlns:a16="http://schemas.microsoft.com/office/drawing/2014/main" id="{22F50217-4068-12FA-445F-1A5BD592659A}"/>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6" name="Freeform: Shape 140">
                  <a:extLst>
                    <a:ext uri="{FF2B5EF4-FFF2-40B4-BE49-F238E27FC236}">
                      <a16:creationId xmlns:a16="http://schemas.microsoft.com/office/drawing/2014/main" id="{A3FADED7-2B11-65AA-5297-A6D845668DCA}"/>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grpSp>
      <p:sp>
        <p:nvSpPr>
          <p:cNvPr id="4" name="Rechteck 3">
            <a:extLst>
              <a:ext uri="{FF2B5EF4-FFF2-40B4-BE49-F238E27FC236}">
                <a16:creationId xmlns:a16="http://schemas.microsoft.com/office/drawing/2014/main" id="{786B87EC-4EC7-DC68-8C5C-4E6646695C72}"/>
              </a:ext>
            </a:extLst>
          </p:cNvPr>
          <p:cNvSpPr/>
          <p:nvPr/>
        </p:nvSpPr>
        <p:spPr>
          <a:xfrm>
            <a:off x="2239845" y="4597606"/>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9" name="Textplatzhalter 1">
            <a:extLst>
              <a:ext uri="{FF2B5EF4-FFF2-40B4-BE49-F238E27FC236}">
                <a16:creationId xmlns:a16="http://schemas.microsoft.com/office/drawing/2014/main" id="{F766DA7A-EF0B-A73A-8C83-A15CEF4DBEC7}"/>
              </a:ext>
            </a:extLst>
          </p:cNvPr>
          <p:cNvSpPr txBox="1">
            <a:spLocks/>
          </p:cNvSpPr>
          <p:nvPr/>
        </p:nvSpPr>
        <p:spPr>
          <a:xfrm>
            <a:off x="555070" y="4676103"/>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0" name="Textplatzhalter 1">
            <a:extLst>
              <a:ext uri="{FF2B5EF4-FFF2-40B4-BE49-F238E27FC236}">
                <a16:creationId xmlns:a16="http://schemas.microsoft.com/office/drawing/2014/main" id="{0D975F99-6084-287C-2437-7417E94C8977}"/>
              </a:ext>
            </a:extLst>
          </p:cNvPr>
          <p:cNvSpPr txBox="1">
            <a:spLocks/>
          </p:cNvSpPr>
          <p:nvPr/>
        </p:nvSpPr>
        <p:spPr>
          <a:xfrm>
            <a:off x="555070" y="2759052"/>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5" name="TextBox 1">
            <a:extLst>
              <a:ext uri="{FF2B5EF4-FFF2-40B4-BE49-F238E27FC236}">
                <a16:creationId xmlns:a16="http://schemas.microsoft.com/office/drawing/2014/main" id="{BF8DC233-6976-ACAC-AE9F-92716B10BB2D}"/>
              </a:ext>
            </a:extLst>
          </p:cNvPr>
          <p:cNvSpPr txBox="1"/>
          <p:nvPr/>
        </p:nvSpPr>
        <p:spPr>
          <a:xfrm>
            <a:off x="1670424" y="1084321"/>
            <a:ext cx="9324678"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Abfind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Pensionszusage</a:t>
            </a:r>
            <a:endPar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endParaRPr>
          </a:p>
        </p:txBody>
      </p:sp>
    </p:spTree>
    <p:extLst>
      <p:ext uri="{BB962C8B-B14F-4D97-AF65-F5344CB8AC3E}">
        <p14:creationId xmlns:p14="http://schemas.microsoft.com/office/powerpoint/2010/main" val="2758049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EDA9A4-B80E-EBCA-194F-25B8872FAA2C}"/>
            </a:ext>
          </a:extLst>
        </p:cNvPr>
        <p:cNvGrpSpPr/>
        <p:nvPr/>
      </p:nvGrpSpPr>
      <p:grpSpPr>
        <a:xfrm>
          <a:off x="0" y="0"/>
          <a:ext cx="0" cy="0"/>
          <a:chOff x="0" y="0"/>
          <a:chExt cx="0" cy="0"/>
        </a:xfrm>
      </p:grpSpPr>
      <p:grpSp>
        <p:nvGrpSpPr>
          <p:cNvPr id="3" name="Gruppieren 2">
            <a:extLst>
              <a:ext uri="{FF2B5EF4-FFF2-40B4-BE49-F238E27FC236}">
                <a16:creationId xmlns:a16="http://schemas.microsoft.com/office/drawing/2014/main" id="{94EEB205-DBAF-FD91-C194-5BD2C178E8AB}"/>
              </a:ext>
            </a:extLst>
          </p:cNvPr>
          <p:cNvGrpSpPr/>
          <p:nvPr/>
        </p:nvGrpSpPr>
        <p:grpSpPr>
          <a:xfrm>
            <a:off x="2082811" y="2756377"/>
            <a:ext cx="1405717" cy="3985406"/>
            <a:chOff x="2462777" y="1904484"/>
            <a:chExt cx="1405717" cy="3985406"/>
          </a:xfrm>
        </p:grpSpPr>
        <p:grpSp>
          <p:nvGrpSpPr>
            <p:cNvPr id="102" name="Group 138">
              <a:extLst>
                <a:ext uri="{FF2B5EF4-FFF2-40B4-BE49-F238E27FC236}">
                  <a16:creationId xmlns:a16="http://schemas.microsoft.com/office/drawing/2014/main" id="{4130403E-4C8D-79A6-2A52-D1E7EA464027}"/>
                </a:ext>
              </a:extLst>
            </p:cNvPr>
            <p:cNvGrpSpPr/>
            <p:nvPr/>
          </p:nvGrpSpPr>
          <p:grpSpPr>
            <a:xfrm>
              <a:off x="2934725" y="1904484"/>
              <a:ext cx="461820" cy="461820"/>
              <a:chOff x="1236144" y="1532568"/>
              <a:chExt cx="834324" cy="834324"/>
            </a:xfrm>
          </p:grpSpPr>
          <p:sp>
            <p:nvSpPr>
              <p:cNvPr id="103" name="Freeform: Shape 139">
                <a:extLst>
                  <a:ext uri="{FF2B5EF4-FFF2-40B4-BE49-F238E27FC236}">
                    <a16:creationId xmlns:a16="http://schemas.microsoft.com/office/drawing/2014/main" id="{0C720FEF-6734-AB35-917C-95DD8FEFD3A4}"/>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4" name="Freeform: Shape 140">
                <a:extLst>
                  <a:ext uri="{FF2B5EF4-FFF2-40B4-BE49-F238E27FC236}">
                    <a16:creationId xmlns:a16="http://schemas.microsoft.com/office/drawing/2014/main" id="{4C3197E0-8F28-1B66-B55F-8080521ACE78}"/>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5" name="Oval 157">
                <a:extLst>
                  <a:ext uri="{FF2B5EF4-FFF2-40B4-BE49-F238E27FC236}">
                    <a16:creationId xmlns:a16="http://schemas.microsoft.com/office/drawing/2014/main" id="{D41C36D1-486B-AB59-60CF-90E9EE168122}"/>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06" name="Freeform: Shape 142">
                <a:extLst>
                  <a:ext uri="{FF2B5EF4-FFF2-40B4-BE49-F238E27FC236}">
                    <a16:creationId xmlns:a16="http://schemas.microsoft.com/office/drawing/2014/main" id="{72624143-A364-A090-2B22-BF9BA841FFE6}"/>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2" name="Gruppieren 1">
              <a:extLst>
                <a:ext uri="{FF2B5EF4-FFF2-40B4-BE49-F238E27FC236}">
                  <a16:creationId xmlns:a16="http://schemas.microsoft.com/office/drawing/2014/main" id="{1881C3E3-5BB3-ECE6-F927-874A96AF3CAD}"/>
                </a:ext>
              </a:extLst>
            </p:cNvPr>
            <p:cNvGrpSpPr/>
            <p:nvPr/>
          </p:nvGrpSpPr>
          <p:grpSpPr>
            <a:xfrm>
              <a:off x="2462777" y="2379623"/>
              <a:ext cx="1405717" cy="3510267"/>
              <a:chOff x="2462777" y="2379623"/>
              <a:chExt cx="1405717" cy="3510267"/>
            </a:xfrm>
          </p:grpSpPr>
          <p:sp>
            <p:nvSpPr>
              <p:cNvPr id="100" name="Textfeld 99">
                <a:extLst>
                  <a:ext uri="{FF2B5EF4-FFF2-40B4-BE49-F238E27FC236}">
                    <a16:creationId xmlns:a16="http://schemas.microsoft.com/office/drawing/2014/main" id="{C6341BDB-EE07-9B82-7370-629087BA26C9}"/>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07" name="Pfeil nach unten 91">
                <a:extLst>
                  <a:ext uri="{FF2B5EF4-FFF2-40B4-BE49-F238E27FC236}">
                    <a16:creationId xmlns:a16="http://schemas.microsoft.com/office/drawing/2014/main" id="{8136E1A4-93F8-7820-C99C-C78EBA20D663}"/>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nvGrpSpPr>
              <p:cNvPr id="108" name="Group 138">
                <a:extLst>
                  <a:ext uri="{FF2B5EF4-FFF2-40B4-BE49-F238E27FC236}">
                    <a16:creationId xmlns:a16="http://schemas.microsoft.com/office/drawing/2014/main" id="{6FD649E3-C72D-881F-4476-64068C20324F}"/>
                  </a:ext>
                </a:extLst>
              </p:cNvPr>
              <p:cNvGrpSpPr/>
              <p:nvPr/>
            </p:nvGrpSpPr>
            <p:grpSpPr>
              <a:xfrm>
                <a:off x="3158154" y="3941620"/>
                <a:ext cx="3200" cy="4053"/>
                <a:chOff x="1650415" y="1908302"/>
                <a:chExt cx="5782" cy="7322"/>
              </a:xfrm>
            </p:grpSpPr>
            <p:sp>
              <p:nvSpPr>
                <p:cNvPr id="109" name="Freeform: Shape 139">
                  <a:extLst>
                    <a:ext uri="{FF2B5EF4-FFF2-40B4-BE49-F238E27FC236}">
                      <a16:creationId xmlns:a16="http://schemas.microsoft.com/office/drawing/2014/main" id="{973B939C-C8C1-887C-8739-1E5FD9116120}"/>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0" name="Freeform: Shape 140">
                  <a:extLst>
                    <a:ext uri="{FF2B5EF4-FFF2-40B4-BE49-F238E27FC236}">
                      <a16:creationId xmlns:a16="http://schemas.microsoft.com/office/drawing/2014/main" id="{EF26BE7B-D38B-C81B-0264-DFEF8F3A74E2}"/>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114" name="Group 138">
                <a:extLst>
                  <a:ext uri="{FF2B5EF4-FFF2-40B4-BE49-F238E27FC236}">
                    <a16:creationId xmlns:a16="http://schemas.microsoft.com/office/drawing/2014/main" id="{027C67B6-82C3-0F87-ECEA-CA34BF1A8409}"/>
                  </a:ext>
                </a:extLst>
              </p:cNvPr>
              <p:cNvGrpSpPr/>
              <p:nvPr/>
            </p:nvGrpSpPr>
            <p:grpSpPr>
              <a:xfrm>
                <a:off x="3163895" y="5885837"/>
                <a:ext cx="3200" cy="4053"/>
                <a:chOff x="1650415" y="1908302"/>
                <a:chExt cx="5782" cy="7322"/>
              </a:xfrm>
            </p:grpSpPr>
            <p:sp>
              <p:nvSpPr>
                <p:cNvPr id="115" name="Freeform: Shape 139">
                  <a:extLst>
                    <a:ext uri="{FF2B5EF4-FFF2-40B4-BE49-F238E27FC236}">
                      <a16:creationId xmlns:a16="http://schemas.microsoft.com/office/drawing/2014/main" id="{1667A4BC-6227-F273-839B-4A02942E21D4}"/>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6" name="Freeform: Shape 140">
                  <a:extLst>
                    <a:ext uri="{FF2B5EF4-FFF2-40B4-BE49-F238E27FC236}">
                      <a16:creationId xmlns:a16="http://schemas.microsoft.com/office/drawing/2014/main" id="{174C90BD-EF44-8ED8-3C40-5A7A0B9E4E44}"/>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grpSp>
      <p:sp>
        <p:nvSpPr>
          <p:cNvPr id="4" name="Rechteck 3">
            <a:extLst>
              <a:ext uri="{FF2B5EF4-FFF2-40B4-BE49-F238E27FC236}">
                <a16:creationId xmlns:a16="http://schemas.microsoft.com/office/drawing/2014/main" id="{6603D480-5B78-DEE0-D895-18A8DFBCA451}"/>
              </a:ext>
            </a:extLst>
          </p:cNvPr>
          <p:cNvSpPr/>
          <p:nvPr/>
        </p:nvSpPr>
        <p:spPr>
          <a:xfrm>
            <a:off x="2239845" y="4597606"/>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9" name="Textplatzhalter 1">
            <a:extLst>
              <a:ext uri="{FF2B5EF4-FFF2-40B4-BE49-F238E27FC236}">
                <a16:creationId xmlns:a16="http://schemas.microsoft.com/office/drawing/2014/main" id="{E3D18199-04B2-40D8-1328-522D2326E1C5}"/>
              </a:ext>
            </a:extLst>
          </p:cNvPr>
          <p:cNvSpPr txBox="1">
            <a:spLocks/>
          </p:cNvSpPr>
          <p:nvPr/>
        </p:nvSpPr>
        <p:spPr>
          <a:xfrm>
            <a:off x="555070" y="4676103"/>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0" name="Textplatzhalter 1">
            <a:extLst>
              <a:ext uri="{FF2B5EF4-FFF2-40B4-BE49-F238E27FC236}">
                <a16:creationId xmlns:a16="http://schemas.microsoft.com/office/drawing/2014/main" id="{FBBB8865-C7F8-65EC-901B-13ECB871C50B}"/>
              </a:ext>
            </a:extLst>
          </p:cNvPr>
          <p:cNvSpPr txBox="1">
            <a:spLocks/>
          </p:cNvSpPr>
          <p:nvPr/>
        </p:nvSpPr>
        <p:spPr>
          <a:xfrm>
            <a:off x="555070" y="2759052"/>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5" name="TextBox 1">
            <a:extLst>
              <a:ext uri="{FF2B5EF4-FFF2-40B4-BE49-F238E27FC236}">
                <a16:creationId xmlns:a16="http://schemas.microsoft.com/office/drawing/2014/main" id="{8B6B2468-2295-54A3-32AD-4D3D14D6C59D}"/>
              </a:ext>
            </a:extLst>
          </p:cNvPr>
          <p:cNvSpPr txBox="1"/>
          <p:nvPr/>
        </p:nvSpPr>
        <p:spPr>
          <a:xfrm>
            <a:off x="1670424" y="1084321"/>
            <a:ext cx="9324678"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Abfind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Pensionszusage</a:t>
            </a:r>
            <a:endPar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endParaRPr>
          </a:p>
        </p:txBody>
      </p:sp>
      <p:sp>
        <p:nvSpPr>
          <p:cNvPr id="6" name="Nach oben gekrümmter Pfeil 26">
            <a:extLst>
              <a:ext uri="{FF2B5EF4-FFF2-40B4-BE49-F238E27FC236}">
                <a16:creationId xmlns:a16="http://schemas.microsoft.com/office/drawing/2014/main" id="{24A1D260-FB27-0AB1-62DD-C1A541732A6A}"/>
              </a:ext>
            </a:extLst>
          </p:cNvPr>
          <p:cNvSpPr/>
          <p:nvPr/>
        </p:nvSpPr>
        <p:spPr>
          <a:xfrm rot="16200000">
            <a:off x="3406137" y="3325449"/>
            <a:ext cx="2469172" cy="960633"/>
          </a:xfrm>
          <a:prstGeom prst="curvedUp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7" name="7 CuadroTexto">
            <a:extLst>
              <a:ext uri="{FF2B5EF4-FFF2-40B4-BE49-F238E27FC236}">
                <a16:creationId xmlns:a16="http://schemas.microsoft.com/office/drawing/2014/main" id="{14D13297-A23E-CBDA-9FB1-D99384BF048F}"/>
              </a:ext>
            </a:extLst>
          </p:cNvPr>
          <p:cNvSpPr txBox="1"/>
          <p:nvPr/>
        </p:nvSpPr>
        <p:spPr>
          <a:xfrm>
            <a:off x="5116317" y="2730475"/>
            <a:ext cx="3693689" cy="698525"/>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Abfindungsbetrag = Arbeitslohn  </a:t>
            </a:r>
          </a:p>
          <a:p>
            <a:pPr>
              <a:lnSpc>
                <a:spcPct val="150000"/>
              </a:lnSpc>
            </a:pPr>
            <a:endParaRPr lang="de-DE" sz="1400" dirty="0">
              <a:latin typeface="Segoe UI" panose="020B0502040204020203" pitchFamily="34" charset="0"/>
              <a:cs typeface="Segoe UI" panose="020B0502040204020203" pitchFamily="34" charset="0"/>
            </a:endParaRPr>
          </a:p>
        </p:txBody>
      </p:sp>
      <p:sp>
        <p:nvSpPr>
          <p:cNvPr id="8" name="Oval 551">
            <a:extLst>
              <a:ext uri="{FF2B5EF4-FFF2-40B4-BE49-F238E27FC236}">
                <a16:creationId xmlns:a16="http://schemas.microsoft.com/office/drawing/2014/main" id="{BE944444-574A-AE15-77D7-FFAB9496A1FC}"/>
              </a:ext>
            </a:extLst>
          </p:cNvPr>
          <p:cNvSpPr/>
          <p:nvPr/>
        </p:nvSpPr>
        <p:spPr>
          <a:xfrm>
            <a:off x="4756234" y="2496414"/>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11" name="Graphic 315">
            <a:extLst>
              <a:ext uri="{FF2B5EF4-FFF2-40B4-BE49-F238E27FC236}">
                <a16:creationId xmlns:a16="http://schemas.microsoft.com/office/drawing/2014/main" id="{6CD6544D-42E9-ADE7-A2FC-A20514994D4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79532" y="2579652"/>
            <a:ext cx="208971" cy="291688"/>
          </a:xfrm>
          <a:prstGeom prst="rect">
            <a:avLst/>
          </a:prstGeom>
          <a:solidFill>
            <a:srgbClr val="FBBA00"/>
          </a:solidFill>
        </p:spPr>
      </p:pic>
    </p:spTree>
    <p:extLst>
      <p:ext uri="{BB962C8B-B14F-4D97-AF65-F5344CB8AC3E}">
        <p14:creationId xmlns:p14="http://schemas.microsoft.com/office/powerpoint/2010/main" val="1645875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6DD27E-DF5F-C2BB-5BE1-1C8EC36634DE}"/>
            </a:ext>
          </a:extLst>
        </p:cNvPr>
        <p:cNvGrpSpPr/>
        <p:nvPr/>
      </p:nvGrpSpPr>
      <p:grpSpPr>
        <a:xfrm>
          <a:off x="0" y="0"/>
          <a:ext cx="0" cy="0"/>
          <a:chOff x="0" y="0"/>
          <a:chExt cx="0" cy="0"/>
        </a:xfrm>
      </p:grpSpPr>
      <p:grpSp>
        <p:nvGrpSpPr>
          <p:cNvPr id="3" name="Gruppieren 2">
            <a:extLst>
              <a:ext uri="{FF2B5EF4-FFF2-40B4-BE49-F238E27FC236}">
                <a16:creationId xmlns:a16="http://schemas.microsoft.com/office/drawing/2014/main" id="{25BAE3F4-5F17-21A5-79BD-64324AA45FA5}"/>
              </a:ext>
            </a:extLst>
          </p:cNvPr>
          <p:cNvGrpSpPr/>
          <p:nvPr/>
        </p:nvGrpSpPr>
        <p:grpSpPr>
          <a:xfrm>
            <a:off x="2082811" y="2756377"/>
            <a:ext cx="1405717" cy="3985406"/>
            <a:chOff x="2462777" y="1904484"/>
            <a:chExt cx="1405717" cy="3985406"/>
          </a:xfrm>
        </p:grpSpPr>
        <p:grpSp>
          <p:nvGrpSpPr>
            <p:cNvPr id="102" name="Group 138">
              <a:extLst>
                <a:ext uri="{FF2B5EF4-FFF2-40B4-BE49-F238E27FC236}">
                  <a16:creationId xmlns:a16="http://schemas.microsoft.com/office/drawing/2014/main" id="{1225D2D7-CA3E-13AF-4273-A7AFDC8D1169}"/>
                </a:ext>
              </a:extLst>
            </p:cNvPr>
            <p:cNvGrpSpPr/>
            <p:nvPr/>
          </p:nvGrpSpPr>
          <p:grpSpPr>
            <a:xfrm>
              <a:off x="2934725" y="1904484"/>
              <a:ext cx="461820" cy="461820"/>
              <a:chOff x="1236144" y="1532568"/>
              <a:chExt cx="834324" cy="834324"/>
            </a:xfrm>
          </p:grpSpPr>
          <p:sp>
            <p:nvSpPr>
              <p:cNvPr id="103" name="Freeform: Shape 139">
                <a:extLst>
                  <a:ext uri="{FF2B5EF4-FFF2-40B4-BE49-F238E27FC236}">
                    <a16:creationId xmlns:a16="http://schemas.microsoft.com/office/drawing/2014/main" id="{A14F979D-CEE2-EA77-CE70-638C29640B8F}"/>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4" name="Freeform: Shape 140">
                <a:extLst>
                  <a:ext uri="{FF2B5EF4-FFF2-40B4-BE49-F238E27FC236}">
                    <a16:creationId xmlns:a16="http://schemas.microsoft.com/office/drawing/2014/main" id="{279B113E-0446-5959-7827-7975BC159AAC}"/>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5" name="Oval 157">
                <a:extLst>
                  <a:ext uri="{FF2B5EF4-FFF2-40B4-BE49-F238E27FC236}">
                    <a16:creationId xmlns:a16="http://schemas.microsoft.com/office/drawing/2014/main" id="{54F54E70-08D3-915D-AF25-90554702E1EE}"/>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06" name="Freeform: Shape 142">
                <a:extLst>
                  <a:ext uri="{FF2B5EF4-FFF2-40B4-BE49-F238E27FC236}">
                    <a16:creationId xmlns:a16="http://schemas.microsoft.com/office/drawing/2014/main" id="{CC7A1707-E09C-9D35-51D6-3F784B3D716E}"/>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2" name="Gruppieren 1">
              <a:extLst>
                <a:ext uri="{FF2B5EF4-FFF2-40B4-BE49-F238E27FC236}">
                  <a16:creationId xmlns:a16="http://schemas.microsoft.com/office/drawing/2014/main" id="{2A5F2992-FB1F-DE81-B365-AC72DB824B53}"/>
                </a:ext>
              </a:extLst>
            </p:cNvPr>
            <p:cNvGrpSpPr/>
            <p:nvPr/>
          </p:nvGrpSpPr>
          <p:grpSpPr>
            <a:xfrm>
              <a:off x="2462777" y="2379623"/>
              <a:ext cx="1405717" cy="3510267"/>
              <a:chOff x="2462777" y="2379623"/>
              <a:chExt cx="1405717" cy="3510267"/>
            </a:xfrm>
          </p:grpSpPr>
          <p:sp>
            <p:nvSpPr>
              <p:cNvPr id="100" name="Textfeld 99">
                <a:extLst>
                  <a:ext uri="{FF2B5EF4-FFF2-40B4-BE49-F238E27FC236}">
                    <a16:creationId xmlns:a16="http://schemas.microsoft.com/office/drawing/2014/main" id="{3407C938-233C-BDEE-F3A4-B2605C569882}"/>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07" name="Pfeil nach unten 91">
                <a:extLst>
                  <a:ext uri="{FF2B5EF4-FFF2-40B4-BE49-F238E27FC236}">
                    <a16:creationId xmlns:a16="http://schemas.microsoft.com/office/drawing/2014/main" id="{A59E9203-1FEF-1DFA-C9B5-21172F506D41}"/>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nvGrpSpPr>
              <p:cNvPr id="108" name="Group 138">
                <a:extLst>
                  <a:ext uri="{FF2B5EF4-FFF2-40B4-BE49-F238E27FC236}">
                    <a16:creationId xmlns:a16="http://schemas.microsoft.com/office/drawing/2014/main" id="{6B201D2B-1973-E87C-02B3-73854EDF9E9A}"/>
                  </a:ext>
                </a:extLst>
              </p:cNvPr>
              <p:cNvGrpSpPr/>
              <p:nvPr/>
            </p:nvGrpSpPr>
            <p:grpSpPr>
              <a:xfrm>
                <a:off x="3158154" y="3941620"/>
                <a:ext cx="3200" cy="4053"/>
                <a:chOff x="1650415" y="1908302"/>
                <a:chExt cx="5782" cy="7322"/>
              </a:xfrm>
            </p:grpSpPr>
            <p:sp>
              <p:nvSpPr>
                <p:cNvPr id="109" name="Freeform: Shape 139">
                  <a:extLst>
                    <a:ext uri="{FF2B5EF4-FFF2-40B4-BE49-F238E27FC236}">
                      <a16:creationId xmlns:a16="http://schemas.microsoft.com/office/drawing/2014/main" id="{79364470-07DE-BA02-FD9B-D13885A1A13C}"/>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0" name="Freeform: Shape 140">
                  <a:extLst>
                    <a:ext uri="{FF2B5EF4-FFF2-40B4-BE49-F238E27FC236}">
                      <a16:creationId xmlns:a16="http://schemas.microsoft.com/office/drawing/2014/main" id="{F9B717ED-A7A9-A578-2097-B8B9453465D4}"/>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114" name="Group 138">
                <a:extLst>
                  <a:ext uri="{FF2B5EF4-FFF2-40B4-BE49-F238E27FC236}">
                    <a16:creationId xmlns:a16="http://schemas.microsoft.com/office/drawing/2014/main" id="{DCD24B74-0D8B-0694-C4DD-71D53D465FC7}"/>
                  </a:ext>
                </a:extLst>
              </p:cNvPr>
              <p:cNvGrpSpPr/>
              <p:nvPr/>
            </p:nvGrpSpPr>
            <p:grpSpPr>
              <a:xfrm>
                <a:off x="3163895" y="5885837"/>
                <a:ext cx="3200" cy="4053"/>
                <a:chOff x="1650415" y="1908302"/>
                <a:chExt cx="5782" cy="7322"/>
              </a:xfrm>
            </p:grpSpPr>
            <p:sp>
              <p:nvSpPr>
                <p:cNvPr id="115" name="Freeform: Shape 139">
                  <a:extLst>
                    <a:ext uri="{FF2B5EF4-FFF2-40B4-BE49-F238E27FC236}">
                      <a16:creationId xmlns:a16="http://schemas.microsoft.com/office/drawing/2014/main" id="{2A9A530D-7AE1-3574-3B5A-3D20EAC45A03}"/>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6" name="Freeform: Shape 140">
                  <a:extLst>
                    <a:ext uri="{FF2B5EF4-FFF2-40B4-BE49-F238E27FC236}">
                      <a16:creationId xmlns:a16="http://schemas.microsoft.com/office/drawing/2014/main" id="{BBCA14DA-D7C0-5ADC-7453-90CA801ACFE2}"/>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grpSp>
      <p:sp>
        <p:nvSpPr>
          <p:cNvPr id="4" name="Rechteck 3">
            <a:extLst>
              <a:ext uri="{FF2B5EF4-FFF2-40B4-BE49-F238E27FC236}">
                <a16:creationId xmlns:a16="http://schemas.microsoft.com/office/drawing/2014/main" id="{676D87C9-4EDF-D74D-740C-D6703D32C7D5}"/>
              </a:ext>
            </a:extLst>
          </p:cNvPr>
          <p:cNvSpPr/>
          <p:nvPr/>
        </p:nvSpPr>
        <p:spPr>
          <a:xfrm>
            <a:off x="2239845" y="4597606"/>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9" name="Textplatzhalter 1">
            <a:extLst>
              <a:ext uri="{FF2B5EF4-FFF2-40B4-BE49-F238E27FC236}">
                <a16:creationId xmlns:a16="http://schemas.microsoft.com/office/drawing/2014/main" id="{04180AAE-ABE0-5AD7-ED18-E1A51F9FC10C}"/>
              </a:ext>
            </a:extLst>
          </p:cNvPr>
          <p:cNvSpPr txBox="1">
            <a:spLocks/>
          </p:cNvSpPr>
          <p:nvPr/>
        </p:nvSpPr>
        <p:spPr>
          <a:xfrm>
            <a:off x="555070" y="4676103"/>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0" name="Textplatzhalter 1">
            <a:extLst>
              <a:ext uri="{FF2B5EF4-FFF2-40B4-BE49-F238E27FC236}">
                <a16:creationId xmlns:a16="http://schemas.microsoft.com/office/drawing/2014/main" id="{B0973E9B-ED38-52F3-6788-037D08C32325}"/>
              </a:ext>
            </a:extLst>
          </p:cNvPr>
          <p:cNvSpPr txBox="1">
            <a:spLocks/>
          </p:cNvSpPr>
          <p:nvPr/>
        </p:nvSpPr>
        <p:spPr>
          <a:xfrm>
            <a:off x="555070" y="2759052"/>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5" name="TextBox 1">
            <a:extLst>
              <a:ext uri="{FF2B5EF4-FFF2-40B4-BE49-F238E27FC236}">
                <a16:creationId xmlns:a16="http://schemas.microsoft.com/office/drawing/2014/main" id="{A32039E1-7EA5-36B1-DB9D-BADD382FF52F}"/>
              </a:ext>
            </a:extLst>
          </p:cNvPr>
          <p:cNvSpPr txBox="1"/>
          <p:nvPr/>
        </p:nvSpPr>
        <p:spPr>
          <a:xfrm>
            <a:off x="1670424" y="1084321"/>
            <a:ext cx="9324678"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Abfind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Pensionszusage</a:t>
            </a:r>
            <a:endPar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endParaRPr>
          </a:p>
        </p:txBody>
      </p:sp>
      <p:sp>
        <p:nvSpPr>
          <p:cNvPr id="6" name="Nach oben gekrümmter Pfeil 26">
            <a:extLst>
              <a:ext uri="{FF2B5EF4-FFF2-40B4-BE49-F238E27FC236}">
                <a16:creationId xmlns:a16="http://schemas.microsoft.com/office/drawing/2014/main" id="{A93146E7-61E2-31ED-F8F1-0F9DDE5EDD72}"/>
              </a:ext>
            </a:extLst>
          </p:cNvPr>
          <p:cNvSpPr/>
          <p:nvPr/>
        </p:nvSpPr>
        <p:spPr>
          <a:xfrm rot="16200000">
            <a:off x="3406137" y="3325449"/>
            <a:ext cx="2469172" cy="960633"/>
          </a:xfrm>
          <a:prstGeom prst="curvedUp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7" name="7 CuadroTexto">
            <a:extLst>
              <a:ext uri="{FF2B5EF4-FFF2-40B4-BE49-F238E27FC236}">
                <a16:creationId xmlns:a16="http://schemas.microsoft.com/office/drawing/2014/main" id="{49752082-D4E7-908B-7379-33A9C1D250C8}"/>
              </a:ext>
            </a:extLst>
          </p:cNvPr>
          <p:cNvSpPr txBox="1"/>
          <p:nvPr/>
        </p:nvSpPr>
        <p:spPr>
          <a:xfrm>
            <a:off x="5116317" y="2730475"/>
            <a:ext cx="3693689" cy="1991186"/>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Abfindungsbetrag = Arbeitslohn</a:t>
            </a:r>
          </a:p>
          <a:p>
            <a:pPr>
              <a:lnSpc>
                <a:spcPct val="150000"/>
              </a:lnSpc>
            </a:pPr>
            <a:r>
              <a:rPr lang="de-DE" sz="1400" b="1" u="sng" dirty="0">
                <a:latin typeface="Segoe UI" panose="020B0502040204020203" pitchFamily="34" charset="0"/>
                <a:cs typeface="Segoe UI" panose="020B0502040204020203" pitchFamily="34" charset="0"/>
                <a:sym typeface="Wingdings" panose="05000000000000000000" pitchFamily="2" charset="2"/>
              </a:rPr>
              <a:t>und</a:t>
            </a:r>
            <a:r>
              <a:rPr lang="de-DE" sz="1400" dirty="0">
                <a:latin typeface="Segoe UI" panose="020B0502040204020203" pitchFamily="34" charset="0"/>
                <a:cs typeface="Segoe UI" panose="020B0502040204020203" pitchFamily="34" charset="0"/>
                <a:sym typeface="Wingdings" panose="05000000000000000000" pitchFamily="2" charset="2"/>
              </a:rPr>
              <a:t> </a:t>
            </a:r>
          </a:p>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Verzicht = verdeckte Gewinnausschüttung</a:t>
            </a:r>
          </a:p>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 </a:t>
            </a:r>
          </a:p>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  </a:t>
            </a:r>
          </a:p>
          <a:p>
            <a:pPr>
              <a:lnSpc>
                <a:spcPct val="150000"/>
              </a:lnSpc>
            </a:pPr>
            <a:endParaRPr lang="de-DE" sz="1400" dirty="0">
              <a:latin typeface="Segoe UI" panose="020B0502040204020203" pitchFamily="34" charset="0"/>
              <a:cs typeface="Segoe UI" panose="020B0502040204020203" pitchFamily="34" charset="0"/>
            </a:endParaRPr>
          </a:p>
        </p:txBody>
      </p:sp>
      <p:sp>
        <p:nvSpPr>
          <p:cNvPr id="8" name="Oval 450">
            <a:extLst>
              <a:ext uri="{FF2B5EF4-FFF2-40B4-BE49-F238E27FC236}">
                <a16:creationId xmlns:a16="http://schemas.microsoft.com/office/drawing/2014/main" id="{EA089902-8099-68C6-EFAE-33B2995B53CB}"/>
              </a:ext>
            </a:extLst>
          </p:cNvPr>
          <p:cNvSpPr/>
          <p:nvPr/>
        </p:nvSpPr>
        <p:spPr>
          <a:xfrm>
            <a:off x="8703386" y="2894161"/>
            <a:ext cx="648072" cy="648072"/>
          </a:xfrm>
          <a:prstGeom prst="ellipse">
            <a:avLst/>
          </a:prstGeom>
          <a:solidFill>
            <a:srgbClr val="F1607C"/>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pic>
        <p:nvPicPr>
          <p:cNvPr id="11" name="Graphic 100">
            <a:extLst>
              <a:ext uri="{FF2B5EF4-FFF2-40B4-BE49-F238E27FC236}">
                <a16:creationId xmlns:a16="http://schemas.microsoft.com/office/drawing/2014/main" id="{1AF5D342-4697-8C44-9457-58B115A2C74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45430" y="3082709"/>
            <a:ext cx="341237" cy="314578"/>
          </a:xfrm>
          <a:prstGeom prst="rect">
            <a:avLst/>
          </a:prstGeom>
          <a:solidFill>
            <a:srgbClr val="F1607C"/>
          </a:solidFill>
        </p:spPr>
      </p:pic>
      <p:sp>
        <p:nvSpPr>
          <p:cNvPr id="12" name="Oval 551">
            <a:extLst>
              <a:ext uri="{FF2B5EF4-FFF2-40B4-BE49-F238E27FC236}">
                <a16:creationId xmlns:a16="http://schemas.microsoft.com/office/drawing/2014/main" id="{6798AB46-B706-9002-E7BE-DDE6B4A15529}"/>
              </a:ext>
            </a:extLst>
          </p:cNvPr>
          <p:cNvSpPr/>
          <p:nvPr/>
        </p:nvSpPr>
        <p:spPr>
          <a:xfrm>
            <a:off x="4756234" y="2496414"/>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13" name="Graphic 315">
            <a:extLst>
              <a:ext uri="{FF2B5EF4-FFF2-40B4-BE49-F238E27FC236}">
                <a16:creationId xmlns:a16="http://schemas.microsoft.com/office/drawing/2014/main" id="{606AA69A-2A3D-2750-1995-A248AB6B253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79532" y="2579652"/>
            <a:ext cx="208971" cy="291688"/>
          </a:xfrm>
          <a:prstGeom prst="rect">
            <a:avLst/>
          </a:prstGeom>
          <a:solidFill>
            <a:srgbClr val="FBBA00"/>
          </a:solidFill>
        </p:spPr>
      </p:pic>
    </p:spTree>
    <p:extLst>
      <p:ext uri="{BB962C8B-B14F-4D97-AF65-F5344CB8AC3E}">
        <p14:creationId xmlns:p14="http://schemas.microsoft.com/office/powerpoint/2010/main" val="161917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C2E848-1214-DC32-CEB8-65BE6DD6AA17}"/>
            </a:ext>
          </a:extLst>
        </p:cNvPr>
        <p:cNvGrpSpPr/>
        <p:nvPr/>
      </p:nvGrpSpPr>
      <p:grpSpPr>
        <a:xfrm>
          <a:off x="0" y="0"/>
          <a:ext cx="0" cy="0"/>
          <a:chOff x="0" y="0"/>
          <a:chExt cx="0" cy="0"/>
        </a:xfrm>
      </p:grpSpPr>
      <p:grpSp>
        <p:nvGrpSpPr>
          <p:cNvPr id="3" name="Gruppieren 2">
            <a:extLst>
              <a:ext uri="{FF2B5EF4-FFF2-40B4-BE49-F238E27FC236}">
                <a16:creationId xmlns:a16="http://schemas.microsoft.com/office/drawing/2014/main" id="{B027D400-E2CB-0C9E-1C42-8F6D005CE735}"/>
              </a:ext>
            </a:extLst>
          </p:cNvPr>
          <p:cNvGrpSpPr/>
          <p:nvPr/>
        </p:nvGrpSpPr>
        <p:grpSpPr>
          <a:xfrm>
            <a:off x="2082811" y="2756377"/>
            <a:ext cx="1405717" cy="3985406"/>
            <a:chOff x="2462777" y="1904484"/>
            <a:chExt cx="1405717" cy="3985406"/>
          </a:xfrm>
        </p:grpSpPr>
        <p:grpSp>
          <p:nvGrpSpPr>
            <p:cNvPr id="102" name="Group 138">
              <a:extLst>
                <a:ext uri="{FF2B5EF4-FFF2-40B4-BE49-F238E27FC236}">
                  <a16:creationId xmlns:a16="http://schemas.microsoft.com/office/drawing/2014/main" id="{E9CEECDF-9E5B-F27E-2E2D-75BC16BCC8F7}"/>
                </a:ext>
              </a:extLst>
            </p:cNvPr>
            <p:cNvGrpSpPr/>
            <p:nvPr/>
          </p:nvGrpSpPr>
          <p:grpSpPr>
            <a:xfrm>
              <a:off x="2934725" y="1904484"/>
              <a:ext cx="461820" cy="461820"/>
              <a:chOff x="1236144" y="1532568"/>
              <a:chExt cx="834324" cy="834324"/>
            </a:xfrm>
          </p:grpSpPr>
          <p:sp>
            <p:nvSpPr>
              <p:cNvPr id="103" name="Freeform: Shape 139">
                <a:extLst>
                  <a:ext uri="{FF2B5EF4-FFF2-40B4-BE49-F238E27FC236}">
                    <a16:creationId xmlns:a16="http://schemas.microsoft.com/office/drawing/2014/main" id="{6CD82CED-5767-85D3-B881-64A568837223}"/>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4" name="Freeform: Shape 140">
                <a:extLst>
                  <a:ext uri="{FF2B5EF4-FFF2-40B4-BE49-F238E27FC236}">
                    <a16:creationId xmlns:a16="http://schemas.microsoft.com/office/drawing/2014/main" id="{0EBBFC6F-3433-842A-ABCB-69DD1C89836F}"/>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05" name="Oval 157">
                <a:extLst>
                  <a:ext uri="{FF2B5EF4-FFF2-40B4-BE49-F238E27FC236}">
                    <a16:creationId xmlns:a16="http://schemas.microsoft.com/office/drawing/2014/main" id="{6FFADA8C-B669-11DB-7E25-DA6DDE20AC08}"/>
                  </a:ext>
                </a:extLst>
              </p:cNvPr>
              <p:cNvSpPr/>
              <p:nvPr/>
            </p:nvSpPr>
            <p:spPr>
              <a:xfrm flipH="1">
                <a:off x="1236144" y="1532568"/>
                <a:ext cx="834324" cy="834324"/>
              </a:xfrm>
              <a:prstGeom prst="ellipse">
                <a:avLst/>
              </a:prstGeom>
              <a:solidFill>
                <a:srgbClr val="0093A7"/>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sp>
            <p:nvSpPr>
              <p:cNvPr id="106" name="Freeform: Shape 142">
                <a:extLst>
                  <a:ext uri="{FF2B5EF4-FFF2-40B4-BE49-F238E27FC236}">
                    <a16:creationId xmlns:a16="http://schemas.microsoft.com/office/drawing/2014/main" id="{4B09513E-D680-6AB5-FA28-270C5F4C5BFC}"/>
                  </a:ext>
                </a:extLst>
              </p:cNvPr>
              <p:cNvSpPr/>
              <p:nvPr/>
            </p:nvSpPr>
            <p:spPr bwMode="auto">
              <a:xfrm>
                <a:off x="1473618" y="1689627"/>
                <a:ext cx="359376" cy="495982"/>
              </a:xfrm>
              <a:custGeom>
                <a:avLst/>
                <a:gdLst>
                  <a:gd name="connsiteX0" fmla="*/ 1248396 w 2496792"/>
                  <a:gd name="connsiteY0" fmla="*/ 0 h 3243855"/>
                  <a:gd name="connsiteX1" fmla="*/ 1872208 w 2496792"/>
                  <a:gd name="connsiteY1" fmla="*/ 677239 h 3243855"/>
                  <a:gd name="connsiteX2" fmla="*/ 1491212 w 2496792"/>
                  <a:gd name="connsiteY2" fmla="*/ 1301257 h 3243855"/>
                  <a:gd name="connsiteX3" fmla="*/ 1473815 w 2496792"/>
                  <a:gd name="connsiteY3" fmla="*/ 1307120 h 3243855"/>
                  <a:gd name="connsiteX4" fmla="*/ 1499992 w 2496792"/>
                  <a:gd name="connsiteY4" fmla="*/ 1311729 h 3243855"/>
                  <a:gd name="connsiteX5" fmla="*/ 2496792 w 2496792"/>
                  <a:gd name="connsiteY5" fmla="*/ 2722630 h 3243855"/>
                  <a:gd name="connsiteX6" fmla="*/ 2471429 w 2496792"/>
                  <a:gd name="connsiteY6" fmla="*/ 3012873 h 3243855"/>
                  <a:gd name="connsiteX7" fmla="*/ 2451628 w 2496792"/>
                  <a:gd name="connsiteY7" fmla="*/ 3101711 h 3243855"/>
                  <a:gd name="connsiteX8" fmla="*/ 2451628 w 2496792"/>
                  <a:gd name="connsiteY8" fmla="*/ 3060024 h 3243855"/>
                  <a:gd name="connsiteX9" fmla="*/ 1240914 w 2496792"/>
                  <a:gd name="connsiteY9" fmla="*/ 3243855 h 3243855"/>
                  <a:gd name="connsiteX10" fmla="*/ 54801 w 2496792"/>
                  <a:gd name="connsiteY10" fmla="*/ 3097083 h 3243855"/>
                  <a:gd name="connsiteX11" fmla="*/ 41093 w 2496792"/>
                  <a:gd name="connsiteY11" fmla="*/ 3083444 h 3243855"/>
                  <a:gd name="connsiteX12" fmla="*/ 25363 w 2496792"/>
                  <a:gd name="connsiteY12" fmla="*/ 3012873 h 3243855"/>
                  <a:gd name="connsiteX13" fmla="*/ 0 w 2496792"/>
                  <a:gd name="connsiteY13" fmla="*/ 2722630 h 3243855"/>
                  <a:gd name="connsiteX14" fmla="*/ 996801 w 2496792"/>
                  <a:gd name="connsiteY14" fmla="*/ 1311729 h 3243855"/>
                  <a:gd name="connsiteX15" fmla="*/ 1022978 w 2496792"/>
                  <a:gd name="connsiteY15" fmla="*/ 1307120 h 3243855"/>
                  <a:gd name="connsiteX16" fmla="*/ 1005580 w 2496792"/>
                  <a:gd name="connsiteY16" fmla="*/ 1301257 h 3243855"/>
                  <a:gd name="connsiteX17" fmla="*/ 624584 w 2496792"/>
                  <a:gd name="connsiteY17" fmla="*/ 677239 h 3243855"/>
                  <a:gd name="connsiteX18" fmla="*/ 1248396 w 2496792"/>
                  <a:gd name="connsiteY18" fmla="*/ 0 h 324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6792" h="3243855">
                    <a:moveTo>
                      <a:pt x="1248396" y="0"/>
                    </a:moveTo>
                    <a:cubicBezTo>
                      <a:pt x="1592918" y="0"/>
                      <a:pt x="1872208" y="303210"/>
                      <a:pt x="1872208" y="677239"/>
                    </a:cubicBezTo>
                    <a:cubicBezTo>
                      <a:pt x="1872208" y="957761"/>
                      <a:pt x="1715108" y="1198447"/>
                      <a:pt x="1491212" y="1301257"/>
                    </a:cubicBezTo>
                    <a:lnTo>
                      <a:pt x="1473815" y="1307120"/>
                    </a:lnTo>
                    <a:lnTo>
                      <a:pt x="1499992" y="1311729"/>
                    </a:lnTo>
                    <a:cubicBezTo>
                      <a:pt x="2068865" y="1446019"/>
                      <a:pt x="2496792" y="2026674"/>
                      <a:pt x="2496792" y="2722630"/>
                    </a:cubicBezTo>
                    <a:cubicBezTo>
                      <a:pt x="2496792" y="2822052"/>
                      <a:pt x="2488059" y="2919122"/>
                      <a:pt x="2471429" y="3012873"/>
                    </a:cubicBezTo>
                    <a:lnTo>
                      <a:pt x="2451628" y="3101711"/>
                    </a:lnTo>
                    <a:lnTo>
                      <a:pt x="2451628" y="3060024"/>
                    </a:lnTo>
                    <a:cubicBezTo>
                      <a:pt x="2451628" y="3161589"/>
                      <a:pt x="1909470" y="3243855"/>
                      <a:pt x="1240914" y="3243855"/>
                    </a:cubicBezTo>
                    <a:cubicBezTo>
                      <a:pt x="655927" y="3243855"/>
                      <a:pt x="167714" y="3180870"/>
                      <a:pt x="54801" y="3097083"/>
                    </a:cubicBezTo>
                    <a:lnTo>
                      <a:pt x="41093" y="3083444"/>
                    </a:lnTo>
                    <a:lnTo>
                      <a:pt x="25363" y="3012873"/>
                    </a:lnTo>
                    <a:cubicBezTo>
                      <a:pt x="8733" y="2919122"/>
                      <a:pt x="0" y="2822052"/>
                      <a:pt x="0" y="2722630"/>
                    </a:cubicBezTo>
                    <a:cubicBezTo>
                      <a:pt x="0" y="2026674"/>
                      <a:pt x="427928" y="1446019"/>
                      <a:pt x="996801" y="1311729"/>
                    </a:cubicBezTo>
                    <a:lnTo>
                      <a:pt x="1022978" y="1307120"/>
                    </a:lnTo>
                    <a:lnTo>
                      <a:pt x="1005580" y="1301257"/>
                    </a:lnTo>
                    <a:cubicBezTo>
                      <a:pt x="781685" y="1198447"/>
                      <a:pt x="624584" y="957761"/>
                      <a:pt x="624584" y="677239"/>
                    </a:cubicBezTo>
                    <a:cubicBezTo>
                      <a:pt x="624584" y="303210"/>
                      <a:pt x="903874" y="0"/>
                      <a:pt x="1248396" y="0"/>
                    </a:cubicBezTo>
                    <a:close/>
                  </a:path>
                </a:pathLst>
              </a:custGeom>
              <a:noFill/>
              <a:ln w="19050"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2" name="Gruppieren 1">
              <a:extLst>
                <a:ext uri="{FF2B5EF4-FFF2-40B4-BE49-F238E27FC236}">
                  <a16:creationId xmlns:a16="http://schemas.microsoft.com/office/drawing/2014/main" id="{8A180B12-614E-05B0-A1DD-38CC9DD98553}"/>
                </a:ext>
              </a:extLst>
            </p:cNvPr>
            <p:cNvGrpSpPr/>
            <p:nvPr/>
          </p:nvGrpSpPr>
          <p:grpSpPr>
            <a:xfrm>
              <a:off x="2462777" y="2379623"/>
              <a:ext cx="1405717" cy="3510267"/>
              <a:chOff x="2462777" y="2379623"/>
              <a:chExt cx="1405717" cy="3510267"/>
            </a:xfrm>
          </p:grpSpPr>
          <p:sp>
            <p:nvSpPr>
              <p:cNvPr id="100" name="Textfeld 99">
                <a:extLst>
                  <a:ext uri="{FF2B5EF4-FFF2-40B4-BE49-F238E27FC236}">
                    <a16:creationId xmlns:a16="http://schemas.microsoft.com/office/drawing/2014/main" id="{55B1DCBC-1F15-AFDC-77F4-CF03FCE6B4DC}"/>
                  </a:ext>
                </a:extLst>
              </p:cNvPr>
              <p:cNvSpPr txBox="1"/>
              <p:nvPr/>
            </p:nvSpPr>
            <p:spPr>
              <a:xfrm>
                <a:off x="2462777" y="2379623"/>
                <a:ext cx="1405717" cy="375657"/>
              </a:xfrm>
              <a:prstGeom prst="rect">
                <a:avLst/>
              </a:prstGeom>
              <a:noFill/>
            </p:spPr>
            <p:txBody>
              <a:bodyPr wrap="square" tIns="90000" bIns="90000" rtlCol="0">
                <a:spAutoFit/>
              </a:bodyPr>
              <a:lstStyle/>
              <a:p>
                <a:pPr algn="ctr" defTabSz="914400" fontAlgn="base">
                  <a:lnSpc>
                    <a:spcPct val="90000"/>
                  </a:lnSpc>
                  <a:spcBef>
                    <a:spcPct val="0"/>
                  </a:spcBef>
                  <a:spcAft>
                    <a:spcPct val="0"/>
                  </a:spcAft>
                </a:pPr>
                <a:r>
                  <a:rPr lang="de-DE" sz="1400" dirty="0">
                    <a:solidFill>
                      <a:srgbClr val="000000"/>
                    </a:solidFill>
                    <a:latin typeface="Segoe UI" panose="020B0502040204020203" pitchFamily="34" charset="0"/>
                    <a:cs typeface="Segoe UI" panose="020B0502040204020203" pitchFamily="34" charset="0"/>
                  </a:rPr>
                  <a:t>A </a:t>
                </a:r>
              </a:p>
            </p:txBody>
          </p:sp>
          <p:sp>
            <p:nvSpPr>
              <p:cNvPr id="107" name="Pfeil nach unten 91">
                <a:extLst>
                  <a:ext uri="{FF2B5EF4-FFF2-40B4-BE49-F238E27FC236}">
                    <a16:creationId xmlns:a16="http://schemas.microsoft.com/office/drawing/2014/main" id="{D3784AC2-EA89-D434-6855-4CC15891205A}"/>
                  </a:ext>
                </a:extLst>
              </p:cNvPr>
              <p:cNvSpPr/>
              <p:nvPr/>
            </p:nvSpPr>
            <p:spPr>
              <a:xfrm>
                <a:off x="3009579" y="2805153"/>
                <a:ext cx="290777" cy="814223"/>
              </a:xfrm>
              <a:prstGeom prst="down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nvGrpSpPr>
              <p:cNvPr id="108" name="Group 138">
                <a:extLst>
                  <a:ext uri="{FF2B5EF4-FFF2-40B4-BE49-F238E27FC236}">
                    <a16:creationId xmlns:a16="http://schemas.microsoft.com/office/drawing/2014/main" id="{CA7F2059-6B3A-D9C0-0250-56EA1C8EE58F}"/>
                  </a:ext>
                </a:extLst>
              </p:cNvPr>
              <p:cNvGrpSpPr/>
              <p:nvPr/>
            </p:nvGrpSpPr>
            <p:grpSpPr>
              <a:xfrm>
                <a:off x="3158154" y="3941620"/>
                <a:ext cx="3200" cy="4053"/>
                <a:chOff x="1650415" y="1908302"/>
                <a:chExt cx="5782" cy="7322"/>
              </a:xfrm>
            </p:grpSpPr>
            <p:sp>
              <p:nvSpPr>
                <p:cNvPr id="109" name="Freeform: Shape 139">
                  <a:extLst>
                    <a:ext uri="{FF2B5EF4-FFF2-40B4-BE49-F238E27FC236}">
                      <a16:creationId xmlns:a16="http://schemas.microsoft.com/office/drawing/2014/main" id="{C69B2C50-0C1C-FAE6-EBBF-0716A3484D8A}"/>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0" name="Freeform: Shape 140">
                  <a:extLst>
                    <a:ext uri="{FF2B5EF4-FFF2-40B4-BE49-F238E27FC236}">
                      <a16:creationId xmlns:a16="http://schemas.microsoft.com/office/drawing/2014/main" id="{195C55D4-DBDF-FECB-8E9F-984625857247}"/>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nvGrpSpPr>
              <p:cNvPr id="114" name="Group 138">
                <a:extLst>
                  <a:ext uri="{FF2B5EF4-FFF2-40B4-BE49-F238E27FC236}">
                    <a16:creationId xmlns:a16="http://schemas.microsoft.com/office/drawing/2014/main" id="{E524C877-AEB1-EC1D-C7D6-0BC645821395}"/>
                  </a:ext>
                </a:extLst>
              </p:cNvPr>
              <p:cNvGrpSpPr/>
              <p:nvPr/>
            </p:nvGrpSpPr>
            <p:grpSpPr>
              <a:xfrm>
                <a:off x="3163895" y="5885837"/>
                <a:ext cx="3200" cy="4053"/>
                <a:chOff x="1650415" y="1908302"/>
                <a:chExt cx="5782" cy="7322"/>
              </a:xfrm>
            </p:grpSpPr>
            <p:sp>
              <p:nvSpPr>
                <p:cNvPr id="115" name="Freeform: Shape 139">
                  <a:extLst>
                    <a:ext uri="{FF2B5EF4-FFF2-40B4-BE49-F238E27FC236}">
                      <a16:creationId xmlns:a16="http://schemas.microsoft.com/office/drawing/2014/main" id="{D3915DC3-81EA-0C7D-0CC8-1654AC608A71}"/>
                    </a:ext>
                  </a:extLst>
                </p:cNvPr>
                <p:cNvSpPr/>
                <p:nvPr/>
              </p:nvSpPr>
              <p:spPr bwMode="auto">
                <a:xfrm>
                  <a:off x="1650415" y="1908302"/>
                  <a:ext cx="5782" cy="7322"/>
                </a:xfrm>
                <a:custGeom>
                  <a:avLst/>
                  <a:gdLst>
                    <a:gd name="connsiteX0" fmla="*/ 5782 w 5782"/>
                    <a:gd name="connsiteY0" fmla="*/ 0 h 7322"/>
                    <a:gd name="connsiteX1" fmla="*/ 5782 w 5782"/>
                    <a:gd name="connsiteY1" fmla="*/ 7322 h 7322"/>
                    <a:gd name="connsiteX2" fmla="*/ 0 w 5782"/>
                    <a:gd name="connsiteY2" fmla="*/ 2309 h 7322"/>
                    <a:gd name="connsiteX3" fmla="*/ 5782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5782" y="0"/>
                      </a:moveTo>
                      <a:lnTo>
                        <a:pt x="5782" y="7322"/>
                      </a:lnTo>
                      <a:lnTo>
                        <a:pt x="0" y="2309"/>
                      </a:lnTo>
                      <a:lnTo>
                        <a:pt x="5782"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116" name="Freeform: Shape 140">
                  <a:extLst>
                    <a:ext uri="{FF2B5EF4-FFF2-40B4-BE49-F238E27FC236}">
                      <a16:creationId xmlns:a16="http://schemas.microsoft.com/office/drawing/2014/main" id="{BC0C6575-AEF9-D80D-BE54-C5814342CD59}"/>
                    </a:ext>
                  </a:extLst>
                </p:cNvPr>
                <p:cNvSpPr/>
                <p:nvPr/>
              </p:nvSpPr>
              <p:spPr bwMode="auto">
                <a:xfrm>
                  <a:off x="1650415" y="1908302"/>
                  <a:ext cx="5782" cy="7322"/>
                </a:xfrm>
                <a:custGeom>
                  <a:avLst/>
                  <a:gdLst>
                    <a:gd name="connsiteX0" fmla="*/ 0 w 5782"/>
                    <a:gd name="connsiteY0" fmla="*/ 0 h 7322"/>
                    <a:gd name="connsiteX1" fmla="*/ 5782 w 5782"/>
                    <a:gd name="connsiteY1" fmla="*/ 2309 h 7322"/>
                    <a:gd name="connsiteX2" fmla="*/ 0 w 5782"/>
                    <a:gd name="connsiteY2" fmla="*/ 7322 h 7322"/>
                    <a:gd name="connsiteX3" fmla="*/ 0 w 5782"/>
                    <a:gd name="connsiteY3" fmla="*/ 0 h 7322"/>
                  </a:gdLst>
                  <a:ahLst/>
                  <a:cxnLst>
                    <a:cxn ang="0">
                      <a:pos x="connsiteX0" y="connsiteY0"/>
                    </a:cxn>
                    <a:cxn ang="0">
                      <a:pos x="connsiteX1" y="connsiteY1"/>
                    </a:cxn>
                    <a:cxn ang="0">
                      <a:pos x="connsiteX2" y="connsiteY2"/>
                    </a:cxn>
                    <a:cxn ang="0">
                      <a:pos x="connsiteX3" y="connsiteY3"/>
                    </a:cxn>
                  </a:cxnLst>
                  <a:rect l="l" t="t" r="r" b="b"/>
                  <a:pathLst>
                    <a:path w="5782" h="7322">
                      <a:moveTo>
                        <a:pt x="0" y="0"/>
                      </a:moveTo>
                      <a:lnTo>
                        <a:pt x="5782" y="2309"/>
                      </a:lnTo>
                      <a:lnTo>
                        <a:pt x="0" y="7322"/>
                      </a:lnTo>
                      <a:lnTo>
                        <a:pt x="0" y="0"/>
                      </a:lnTo>
                      <a:close/>
                    </a:path>
                  </a:pathLst>
                </a:custGeom>
                <a:solidFill>
                  <a:srgbClr val="FFFFFF"/>
                </a:solidFill>
                <a:ln w="9525" cap="flat" cmpd="sng" algn="ctr">
                  <a:solidFill>
                    <a:srgbClr val="00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grpSp>
        </p:grpSp>
      </p:grpSp>
      <p:sp>
        <p:nvSpPr>
          <p:cNvPr id="4" name="Rechteck 3">
            <a:extLst>
              <a:ext uri="{FF2B5EF4-FFF2-40B4-BE49-F238E27FC236}">
                <a16:creationId xmlns:a16="http://schemas.microsoft.com/office/drawing/2014/main" id="{4E5C305F-768F-E4F0-4D64-A2C7E0605750}"/>
              </a:ext>
            </a:extLst>
          </p:cNvPr>
          <p:cNvSpPr/>
          <p:nvPr/>
        </p:nvSpPr>
        <p:spPr>
          <a:xfrm>
            <a:off x="2239845" y="4597606"/>
            <a:ext cx="1836617" cy="614171"/>
          </a:xfrm>
          <a:prstGeom prst="rect">
            <a:avLst/>
          </a:prstGeom>
          <a:solidFill>
            <a:srgbClr val="E1E3E5"/>
          </a:solidFill>
        </p:spPr>
        <p:txBody>
          <a:bodyPr vert="horz" lIns="91440" tIns="90000" rIns="91440" bIns="90000" rtlCol="0" anchor="t" anchorCtr="0">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800" b="1" i="0" u="none" strike="noStrike" kern="0" cap="none" spc="0" normalizeH="0" baseline="0" noProof="0" dirty="0">
              <a:ln>
                <a:noFill/>
              </a:ln>
              <a:solidFill>
                <a:srgbClr val="000000"/>
              </a:solidFill>
              <a:effectLst/>
              <a:uLnTx/>
              <a:uFillTx/>
              <a:latin typeface="Arial" charset="0"/>
            </a:endParaRP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Arial" charset="0"/>
              </a:rPr>
              <a:t>A-GmbH</a:t>
            </a:r>
          </a:p>
        </p:txBody>
      </p:sp>
      <p:sp>
        <p:nvSpPr>
          <p:cNvPr id="9" name="Textplatzhalter 1">
            <a:extLst>
              <a:ext uri="{FF2B5EF4-FFF2-40B4-BE49-F238E27FC236}">
                <a16:creationId xmlns:a16="http://schemas.microsoft.com/office/drawing/2014/main" id="{1821F74F-A802-B66E-9692-8565277DE2FF}"/>
              </a:ext>
            </a:extLst>
          </p:cNvPr>
          <p:cNvSpPr txBox="1">
            <a:spLocks/>
          </p:cNvSpPr>
          <p:nvPr/>
        </p:nvSpPr>
        <p:spPr>
          <a:xfrm>
            <a:off x="555070" y="4676103"/>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baseline="0" noProof="0" dirty="0" err="1">
                <a:ln>
                  <a:noFill/>
                </a:ln>
                <a:solidFill>
                  <a:srgbClr val="000000"/>
                </a:solidFill>
                <a:effectLst/>
                <a:uLnTx/>
                <a:uFillTx/>
                <a:latin typeface="Segoe UI" panose="020B0502040204020203" pitchFamily="34" charset="0"/>
                <a:cs typeface="Segoe UI" panose="020B0502040204020203" pitchFamily="34" charset="0"/>
              </a:rPr>
              <a:t>verpflichtung</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0" name="Textplatzhalter 1">
            <a:extLst>
              <a:ext uri="{FF2B5EF4-FFF2-40B4-BE49-F238E27FC236}">
                <a16:creationId xmlns:a16="http://schemas.microsoft.com/office/drawing/2014/main" id="{41710ED1-2811-7095-D7E3-707BC938B73F}"/>
              </a:ext>
            </a:extLst>
          </p:cNvPr>
          <p:cNvSpPr txBox="1">
            <a:spLocks/>
          </p:cNvSpPr>
          <p:nvPr/>
        </p:nvSpPr>
        <p:spPr>
          <a:xfrm>
            <a:off x="555070" y="2759052"/>
            <a:ext cx="1600832" cy="364249"/>
          </a:xfrm>
          <a:prstGeom prst="rect">
            <a:avLst/>
          </a:prstGeom>
        </p:spPr>
        <p:txBody>
          <a:bodyPr vert="horz" lIns="91440" tIns="45720" rIns="91440" bIns="45720" rtlCol="0">
            <a:noAutofit/>
          </a:bodyPr>
          <a:lstStyle>
            <a:lvl1pPr marL="0" indent="0" algn="l" defTabSz="914400" rtl="0" eaLnBrk="1" latinLnBrk="0" hangingPunct="1">
              <a:spcBef>
                <a:spcPts val="300"/>
              </a:spcBef>
              <a:buFontTx/>
              <a:buNone/>
              <a:defRPr lang="de-DE" sz="1400" b="1" i="0" kern="1200" dirty="0" smtClean="0">
                <a:solidFill>
                  <a:schemeClr val="tx1"/>
                </a:solidFill>
                <a:latin typeface="Arial" panose="020B0604020202020204" pitchFamily="34" charset="0"/>
                <a:ea typeface="+mn-ea"/>
                <a:cs typeface="+mn-cs"/>
              </a:defRPr>
            </a:lvl1pPr>
            <a:lvl2pPr marL="0" indent="0" algn="l" defTabSz="914400" rtl="0" eaLnBrk="1" latinLnBrk="0" hangingPunct="1">
              <a:spcBef>
                <a:spcPts val="300"/>
              </a:spcBef>
              <a:buFont typeface="Arial" pitchFamily="34" charset="0"/>
              <a:buNone/>
              <a:defRPr lang="en-US" sz="1400" kern="1200" smtClean="0">
                <a:solidFill>
                  <a:schemeClr val="tx1"/>
                </a:solidFill>
                <a:latin typeface="Arial" panose="020B0604020202020204" pitchFamily="34" charset="0"/>
                <a:ea typeface="+mn-ea"/>
                <a:cs typeface="+mn-cs"/>
              </a:defRPr>
            </a:lvl2pPr>
            <a:lvl3pPr marL="177800" indent="-177800" algn="l" defTabSz="914400" rtl="0" eaLnBrk="1" latinLnBrk="0" hangingPunct="1">
              <a:lnSpc>
                <a:spcPct val="90000"/>
              </a:lnSpc>
              <a:spcBef>
                <a:spcPts val="300"/>
              </a:spcBef>
              <a:buFont typeface="Wingdings" panose="05000000000000000000" pitchFamily="2" charset="2"/>
              <a:buChar char="§"/>
              <a:defRPr lang="en-US" sz="1400" kern="1200" smtClean="0">
                <a:solidFill>
                  <a:schemeClr val="tx1"/>
                </a:solidFill>
                <a:latin typeface="Arial" panose="020B0604020202020204" pitchFamily="34" charset="0"/>
                <a:ea typeface="+mn-ea"/>
                <a:cs typeface="+mn-cs"/>
              </a:defRPr>
            </a:lvl3pPr>
            <a:lvl4pPr marL="355600" indent="-173038" algn="l" defTabSz="914400" rtl="0" eaLnBrk="1" latinLnBrk="0" hangingPunct="1">
              <a:lnSpc>
                <a:spcPct val="90000"/>
              </a:lnSpc>
              <a:spcBef>
                <a:spcPts val="300"/>
              </a:spcBef>
              <a:buFont typeface="Arial" pitchFamily="34" charset="0"/>
              <a:buChar char="–"/>
              <a:defRPr lang="en-US" sz="1400" kern="1200" smtClean="0">
                <a:solidFill>
                  <a:schemeClr val="tx1"/>
                </a:solidFill>
                <a:latin typeface="Arial" panose="020B0604020202020204" pitchFamily="34" charset="0"/>
                <a:ea typeface="+mn-ea"/>
                <a:cs typeface="+mn-cs"/>
              </a:defRPr>
            </a:lvl4pPr>
            <a:lvl5pPr marL="495300" indent="-139700" algn="l" defTabSz="914400" rtl="0" eaLnBrk="1" latinLnBrk="0" hangingPunct="1">
              <a:lnSpc>
                <a:spcPct val="90000"/>
              </a:lnSpc>
              <a:spcBef>
                <a:spcPts val="300"/>
              </a:spcBef>
              <a:spcAft>
                <a:spcPts val="0"/>
              </a:spcAft>
              <a:buFont typeface="Arial" pitchFamily="34" charset="0"/>
              <a:buChar char="-"/>
              <a:defRPr lang="de-DE" sz="1400" kern="1200">
                <a:solidFill>
                  <a:schemeClr val="tx1"/>
                </a:solidFill>
                <a:latin typeface="Arial" panose="020B0604020202020204" pitchFamily="34" charset="0"/>
                <a:ea typeface="+mn-ea"/>
                <a:cs typeface="+mn-cs"/>
              </a:defRPr>
            </a:lvl5pPr>
            <a:lvl6pPr marL="628650" indent="-123825" algn="l" defTabSz="914400" rtl="0" eaLnBrk="1" latinLnBrk="0" hangingPunct="1">
              <a:lnSpc>
                <a:spcPct val="90000"/>
              </a:lnSpc>
              <a:spcBef>
                <a:spcPts val="300"/>
              </a:spcBef>
              <a:spcAft>
                <a:spcPts val="0"/>
              </a:spcAft>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6pPr>
            <a:lvl7pPr marL="779463" indent="-147638" algn="l" defTabSz="914400" rtl="0" eaLnBrk="1" latinLnBrk="0" hangingPunct="1">
              <a:lnSpc>
                <a:spcPct val="90000"/>
              </a:lnSpc>
              <a:spcBef>
                <a:spcPts val="300"/>
              </a:spcBef>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7pPr>
            <a:lvl8pPr marL="903288" indent="-119063" algn="l" defTabSz="914400" rtl="0" eaLnBrk="1" latinLnBrk="0" hangingPunct="1">
              <a:lnSpc>
                <a:spcPct val="90000"/>
              </a:lnSpc>
              <a:spcBef>
                <a:spcPts val="300"/>
              </a:spcBef>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8pPr>
            <a:lvl9pPr marL="1031875" indent="-127000" algn="l" defTabSz="914400" rtl="0" eaLnBrk="1" latinLnBrk="0" hangingPunct="1">
              <a:lnSpc>
                <a:spcPct val="90000"/>
              </a:lnSpc>
              <a:spcBef>
                <a:spcPts val="300"/>
              </a:spcBef>
              <a:buFont typeface="Arial"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400" b="1" i="0"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Pensions-</a:t>
            </a:r>
            <a:r>
              <a:rPr kumimoji="0" lang="en-GB" sz="1400" b="1" i="0" strike="noStrike" kern="1200" cap="none" spc="0" normalizeH="0" noProof="0" dirty="0">
                <a:ln>
                  <a:noFill/>
                </a:ln>
                <a:solidFill>
                  <a:srgbClr val="000000"/>
                </a:solidFill>
                <a:effectLst/>
                <a:uLnTx/>
                <a:uFillTx/>
                <a:latin typeface="Segoe UI" panose="020B0502040204020203" pitchFamily="34" charset="0"/>
                <a:cs typeface="Segoe UI" panose="020B0502040204020203" pitchFamily="34" charset="0"/>
              </a:rPr>
              <a:t> </a:t>
            </a:r>
            <a:r>
              <a:rPr kumimoji="0" lang="en-GB" sz="1400" b="1" i="0" strike="noStrike" kern="1200" cap="none" spc="0" normalizeH="0" noProof="0" dirty="0" err="1">
                <a:ln>
                  <a:noFill/>
                </a:ln>
                <a:solidFill>
                  <a:srgbClr val="000000"/>
                </a:solidFill>
                <a:effectLst/>
                <a:uLnTx/>
                <a:uFillTx/>
                <a:latin typeface="Segoe UI" panose="020B0502040204020203" pitchFamily="34" charset="0"/>
                <a:cs typeface="Segoe UI" panose="020B0502040204020203" pitchFamily="34" charset="0"/>
              </a:rPr>
              <a:t>anspruch</a:t>
            </a:r>
            <a:r>
              <a:rPr kumimoji="0" lang="en-GB" sz="1400" b="1" i="0" u="sng"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 </a:t>
            </a:r>
            <a:endParaRPr kumimoji="0" lang="en-GB" sz="1400" b="1"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lang="en-GB" b="0" dirty="0">
              <a:solidFill>
                <a:srgbClr val="000000"/>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5" name="TextBox 1">
            <a:extLst>
              <a:ext uri="{FF2B5EF4-FFF2-40B4-BE49-F238E27FC236}">
                <a16:creationId xmlns:a16="http://schemas.microsoft.com/office/drawing/2014/main" id="{3BD695C0-446D-E849-451A-485532884B72}"/>
              </a:ext>
            </a:extLst>
          </p:cNvPr>
          <p:cNvSpPr txBox="1"/>
          <p:nvPr/>
        </p:nvSpPr>
        <p:spPr>
          <a:xfrm>
            <a:off x="1670424" y="1084321"/>
            <a:ext cx="9324678"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Abfind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Pensionszusage</a:t>
            </a:r>
            <a:endPar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endParaRPr>
          </a:p>
        </p:txBody>
      </p:sp>
      <p:sp>
        <p:nvSpPr>
          <p:cNvPr id="6" name="Nach oben gekrümmter Pfeil 26">
            <a:extLst>
              <a:ext uri="{FF2B5EF4-FFF2-40B4-BE49-F238E27FC236}">
                <a16:creationId xmlns:a16="http://schemas.microsoft.com/office/drawing/2014/main" id="{ADBFEF94-EBF5-E032-E69E-CB22DDA9B437}"/>
              </a:ext>
            </a:extLst>
          </p:cNvPr>
          <p:cNvSpPr/>
          <p:nvPr/>
        </p:nvSpPr>
        <p:spPr>
          <a:xfrm rot="16200000">
            <a:off x="3406137" y="3325449"/>
            <a:ext cx="2469172" cy="960633"/>
          </a:xfrm>
          <a:prstGeom prst="curvedUpArrow">
            <a:avLst/>
          </a:prstGeom>
          <a:solidFill>
            <a:srgbClr val="FBBA00"/>
          </a:solidFill>
        </p:spPr>
        <p:txBody>
          <a:bodyPr vert="horz" lIns="91440" tIns="90000" rIns="91440" bIns="90000" rtlCol="0" anchor="t" anchorCtr="0">
            <a:noAutofit/>
          </a:bodyPr>
          <a:lstStyle/>
          <a:p>
            <a:pPr marL="0" marR="0" lvl="0" indent="0" defTabSz="914400" eaLnBrk="1" fontAlgn="base" latinLnBrk="0" hangingPunct="1">
              <a:lnSpc>
                <a:spcPct val="90000"/>
              </a:lnSpc>
              <a:spcBef>
                <a:spcPct val="0"/>
              </a:spcBef>
              <a:spcAft>
                <a:spcPct val="0"/>
              </a:spcAft>
              <a:buClrTx/>
              <a:buSzTx/>
              <a:buFontTx/>
              <a:buNone/>
              <a:tabLst/>
              <a:defRPr/>
            </a:pPr>
            <a:endParaRPr kumimoji="0" lang="de-DE" sz="1400" b="0" i="0" u="none" strike="noStrike" kern="0" cap="none" spc="0" normalizeH="0" baseline="0" noProof="0" dirty="0" err="1">
              <a:ln>
                <a:noFill/>
              </a:ln>
              <a:solidFill>
                <a:srgbClr val="000000"/>
              </a:solidFill>
              <a:effectLst/>
              <a:uLnTx/>
              <a:uFillTx/>
              <a:latin typeface="Arial" charset="0"/>
            </a:endParaRPr>
          </a:p>
        </p:txBody>
      </p:sp>
      <p:sp>
        <p:nvSpPr>
          <p:cNvPr id="7" name="7 CuadroTexto">
            <a:extLst>
              <a:ext uri="{FF2B5EF4-FFF2-40B4-BE49-F238E27FC236}">
                <a16:creationId xmlns:a16="http://schemas.microsoft.com/office/drawing/2014/main" id="{E909CCF1-6D7A-757A-E963-3EFBC90406D1}"/>
              </a:ext>
            </a:extLst>
          </p:cNvPr>
          <p:cNvSpPr txBox="1"/>
          <p:nvPr/>
        </p:nvSpPr>
        <p:spPr>
          <a:xfrm>
            <a:off x="5116317" y="2730475"/>
            <a:ext cx="3693689" cy="4253344"/>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Abfindungsbetrag = Arbeitslohn</a:t>
            </a:r>
          </a:p>
          <a:p>
            <a:pPr>
              <a:lnSpc>
                <a:spcPct val="150000"/>
              </a:lnSpc>
            </a:pPr>
            <a:r>
              <a:rPr lang="de-DE" sz="1400" b="1" u="sng" dirty="0">
                <a:latin typeface="Segoe UI" panose="020B0502040204020203" pitchFamily="34" charset="0"/>
                <a:cs typeface="Segoe UI" panose="020B0502040204020203" pitchFamily="34" charset="0"/>
                <a:sym typeface="Wingdings" panose="05000000000000000000" pitchFamily="2" charset="2"/>
              </a:rPr>
              <a:t>und</a:t>
            </a:r>
            <a:r>
              <a:rPr lang="de-DE" sz="1400" dirty="0">
                <a:latin typeface="Segoe UI" panose="020B0502040204020203" pitchFamily="34" charset="0"/>
                <a:cs typeface="Segoe UI" panose="020B0502040204020203" pitchFamily="34" charset="0"/>
                <a:sym typeface="Wingdings" panose="05000000000000000000" pitchFamily="2" charset="2"/>
              </a:rPr>
              <a:t> </a:t>
            </a:r>
          </a:p>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Verzicht = verdeckte Gewinnausschüttung</a:t>
            </a:r>
          </a:p>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Der Gesellschafter hat durch den Verzicht auf die Pension seine Beteiligung gestärkt, um so für seine Verkauf der Beteiligung einen höheren Erlös zu erzielen.  </a:t>
            </a:r>
          </a:p>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  </a:t>
            </a:r>
          </a:p>
          <a:p>
            <a:pPr>
              <a:lnSpc>
                <a:spcPct val="150000"/>
              </a:lnSpc>
            </a:pPr>
            <a:endParaRPr lang="de-DE" sz="1400" dirty="0">
              <a:latin typeface="Segoe UI" panose="020B0502040204020203" pitchFamily="34" charset="0"/>
              <a:cs typeface="Segoe UI" panose="020B0502040204020203" pitchFamily="34" charset="0"/>
            </a:endParaRPr>
          </a:p>
        </p:txBody>
      </p:sp>
      <p:sp>
        <p:nvSpPr>
          <p:cNvPr id="8" name="Oval 450">
            <a:extLst>
              <a:ext uri="{FF2B5EF4-FFF2-40B4-BE49-F238E27FC236}">
                <a16:creationId xmlns:a16="http://schemas.microsoft.com/office/drawing/2014/main" id="{13A65494-2239-64A8-D9D5-A282C977401C}"/>
              </a:ext>
            </a:extLst>
          </p:cNvPr>
          <p:cNvSpPr/>
          <p:nvPr/>
        </p:nvSpPr>
        <p:spPr>
          <a:xfrm>
            <a:off x="8703386" y="2894161"/>
            <a:ext cx="648072" cy="648072"/>
          </a:xfrm>
          <a:prstGeom prst="ellipse">
            <a:avLst/>
          </a:prstGeom>
          <a:solidFill>
            <a:srgbClr val="F1607C"/>
          </a:solidFill>
          <a:ln w="28575" cap="flat" cmpd="sng" algn="ctr">
            <a:noFill/>
            <a:prstDash val="solid"/>
          </a:ln>
          <a:effectLst>
            <a:outerShdw blurRad="127000" dist="101600" dir="5400000" algn="t" rotWithShape="0">
              <a:prstClr val="black">
                <a:alpha val="10000"/>
              </a:prstClr>
            </a:outerShdw>
          </a:effectLst>
        </p:spPr>
        <p:txBody>
          <a:bodyPr rtlCol="0" anchor="ctr"/>
          <a:lstStyle/>
          <a:p>
            <a:pPr marL="0" marR="0" lvl="0" indent="0" algn="ctr" defTabSz="914400"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solidFill>
                <a:srgbClr val="E1E3E5">
                  <a:lumMod val="50000"/>
                </a:srgbClr>
              </a:solidFill>
              <a:effectLst/>
              <a:uLnTx/>
              <a:uFillTx/>
              <a:latin typeface="Arial"/>
              <a:ea typeface="+mn-ea"/>
              <a:cs typeface="+mn-cs"/>
            </a:endParaRPr>
          </a:p>
        </p:txBody>
      </p:sp>
      <p:pic>
        <p:nvPicPr>
          <p:cNvPr id="11" name="Graphic 100">
            <a:extLst>
              <a:ext uri="{FF2B5EF4-FFF2-40B4-BE49-F238E27FC236}">
                <a16:creationId xmlns:a16="http://schemas.microsoft.com/office/drawing/2014/main" id="{E9B92BDB-9933-3DFA-A179-3C9DBF6B27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45430" y="3082709"/>
            <a:ext cx="341237" cy="314578"/>
          </a:xfrm>
          <a:prstGeom prst="rect">
            <a:avLst/>
          </a:prstGeom>
          <a:solidFill>
            <a:srgbClr val="F1607C"/>
          </a:solidFill>
        </p:spPr>
      </p:pic>
      <p:sp>
        <p:nvSpPr>
          <p:cNvPr id="12" name="Oval 551">
            <a:extLst>
              <a:ext uri="{FF2B5EF4-FFF2-40B4-BE49-F238E27FC236}">
                <a16:creationId xmlns:a16="http://schemas.microsoft.com/office/drawing/2014/main" id="{941517BB-96A8-D7AF-EA7C-7A91A933E90E}"/>
              </a:ext>
            </a:extLst>
          </p:cNvPr>
          <p:cNvSpPr/>
          <p:nvPr/>
        </p:nvSpPr>
        <p:spPr>
          <a:xfrm>
            <a:off x="4756234" y="2496414"/>
            <a:ext cx="448750" cy="448750"/>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pic>
        <p:nvPicPr>
          <p:cNvPr id="13" name="Graphic 315">
            <a:extLst>
              <a:ext uri="{FF2B5EF4-FFF2-40B4-BE49-F238E27FC236}">
                <a16:creationId xmlns:a16="http://schemas.microsoft.com/office/drawing/2014/main" id="{B7337A95-8656-7AD9-BB91-5E6F6C2E5E4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79532" y="2579652"/>
            <a:ext cx="208971" cy="291688"/>
          </a:xfrm>
          <a:prstGeom prst="rect">
            <a:avLst/>
          </a:prstGeom>
          <a:solidFill>
            <a:srgbClr val="FBBA00"/>
          </a:solidFill>
        </p:spPr>
      </p:pic>
      <p:sp>
        <p:nvSpPr>
          <p:cNvPr id="14" name="Oval 205">
            <a:extLst>
              <a:ext uri="{FF2B5EF4-FFF2-40B4-BE49-F238E27FC236}">
                <a16:creationId xmlns:a16="http://schemas.microsoft.com/office/drawing/2014/main" id="{7CF47246-625B-93EB-540D-2615A22E60D3}"/>
              </a:ext>
            </a:extLst>
          </p:cNvPr>
          <p:cNvSpPr/>
          <p:nvPr/>
        </p:nvSpPr>
        <p:spPr>
          <a:xfrm>
            <a:off x="4574318" y="5351484"/>
            <a:ext cx="506575" cy="506575"/>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sp>
        <p:nvSpPr>
          <p:cNvPr id="15" name="Freeform 1240">
            <a:extLst>
              <a:ext uri="{FF2B5EF4-FFF2-40B4-BE49-F238E27FC236}">
                <a16:creationId xmlns:a16="http://schemas.microsoft.com/office/drawing/2014/main" id="{EE47AE10-8A8C-FF2A-DF8F-041157153C8D}"/>
              </a:ext>
            </a:extLst>
          </p:cNvPr>
          <p:cNvSpPr>
            <a:spLocks/>
          </p:cNvSpPr>
          <p:nvPr/>
        </p:nvSpPr>
        <p:spPr bwMode="auto">
          <a:xfrm rot="10800000" flipV="1">
            <a:off x="4756640" y="5494056"/>
            <a:ext cx="145365" cy="259772"/>
          </a:xfrm>
          <a:custGeom>
            <a:avLst/>
            <a:gdLst>
              <a:gd name="T0" fmla="*/ 135563 w 109"/>
              <a:gd name="T1" fmla="*/ 171269 h 178"/>
              <a:gd name="T2" fmla="*/ 155898 w 109"/>
              <a:gd name="T3" fmla="*/ 157836 h 178"/>
              <a:gd name="T4" fmla="*/ 171149 w 109"/>
              <a:gd name="T5" fmla="*/ 139366 h 178"/>
              <a:gd name="T6" fmla="*/ 181316 w 109"/>
              <a:gd name="T7" fmla="*/ 115858 h 178"/>
              <a:gd name="T8" fmla="*/ 184705 w 109"/>
              <a:gd name="T9" fmla="*/ 88993 h 178"/>
              <a:gd name="T10" fmla="*/ 183010 w 109"/>
              <a:gd name="T11" fmla="*/ 70522 h 178"/>
              <a:gd name="T12" fmla="*/ 169454 w 109"/>
              <a:gd name="T13" fmla="*/ 38619 h 178"/>
              <a:gd name="T14" fmla="*/ 144036 w 109"/>
              <a:gd name="T15" fmla="*/ 13433 h 178"/>
              <a:gd name="T16" fmla="*/ 110145 w 109"/>
              <a:gd name="T17" fmla="*/ 0 h 178"/>
              <a:gd name="T18" fmla="*/ 91505 w 109"/>
              <a:gd name="T19" fmla="*/ 0 h 178"/>
              <a:gd name="T20" fmla="*/ 54225 w 109"/>
              <a:gd name="T21" fmla="*/ 5037 h 178"/>
              <a:gd name="T22" fmla="*/ 25418 w 109"/>
              <a:gd name="T23" fmla="*/ 25187 h 178"/>
              <a:gd name="T24" fmla="*/ 5084 w 109"/>
              <a:gd name="T25" fmla="*/ 55411 h 178"/>
              <a:gd name="T26" fmla="*/ 0 w 109"/>
              <a:gd name="T27" fmla="*/ 88993 h 178"/>
              <a:gd name="T28" fmla="*/ 0 w 109"/>
              <a:gd name="T29" fmla="*/ 104105 h 178"/>
              <a:gd name="T30" fmla="*/ 6778 w 109"/>
              <a:gd name="T31" fmla="*/ 125933 h 178"/>
              <a:gd name="T32" fmla="*/ 20334 w 109"/>
              <a:gd name="T33" fmla="*/ 146082 h 178"/>
              <a:gd name="T34" fmla="*/ 35585 w 109"/>
              <a:gd name="T35" fmla="*/ 164552 h 178"/>
              <a:gd name="T36" fmla="*/ 47447 w 109"/>
              <a:gd name="T37" fmla="*/ 214926 h 178"/>
              <a:gd name="T38" fmla="*/ 135563 w 109"/>
              <a:gd name="T39" fmla="*/ 263620 h 178"/>
              <a:gd name="T40" fmla="*/ 133869 w 109"/>
              <a:gd name="T41" fmla="*/ 270336 h 178"/>
              <a:gd name="T42" fmla="*/ 125396 w 109"/>
              <a:gd name="T43" fmla="*/ 280411 h 178"/>
              <a:gd name="T44" fmla="*/ 116923 w 109"/>
              <a:gd name="T45" fmla="*/ 283769 h 178"/>
              <a:gd name="T46" fmla="*/ 116923 w 109"/>
              <a:gd name="T47" fmla="*/ 283769 h 178"/>
              <a:gd name="T48" fmla="*/ 108451 w 109"/>
              <a:gd name="T49" fmla="*/ 293844 h 178"/>
              <a:gd name="T50" fmla="*/ 91505 w 109"/>
              <a:gd name="T51" fmla="*/ 298881 h 178"/>
              <a:gd name="T52" fmla="*/ 81338 w 109"/>
              <a:gd name="T53" fmla="*/ 298881 h 178"/>
              <a:gd name="T54" fmla="*/ 67782 w 109"/>
              <a:gd name="T55" fmla="*/ 290485 h 178"/>
              <a:gd name="T56" fmla="*/ 66087 w 109"/>
              <a:gd name="T57" fmla="*/ 283769 h 178"/>
              <a:gd name="T58" fmla="*/ 66087 w 109"/>
              <a:gd name="T59" fmla="*/ 283769 h 178"/>
              <a:gd name="T60" fmla="*/ 52531 w 109"/>
              <a:gd name="T61" fmla="*/ 273694 h 178"/>
              <a:gd name="T62" fmla="*/ 47447 w 109"/>
              <a:gd name="T63" fmla="*/ 263620 h 17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9"/>
              <a:gd name="T97" fmla="*/ 0 h 178"/>
              <a:gd name="T98" fmla="*/ 109 w 109"/>
              <a:gd name="T99" fmla="*/ 178 h 178"/>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9266 w 10000"/>
              <a:gd name="connsiteY5" fmla="*/ 4663 h 10000"/>
              <a:gd name="connsiteX6" fmla="*/ 9541 w 10000"/>
              <a:gd name="connsiteY6" fmla="*/ 4213 h 10000"/>
              <a:gd name="connsiteX7" fmla="*/ 9817 w 10000"/>
              <a:gd name="connsiteY7" fmla="*/ 3876 h 10000"/>
              <a:gd name="connsiteX8" fmla="*/ 9908 w 10000"/>
              <a:gd name="connsiteY8" fmla="*/ 3483 h 10000"/>
              <a:gd name="connsiteX9" fmla="*/ 10000 w 10000"/>
              <a:gd name="connsiteY9" fmla="*/ 2978 h 10000"/>
              <a:gd name="connsiteX10" fmla="*/ 9908 w 10000"/>
              <a:gd name="connsiteY10" fmla="*/ 2360 h 10000"/>
              <a:gd name="connsiteX11" fmla="*/ 9541 w 10000"/>
              <a:gd name="connsiteY11" fmla="*/ 1854 h 10000"/>
              <a:gd name="connsiteX12" fmla="*/ 9174 w 10000"/>
              <a:gd name="connsiteY12" fmla="*/ 1292 h 10000"/>
              <a:gd name="connsiteX13" fmla="*/ 8440 w 10000"/>
              <a:gd name="connsiteY13" fmla="*/ 843 h 10000"/>
              <a:gd name="connsiteX14" fmla="*/ 7798 w 10000"/>
              <a:gd name="connsiteY14" fmla="*/ 449 h 10000"/>
              <a:gd name="connsiteX15" fmla="*/ 6881 w 10000"/>
              <a:gd name="connsiteY15" fmla="*/ 169 h 10000"/>
              <a:gd name="connsiteX16" fmla="*/ 5963 w 10000"/>
              <a:gd name="connsiteY16" fmla="*/ 0 h 10000"/>
              <a:gd name="connsiteX17" fmla="*/ 4954 w 10000"/>
              <a:gd name="connsiteY17" fmla="*/ 0 h 10000"/>
              <a:gd name="connsiteX18" fmla="*/ 3945 w 10000"/>
              <a:gd name="connsiteY18" fmla="*/ 0 h 10000"/>
              <a:gd name="connsiteX19" fmla="*/ 2936 w 10000"/>
              <a:gd name="connsiteY19" fmla="*/ 169 h 10000"/>
              <a:gd name="connsiteX20" fmla="*/ 2202 w 10000"/>
              <a:gd name="connsiteY20" fmla="*/ 449 h 10000"/>
              <a:gd name="connsiteX21" fmla="*/ 1376 w 10000"/>
              <a:gd name="connsiteY21" fmla="*/ 843 h 10000"/>
              <a:gd name="connsiteX22" fmla="*/ 826 w 10000"/>
              <a:gd name="connsiteY22" fmla="*/ 1292 h 10000"/>
              <a:gd name="connsiteX23" fmla="*/ 275 w 10000"/>
              <a:gd name="connsiteY23" fmla="*/ 1854 h 10000"/>
              <a:gd name="connsiteX24" fmla="*/ 92 w 10000"/>
              <a:gd name="connsiteY24" fmla="*/ 2360 h 10000"/>
              <a:gd name="connsiteX25" fmla="*/ 0 w 10000"/>
              <a:gd name="connsiteY25" fmla="*/ 2978 h 10000"/>
              <a:gd name="connsiteX26" fmla="*/ 0 w 10000"/>
              <a:gd name="connsiteY26" fmla="*/ 3483 h 10000"/>
              <a:gd name="connsiteX27" fmla="*/ 183 w 10000"/>
              <a:gd name="connsiteY27" fmla="*/ 3876 h 10000"/>
              <a:gd name="connsiteX28" fmla="*/ 367 w 10000"/>
              <a:gd name="connsiteY28" fmla="*/ 4213 h 10000"/>
              <a:gd name="connsiteX29" fmla="*/ 642 w 10000"/>
              <a:gd name="connsiteY29" fmla="*/ 4663 h 10000"/>
              <a:gd name="connsiteX30" fmla="*/ 1101 w 10000"/>
              <a:gd name="connsiteY30" fmla="*/ 4888 h 10000"/>
              <a:gd name="connsiteX31" fmla="*/ 1560 w 10000"/>
              <a:gd name="connsiteY31" fmla="*/ 5281 h 10000"/>
              <a:gd name="connsiteX32" fmla="*/ 1927 w 10000"/>
              <a:gd name="connsiteY32" fmla="*/ 5506 h 10000"/>
              <a:gd name="connsiteX33" fmla="*/ 2569 w 10000"/>
              <a:gd name="connsiteY33" fmla="*/ 5730 h 10000"/>
              <a:gd name="connsiteX34" fmla="*/ 2569 w 10000"/>
              <a:gd name="connsiteY34" fmla="*/ 7191 h 10000"/>
              <a:gd name="connsiteX35" fmla="*/ 7339 w 10000"/>
              <a:gd name="connsiteY35" fmla="*/ 7191 h 10000"/>
              <a:gd name="connsiteX36" fmla="*/ 7339 w 10000"/>
              <a:gd name="connsiteY36" fmla="*/ 8820 h 10000"/>
              <a:gd name="connsiteX37" fmla="*/ 7248 w 10000"/>
              <a:gd name="connsiteY37" fmla="*/ 9045 h 10000"/>
              <a:gd name="connsiteX38" fmla="*/ 7156 w 10000"/>
              <a:gd name="connsiteY38" fmla="*/ 9157 h 10000"/>
              <a:gd name="connsiteX39" fmla="*/ 6789 w 10000"/>
              <a:gd name="connsiteY39" fmla="*/ 9382 h 10000"/>
              <a:gd name="connsiteX40" fmla="*/ 6330 w 10000"/>
              <a:gd name="connsiteY40" fmla="*/ 9494 h 10000"/>
              <a:gd name="connsiteX41" fmla="*/ 6239 w 10000"/>
              <a:gd name="connsiteY41" fmla="*/ 9719 h 10000"/>
              <a:gd name="connsiteX42" fmla="*/ 5872 w 10000"/>
              <a:gd name="connsiteY42" fmla="*/ 9831 h 10000"/>
              <a:gd name="connsiteX43" fmla="*/ 5596 w 10000"/>
              <a:gd name="connsiteY43" fmla="*/ 10000 h 10000"/>
              <a:gd name="connsiteX44" fmla="*/ 4954 w 10000"/>
              <a:gd name="connsiteY44" fmla="*/ 10000 h 10000"/>
              <a:gd name="connsiteX45" fmla="*/ 4404 w 10000"/>
              <a:gd name="connsiteY45" fmla="*/ 10000 h 10000"/>
              <a:gd name="connsiteX46" fmla="*/ 3945 w 10000"/>
              <a:gd name="connsiteY46" fmla="*/ 9831 h 10000"/>
              <a:gd name="connsiteX47" fmla="*/ 3670 w 10000"/>
              <a:gd name="connsiteY47" fmla="*/ 9719 h 10000"/>
              <a:gd name="connsiteX48" fmla="*/ 3578 w 10000"/>
              <a:gd name="connsiteY48" fmla="*/ 9494 h 10000"/>
              <a:gd name="connsiteX49" fmla="*/ 3211 w 10000"/>
              <a:gd name="connsiteY49" fmla="*/ 9382 h 10000"/>
              <a:gd name="connsiteX50" fmla="*/ 2844 w 10000"/>
              <a:gd name="connsiteY50" fmla="*/ 9157 h 10000"/>
              <a:gd name="connsiteX51" fmla="*/ 2661 w 10000"/>
              <a:gd name="connsiteY51" fmla="*/ 9045 h 10000"/>
              <a:gd name="connsiteX52" fmla="*/ 2569 w 10000"/>
              <a:gd name="connsiteY52" fmla="*/ 8820 h 10000"/>
              <a:gd name="connsiteX53" fmla="*/ 2569 w 10000"/>
              <a:gd name="connsiteY53"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9266 w 10000"/>
              <a:gd name="connsiteY5" fmla="*/ 4663 h 10000"/>
              <a:gd name="connsiteX6" fmla="*/ 9541 w 10000"/>
              <a:gd name="connsiteY6" fmla="*/ 4213 h 10000"/>
              <a:gd name="connsiteX7" fmla="*/ 9817 w 10000"/>
              <a:gd name="connsiteY7" fmla="*/ 3876 h 10000"/>
              <a:gd name="connsiteX8" fmla="*/ 10000 w 10000"/>
              <a:gd name="connsiteY8" fmla="*/ 2978 h 10000"/>
              <a:gd name="connsiteX9" fmla="*/ 9908 w 10000"/>
              <a:gd name="connsiteY9" fmla="*/ 2360 h 10000"/>
              <a:gd name="connsiteX10" fmla="*/ 9541 w 10000"/>
              <a:gd name="connsiteY10" fmla="*/ 1854 h 10000"/>
              <a:gd name="connsiteX11" fmla="*/ 9174 w 10000"/>
              <a:gd name="connsiteY11" fmla="*/ 1292 h 10000"/>
              <a:gd name="connsiteX12" fmla="*/ 8440 w 10000"/>
              <a:gd name="connsiteY12" fmla="*/ 843 h 10000"/>
              <a:gd name="connsiteX13" fmla="*/ 7798 w 10000"/>
              <a:gd name="connsiteY13" fmla="*/ 449 h 10000"/>
              <a:gd name="connsiteX14" fmla="*/ 6881 w 10000"/>
              <a:gd name="connsiteY14" fmla="*/ 169 h 10000"/>
              <a:gd name="connsiteX15" fmla="*/ 5963 w 10000"/>
              <a:gd name="connsiteY15" fmla="*/ 0 h 10000"/>
              <a:gd name="connsiteX16" fmla="*/ 4954 w 10000"/>
              <a:gd name="connsiteY16" fmla="*/ 0 h 10000"/>
              <a:gd name="connsiteX17" fmla="*/ 3945 w 10000"/>
              <a:gd name="connsiteY17" fmla="*/ 0 h 10000"/>
              <a:gd name="connsiteX18" fmla="*/ 2936 w 10000"/>
              <a:gd name="connsiteY18" fmla="*/ 169 h 10000"/>
              <a:gd name="connsiteX19" fmla="*/ 2202 w 10000"/>
              <a:gd name="connsiteY19" fmla="*/ 449 h 10000"/>
              <a:gd name="connsiteX20" fmla="*/ 1376 w 10000"/>
              <a:gd name="connsiteY20" fmla="*/ 843 h 10000"/>
              <a:gd name="connsiteX21" fmla="*/ 826 w 10000"/>
              <a:gd name="connsiteY21" fmla="*/ 1292 h 10000"/>
              <a:gd name="connsiteX22" fmla="*/ 275 w 10000"/>
              <a:gd name="connsiteY22" fmla="*/ 1854 h 10000"/>
              <a:gd name="connsiteX23" fmla="*/ 92 w 10000"/>
              <a:gd name="connsiteY23" fmla="*/ 2360 h 10000"/>
              <a:gd name="connsiteX24" fmla="*/ 0 w 10000"/>
              <a:gd name="connsiteY24" fmla="*/ 2978 h 10000"/>
              <a:gd name="connsiteX25" fmla="*/ 0 w 10000"/>
              <a:gd name="connsiteY25" fmla="*/ 3483 h 10000"/>
              <a:gd name="connsiteX26" fmla="*/ 183 w 10000"/>
              <a:gd name="connsiteY26" fmla="*/ 3876 h 10000"/>
              <a:gd name="connsiteX27" fmla="*/ 367 w 10000"/>
              <a:gd name="connsiteY27" fmla="*/ 4213 h 10000"/>
              <a:gd name="connsiteX28" fmla="*/ 642 w 10000"/>
              <a:gd name="connsiteY28" fmla="*/ 4663 h 10000"/>
              <a:gd name="connsiteX29" fmla="*/ 1101 w 10000"/>
              <a:gd name="connsiteY29" fmla="*/ 4888 h 10000"/>
              <a:gd name="connsiteX30" fmla="*/ 1560 w 10000"/>
              <a:gd name="connsiteY30" fmla="*/ 5281 h 10000"/>
              <a:gd name="connsiteX31" fmla="*/ 1927 w 10000"/>
              <a:gd name="connsiteY31" fmla="*/ 5506 h 10000"/>
              <a:gd name="connsiteX32" fmla="*/ 2569 w 10000"/>
              <a:gd name="connsiteY32" fmla="*/ 5730 h 10000"/>
              <a:gd name="connsiteX33" fmla="*/ 2569 w 10000"/>
              <a:gd name="connsiteY33" fmla="*/ 7191 h 10000"/>
              <a:gd name="connsiteX34" fmla="*/ 7339 w 10000"/>
              <a:gd name="connsiteY34" fmla="*/ 7191 h 10000"/>
              <a:gd name="connsiteX35" fmla="*/ 7339 w 10000"/>
              <a:gd name="connsiteY35" fmla="*/ 8820 h 10000"/>
              <a:gd name="connsiteX36" fmla="*/ 7248 w 10000"/>
              <a:gd name="connsiteY36" fmla="*/ 9045 h 10000"/>
              <a:gd name="connsiteX37" fmla="*/ 7156 w 10000"/>
              <a:gd name="connsiteY37" fmla="*/ 9157 h 10000"/>
              <a:gd name="connsiteX38" fmla="*/ 6789 w 10000"/>
              <a:gd name="connsiteY38" fmla="*/ 9382 h 10000"/>
              <a:gd name="connsiteX39" fmla="*/ 6330 w 10000"/>
              <a:gd name="connsiteY39" fmla="*/ 9494 h 10000"/>
              <a:gd name="connsiteX40" fmla="*/ 6239 w 10000"/>
              <a:gd name="connsiteY40" fmla="*/ 9719 h 10000"/>
              <a:gd name="connsiteX41" fmla="*/ 5872 w 10000"/>
              <a:gd name="connsiteY41" fmla="*/ 9831 h 10000"/>
              <a:gd name="connsiteX42" fmla="*/ 5596 w 10000"/>
              <a:gd name="connsiteY42" fmla="*/ 10000 h 10000"/>
              <a:gd name="connsiteX43" fmla="*/ 4954 w 10000"/>
              <a:gd name="connsiteY43" fmla="*/ 10000 h 10000"/>
              <a:gd name="connsiteX44" fmla="*/ 4404 w 10000"/>
              <a:gd name="connsiteY44" fmla="*/ 10000 h 10000"/>
              <a:gd name="connsiteX45" fmla="*/ 3945 w 10000"/>
              <a:gd name="connsiteY45" fmla="*/ 9831 h 10000"/>
              <a:gd name="connsiteX46" fmla="*/ 3670 w 10000"/>
              <a:gd name="connsiteY46" fmla="*/ 9719 h 10000"/>
              <a:gd name="connsiteX47" fmla="*/ 3578 w 10000"/>
              <a:gd name="connsiteY47" fmla="*/ 9494 h 10000"/>
              <a:gd name="connsiteX48" fmla="*/ 3211 w 10000"/>
              <a:gd name="connsiteY48" fmla="*/ 9382 h 10000"/>
              <a:gd name="connsiteX49" fmla="*/ 2844 w 10000"/>
              <a:gd name="connsiteY49" fmla="*/ 9157 h 10000"/>
              <a:gd name="connsiteX50" fmla="*/ 2661 w 10000"/>
              <a:gd name="connsiteY50" fmla="*/ 9045 h 10000"/>
              <a:gd name="connsiteX51" fmla="*/ 2569 w 10000"/>
              <a:gd name="connsiteY51" fmla="*/ 8820 h 10000"/>
              <a:gd name="connsiteX52" fmla="*/ 2569 w 10000"/>
              <a:gd name="connsiteY52"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9266 w 10000"/>
              <a:gd name="connsiteY5" fmla="*/ 4663 h 10000"/>
              <a:gd name="connsiteX6" fmla="*/ 9541 w 10000"/>
              <a:gd name="connsiteY6" fmla="*/ 4213 h 10000"/>
              <a:gd name="connsiteX7" fmla="*/ 10000 w 10000"/>
              <a:gd name="connsiteY7" fmla="*/ 2978 h 10000"/>
              <a:gd name="connsiteX8" fmla="*/ 9908 w 10000"/>
              <a:gd name="connsiteY8" fmla="*/ 2360 h 10000"/>
              <a:gd name="connsiteX9" fmla="*/ 9541 w 10000"/>
              <a:gd name="connsiteY9" fmla="*/ 1854 h 10000"/>
              <a:gd name="connsiteX10" fmla="*/ 9174 w 10000"/>
              <a:gd name="connsiteY10" fmla="*/ 1292 h 10000"/>
              <a:gd name="connsiteX11" fmla="*/ 8440 w 10000"/>
              <a:gd name="connsiteY11" fmla="*/ 843 h 10000"/>
              <a:gd name="connsiteX12" fmla="*/ 7798 w 10000"/>
              <a:gd name="connsiteY12" fmla="*/ 449 h 10000"/>
              <a:gd name="connsiteX13" fmla="*/ 6881 w 10000"/>
              <a:gd name="connsiteY13" fmla="*/ 169 h 10000"/>
              <a:gd name="connsiteX14" fmla="*/ 5963 w 10000"/>
              <a:gd name="connsiteY14" fmla="*/ 0 h 10000"/>
              <a:gd name="connsiteX15" fmla="*/ 4954 w 10000"/>
              <a:gd name="connsiteY15" fmla="*/ 0 h 10000"/>
              <a:gd name="connsiteX16" fmla="*/ 3945 w 10000"/>
              <a:gd name="connsiteY16" fmla="*/ 0 h 10000"/>
              <a:gd name="connsiteX17" fmla="*/ 2936 w 10000"/>
              <a:gd name="connsiteY17" fmla="*/ 169 h 10000"/>
              <a:gd name="connsiteX18" fmla="*/ 2202 w 10000"/>
              <a:gd name="connsiteY18" fmla="*/ 449 h 10000"/>
              <a:gd name="connsiteX19" fmla="*/ 1376 w 10000"/>
              <a:gd name="connsiteY19" fmla="*/ 843 h 10000"/>
              <a:gd name="connsiteX20" fmla="*/ 826 w 10000"/>
              <a:gd name="connsiteY20" fmla="*/ 1292 h 10000"/>
              <a:gd name="connsiteX21" fmla="*/ 275 w 10000"/>
              <a:gd name="connsiteY21" fmla="*/ 1854 h 10000"/>
              <a:gd name="connsiteX22" fmla="*/ 92 w 10000"/>
              <a:gd name="connsiteY22" fmla="*/ 2360 h 10000"/>
              <a:gd name="connsiteX23" fmla="*/ 0 w 10000"/>
              <a:gd name="connsiteY23" fmla="*/ 2978 h 10000"/>
              <a:gd name="connsiteX24" fmla="*/ 0 w 10000"/>
              <a:gd name="connsiteY24" fmla="*/ 3483 h 10000"/>
              <a:gd name="connsiteX25" fmla="*/ 183 w 10000"/>
              <a:gd name="connsiteY25" fmla="*/ 3876 h 10000"/>
              <a:gd name="connsiteX26" fmla="*/ 367 w 10000"/>
              <a:gd name="connsiteY26" fmla="*/ 4213 h 10000"/>
              <a:gd name="connsiteX27" fmla="*/ 642 w 10000"/>
              <a:gd name="connsiteY27" fmla="*/ 4663 h 10000"/>
              <a:gd name="connsiteX28" fmla="*/ 1101 w 10000"/>
              <a:gd name="connsiteY28" fmla="*/ 4888 h 10000"/>
              <a:gd name="connsiteX29" fmla="*/ 1560 w 10000"/>
              <a:gd name="connsiteY29" fmla="*/ 5281 h 10000"/>
              <a:gd name="connsiteX30" fmla="*/ 1927 w 10000"/>
              <a:gd name="connsiteY30" fmla="*/ 5506 h 10000"/>
              <a:gd name="connsiteX31" fmla="*/ 2569 w 10000"/>
              <a:gd name="connsiteY31" fmla="*/ 5730 h 10000"/>
              <a:gd name="connsiteX32" fmla="*/ 2569 w 10000"/>
              <a:gd name="connsiteY32" fmla="*/ 7191 h 10000"/>
              <a:gd name="connsiteX33" fmla="*/ 7339 w 10000"/>
              <a:gd name="connsiteY33" fmla="*/ 7191 h 10000"/>
              <a:gd name="connsiteX34" fmla="*/ 7339 w 10000"/>
              <a:gd name="connsiteY34" fmla="*/ 8820 h 10000"/>
              <a:gd name="connsiteX35" fmla="*/ 7248 w 10000"/>
              <a:gd name="connsiteY35" fmla="*/ 9045 h 10000"/>
              <a:gd name="connsiteX36" fmla="*/ 7156 w 10000"/>
              <a:gd name="connsiteY36" fmla="*/ 9157 h 10000"/>
              <a:gd name="connsiteX37" fmla="*/ 6789 w 10000"/>
              <a:gd name="connsiteY37" fmla="*/ 9382 h 10000"/>
              <a:gd name="connsiteX38" fmla="*/ 6330 w 10000"/>
              <a:gd name="connsiteY38" fmla="*/ 9494 h 10000"/>
              <a:gd name="connsiteX39" fmla="*/ 6239 w 10000"/>
              <a:gd name="connsiteY39" fmla="*/ 9719 h 10000"/>
              <a:gd name="connsiteX40" fmla="*/ 5872 w 10000"/>
              <a:gd name="connsiteY40" fmla="*/ 9831 h 10000"/>
              <a:gd name="connsiteX41" fmla="*/ 5596 w 10000"/>
              <a:gd name="connsiteY41" fmla="*/ 10000 h 10000"/>
              <a:gd name="connsiteX42" fmla="*/ 4954 w 10000"/>
              <a:gd name="connsiteY42" fmla="*/ 10000 h 10000"/>
              <a:gd name="connsiteX43" fmla="*/ 4404 w 10000"/>
              <a:gd name="connsiteY43" fmla="*/ 10000 h 10000"/>
              <a:gd name="connsiteX44" fmla="*/ 3945 w 10000"/>
              <a:gd name="connsiteY44" fmla="*/ 9831 h 10000"/>
              <a:gd name="connsiteX45" fmla="*/ 3670 w 10000"/>
              <a:gd name="connsiteY45" fmla="*/ 9719 h 10000"/>
              <a:gd name="connsiteX46" fmla="*/ 3578 w 10000"/>
              <a:gd name="connsiteY46" fmla="*/ 9494 h 10000"/>
              <a:gd name="connsiteX47" fmla="*/ 3211 w 10000"/>
              <a:gd name="connsiteY47" fmla="*/ 9382 h 10000"/>
              <a:gd name="connsiteX48" fmla="*/ 2844 w 10000"/>
              <a:gd name="connsiteY48" fmla="*/ 9157 h 10000"/>
              <a:gd name="connsiteX49" fmla="*/ 2661 w 10000"/>
              <a:gd name="connsiteY49" fmla="*/ 9045 h 10000"/>
              <a:gd name="connsiteX50" fmla="*/ 2569 w 10000"/>
              <a:gd name="connsiteY50" fmla="*/ 8820 h 10000"/>
              <a:gd name="connsiteX51" fmla="*/ 2569 w 10000"/>
              <a:gd name="connsiteY51"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9266 w 10000"/>
              <a:gd name="connsiteY5" fmla="*/ 4663 h 10000"/>
              <a:gd name="connsiteX6" fmla="*/ 10000 w 10000"/>
              <a:gd name="connsiteY6" fmla="*/ 2978 h 10000"/>
              <a:gd name="connsiteX7" fmla="*/ 9908 w 10000"/>
              <a:gd name="connsiteY7" fmla="*/ 2360 h 10000"/>
              <a:gd name="connsiteX8" fmla="*/ 9541 w 10000"/>
              <a:gd name="connsiteY8" fmla="*/ 1854 h 10000"/>
              <a:gd name="connsiteX9" fmla="*/ 9174 w 10000"/>
              <a:gd name="connsiteY9" fmla="*/ 1292 h 10000"/>
              <a:gd name="connsiteX10" fmla="*/ 8440 w 10000"/>
              <a:gd name="connsiteY10" fmla="*/ 843 h 10000"/>
              <a:gd name="connsiteX11" fmla="*/ 7798 w 10000"/>
              <a:gd name="connsiteY11" fmla="*/ 449 h 10000"/>
              <a:gd name="connsiteX12" fmla="*/ 6881 w 10000"/>
              <a:gd name="connsiteY12" fmla="*/ 169 h 10000"/>
              <a:gd name="connsiteX13" fmla="*/ 5963 w 10000"/>
              <a:gd name="connsiteY13" fmla="*/ 0 h 10000"/>
              <a:gd name="connsiteX14" fmla="*/ 4954 w 10000"/>
              <a:gd name="connsiteY14" fmla="*/ 0 h 10000"/>
              <a:gd name="connsiteX15" fmla="*/ 3945 w 10000"/>
              <a:gd name="connsiteY15" fmla="*/ 0 h 10000"/>
              <a:gd name="connsiteX16" fmla="*/ 2936 w 10000"/>
              <a:gd name="connsiteY16" fmla="*/ 169 h 10000"/>
              <a:gd name="connsiteX17" fmla="*/ 2202 w 10000"/>
              <a:gd name="connsiteY17" fmla="*/ 449 h 10000"/>
              <a:gd name="connsiteX18" fmla="*/ 1376 w 10000"/>
              <a:gd name="connsiteY18" fmla="*/ 843 h 10000"/>
              <a:gd name="connsiteX19" fmla="*/ 826 w 10000"/>
              <a:gd name="connsiteY19" fmla="*/ 1292 h 10000"/>
              <a:gd name="connsiteX20" fmla="*/ 275 w 10000"/>
              <a:gd name="connsiteY20" fmla="*/ 1854 h 10000"/>
              <a:gd name="connsiteX21" fmla="*/ 92 w 10000"/>
              <a:gd name="connsiteY21" fmla="*/ 2360 h 10000"/>
              <a:gd name="connsiteX22" fmla="*/ 0 w 10000"/>
              <a:gd name="connsiteY22" fmla="*/ 2978 h 10000"/>
              <a:gd name="connsiteX23" fmla="*/ 0 w 10000"/>
              <a:gd name="connsiteY23" fmla="*/ 3483 h 10000"/>
              <a:gd name="connsiteX24" fmla="*/ 183 w 10000"/>
              <a:gd name="connsiteY24" fmla="*/ 3876 h 10000"/>
              <a:gd name="connsiteX25" fmla="*/ 367 w 10000"/>
              <a:gd name="connsiteY25" fmla="*/ 4213 h 10000"/>
              <a:gd name="connsiteX26" fmla="*/ 642 w 10000"/>
              <a:gd name="connsiteY26" fmla="*/ 4663 h 10000"/>
              <a:gd name="connsiteX27" fmla="*/ 1101 w 10000"/>
              <a:gd name="connsiteY27" fmla="*/ 4888 h 10000"/>
              <a:gd name="connsiteX28" fmla="*/ 1560 w 10000"/>
              <a:gd name="connsiteY28" fmla="*/ 5281 h 10000"/>
              <a:gd name="connsiteX29" fmla="*/ 1927 w 10000"/>
              <a:gd name="connsiteY29" fmla="*/ 5506 h 10000"/>
              <a:gd name="connsiteX30" fmla="*/ 2569 w 10000"/>
              <a:gd name="connsiteY30" fmla="*/ 5730 h 10000"/>
              <a:gd name="connsiteX31" fmla="*/ 2569 w 10000"/>
              <a:gd name="connsiteY31" fmla="*/ 7191 h 10000"/>
              <a:gd name="connsiteX32" fmla="*/ 7339 w 10000"/>
              <a:gd name="connsiteY32" fmla="*/ 7191 h 10000"/>
              <a:gd name="connsiteX33" fmla="*/ 7339 w 10000"/>
              <a:gd name="connsiteY33" fmla="*/ 8820 h 10000"/>
              <a:gd name="connsiteX34" fmla="*/ 7248 w 10000"/>
              <a:gd name="connsiteY34" fmla="*/ 9045 h 10000"/>
              <a:gd name="connsiteX35" fmla="*/ 7156 w 10000"/>
              <a:gd name="connsiteY35" fmla="*/ 9157 h 10000"/>
              <a:gd name="connsiteX36" fmla="*/ 6789 w 10000"/>
              <a:gd name="connsiteY36" fmla="*/ 9382 h 10000"/>
              <a:gd name="connsiteX37" fmla="*/ 6330 w 10000"/>
              <a:gd name="connsiteY37" fmla="*/ 9494 h 10000"/>
              <a:gd name="connsiteX38" fmla="*/ 6239 w 10000"/>
              <a:gd name="connsiteY38" fmla="*/ 9719 h 10000"/>
              <a:gd name="connsiteX39" fmla="*/ 5872 w 10000"/>
              <a:gd name="connsiteY39" fmla="*/ 9831 h 10000"/>
              <a:gd name="connsiteX40" fmla="*/ 5596 w 10000"/>
              <a:gd name="connsiteY40" fmla="*/ 10000 h 10000"/>
              <a:gd name="connsiteX41" fmla="*/ 4954 w 10000"/>
              <a:gd name="connsiteY41" fmla="*/ 10000 h 10000"/>
              <a:gd name="connsiteX42" fmla="*/ 4404 w 10000"/>
              <a:gd name="connsiteY42" fmla="*/ 10000 h 10000"/>
              <a:gd name="connsiteX43" fmla="*/ 3945 w 10000"/>
              <a:gd name="connsiteY43" fmla="*/ 9831 h 10000"/>
              <a:gd name="connsiteX44" fmla="*/ 3670 w 10000"/>
              <a:gd name="connsiteY44" fmla="*/ 9719 h 10000"/>
              <a:gd name="connsiteX45" fmla="*/ 3578 w 10000"/>
              <a:gd name="connsiteY45" fmla="*/ 9494 h 10000"/>
              <a:gd name="connsiteX46" fmla="*/ 3211 w 10000"/>
              <a:gd name="connsiteY46" fmla="*/ 9382 h 10000"/>
              <a:gd name="connsiteX47" fmla="*/ 2844 w 10000"/>
              <a:gd name="connsiteY47" fmla="*/ 9157 h 10000"/>
              <a:gd name="connsiteX48" fmla="*/ 2661 w 10000"/>
              <a:gd name="connsiteY48" fmla="*/ 9045 h 10000"/>
              <a:gd name="connsiteX49" fmla="*/ 2569 w 10000"/>
              <a:gd name="connsiteY49" fmla="*/ 8820 h 10000"/>
              <a:gd name="connsiteX50" fmla="*/ 2569 w 10000"/>
              <a:gd name="connsiteY50"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10000 w 10000"/>
              <a:gd name="connsiteY5" fmla="*/ 2978 h 10000"/>
              <a:gd name="connsiteX6" fmla="*/ 9908 w 10000"/>
              <a:gd name="connsiteY6" fmla="*/ 2360 h 10000"/>
              <a:gd name="connsiteX7" fmla="*/ 9541 w 10000"/>
              <a:gd name="connsiteY7" fmla="*/ 1854 h 10000"/>
              <a:gd name="connsiteX8" fmla="*/ 9174 w 10000"/>
              <a:gd name="connsiteY8" fmla="*/ 1292 h 10000"/>
              <a:gd name="connsiteX9" fmla="*/ 8440 w 10000"/>
              <a:gd name="connsiteY9" fmla="*/ 843 h 10000"/>
              <a:gd name="connsiteX10" fmla="*/ 7798 w 10000"/>
              <a:gd name="connsiteY10" fmla="*/ 449 h 10000"/>
              <a:gd name="connsiteX11" fmla="*/ 6881 w 10000"/>
              <a:gd name="connsiteY11" fmla="*/ 169 h 10000"/>
              <a:gd name="connsiteX12" fmla="*/ 5963 w 10000"/>
              <a:gd name="connsiteY12" fmla="*/ 0 h 10000"/>
              <a:gd name="connsiteX13" fmla="*/ 4954 w 10000"/>
              <a:gd name="connsiteY13" fmla="*/ 0 h 10000"/>
              <a:gd name="connsiteX14" fmla="*/ 3945 w 10000"/>
              <a:gd name="connsiteY14" fmla="*/ 0 h 10000"/>
              <a:gd name="connsiteX15" fmla="*/ 2936 w 10000"/>
              <a:gd name="connsiteY15" fmla="*/ 169 h 10000"/>
              <a:gd name="connsiteX16" fmla="*/ 2202 w 10000"/>
              <a:gd name="connsiteY16" fmla="*/ 449 h 10000"/>
              <a:gd name="connsiteX17" fmla="*/ 1376 w 10000"/>
              <a:gd name="connsiteY17" fmla="*/ 843 h 10000"/>
              <a:gd name="connsiteX18" fmla="*/ 826 w 10000"/>
              <a:gd name="connsiteY18" fmla="*/ 1292 h 10000"/>
              <a:gd name="connsiteX19" fmla="*/ 275 w 10000"/>
              <a:gd name="connsiteY19" fmla="*/ 1854 h 10000"/>
              <a:gd name="connsiteX20" fmla="*/ 92 w 10000"/>
              <a:gd name="connsiteY20" fmla="*/ 2360 h 10000"/>
              <a:gd name="connsiteX21" fmla="*/ 0 w 10000"/>
              <a:gd name="connsiteY21" fmla="*/ 2978 h 10000"/>
              <a:gd name="connsiteX22" fmla="*/ 0 w 10000"/>
              <a:gd name="connsiteY22" fmla="*/ 3483 h 10000"/>
              <a:gd name="connsiteX23" fmla="*/ 183 w 10000"/>
              <a:gd name="connsiteY23" fmla="*/ 3876 h 10000"/>
              <a:gd name="connsiteX24" fmla="*/ 367 w 10000"/>
              <a:gd name="connsiteY24" fmla="*/ 4213 h 10000"/>
              <a:gd name="connsiteX25" fmla="*/ 642 w 10000"/>
              <a:gd name="connsiteY25" fmla="*/ 4663 h 10000"/>
              <a:gd name="connsiteX26" fmla="*/ 1101 w 10000"/>
              <a:gd name="connsiteY26" fmla="*/ 4888 h 10000"/>
              <a:gd name="connsiteX27" fmla="*/ 1560 w 10000"/>
              <a:gd name="connsiteY27" fmla="*/ 5281 h 10000"/>
              <a:gd name="connsiteX28" fmla="*/ 1927 w 10000"/>
              <a:gd name="connsiteY28" fmla="*/ 5506 h 10000"/>
              <a:gd name="connsiteX29" fmla="*/ 2569 w 10000"/>
              <a:gd name="connsiteY29" fmla="*/ 5730 h 10000"/>
              <a:gd name="connsiteX30" fmla="*/ 2569 w 10000"/>
              <a:gd name="connsiteY30" fmla="*/ 7191 h 10000"/>
              <a:gd name="connsiteX31" fmla="*/ 7339 w 10000"/>
              <a:gd name="connsiteY31" fmla="*/ 7191 h 10000"/>
              <a:gd name="connsiteX32" fmla="*/ 7339 w 10000"/>
              <a:gd name="connsiteY32" fmla="*/ 8820 h 10000"/>
              <a:gd name="connsiteX33" fmla="*/ 7248 w 10000"/>
              <a:gd name="connsiteY33" fmla="*/ 9045 h 10000"/>
              <a:gd name="connsiteX34" fmla="*/ 7156 w 10000"/>
              <a:gd name="connsiteY34" fmla="*/ 9157 h 10000"/>
              <a:gd name="connsiteX35" fmla="*/ 6789 w 10000"/>
              <a:gd name="connsiteY35" fmla="*/ 9382 h 10000"/>
              <a:gd name="connsiteX36" fmla="*/ 6330 w 10000"/>
              <a:gd name="connsiteY36" fmla="*/ 9494 h 10000"/>
              <a:gd name="connsiteX37" fmla="*/ 6239 w 10000"/>
              <a:gd name="connsiteY37" fmla="*/ 9719 h 10000"/>
              <a:gd name="connsiteX38" fmla="*/ 5872 w 10000"/>
              <a:gd name="connsiteY38" fmla="*/ 9831 h 10000"/>
              <a:gd name="connsiteX39" fmla="*/ 5596 w 10000"/>
              <a:gd name="connsiteY39" fmla="*/ 10000 h 10000"/>
              <a:gd name="connsiteX40" fmla="*/ 4954 w 10000"/>
              <a:gd name="connsiteY40" fmla="*/ 10000 h 10000"/>
              <a:gd name="connsiteX41" fmla="*/ 4404 w 10000"/>
              <a:gd name="connsiteY41" fmla="*/ 10000 h 10000"/>
              <a:gd name="connsiteX42" fmla="*/ 3945 w 10000"/>
              <a:gd name="connsiteY42" fmla="*/ 9831 h 10000"/>
              <a:gd name="connsiteX43" fmla="*/ 3670 w 10000"/>
              <a:gd name="connsiteY43" fmla="*/ 9719 h 10000"/>
              <a:gd name="connsiteX44" fmla="*/ 3578 w 10000"/>
              <a:gd name="connsiteY44" fmla="*/ 9494 h 10000"/>
              <a:gd name="connsiteX45" fmla="*/ 3211 w 10000"/>
              <a:gd name="connsiteY45" fmla="*/ 9382 h 10000"/>
              <a:gd name="connsiteX46" fmla="*/ 2844 w 10000"/>
              <a:gd name="connsiteY46" fmla="*/ 9157 h 10000"/>
              <a:gd name="connsiteX47" fmla="*/ 2661 w 10000"/>
              <a:gd name="connsiteY47" fmla="*/ 9045 h 10000"/>
              <a:gd name="connsiteX48" fmla="*/ 2569 w 10000"/>
              <a:gd name="connsiteY48" fmla="*/ 8820 h 10000"/>
              <a:gd name="connsiteX49" fmla="*/ 2569 w 10000"/>
              <a:gd name="connsiteY49"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10000 w 10000"/>
              <a:gd name="connsiteY4" fmla="*/ 2978 h 10000"/>
              <a:gd name="connsiteX5" fmla="*/ 9908 w 10000"/>
              <a:gd name="connsiteY5" fmla="*/ 2360 h 10000"/>
              <a:gd name="connsiteX6" fmla="*/ 9541 w 10000"/>
              <a:gd name="connsiteY6" fmla="*/ 1854 h 10000"/>
              <a:gd name="connsiteX7" fmla="*/ 9174 w 10000"/>
              <a:gd name="connsiteY7" fmla="*/ 1292 h 10000"/>
              <a:gd name="connsiteX8" fmla="*/ 8440 w 10000"/>
              <a:gd name="connsiteY8" fmla="*/ 843 h 10000"/>
              <a:gd name="connsiteX9" fmla="*/ 7798 w 10000"/>
              <a:gd name="connsiteY9" fmla="*/ 449 h 10000"/>
              <a:gd name="connsiteX10" fmla="*/ 6881 w 10000"/>
              <a:gd name="connsiteY10" fmla="*/ 169 h 10000"/>
              <a:gd name="connsiteX11" fmla="*/ 5963 w 10000"/>
              <a:gd name="connsiteY11" fmla="*/ 0 h 10000"/>
              <a:gd name="connsiteX12" fmla="*/ 4954 w 10000"/>
              <a:gd name="connsiteY12" fmla="*/ 0 h 10000"/>
              <a:gd name="connsiteX13" fmla="*/ 3945 w 10000"/>
              <a:gd name="connsiteY13" fmla="*/ 0 h 10000"/>
              <a:gd name="connsiteX14" fmla="*/ 2936 w 10000"/>
              <a:gd name="connsiteY14" fmla="*/ 169 h 10000"/>
              <a:gd name="connsiteX15" fmla="*/ 2202 w 10000"/>
              <a:gd name="connsiteY15" fmla="*/ 449 h 10000"/>
              <a:gd name="connsiteX16" fmla="*/ 1376 w 10000"/>
              <a:gd name="connsiteY16" fmla="*/ 843 h 10000"/>
              <a:gd name="connsiteX17" fmla="*/ 826 w 10000"/>
              <a:gd name="connsiteY17" fmla="*/ 1292 h 10000"/>
              <a:gd name="connsiteX18" fmla="*/ 275 w 10000"/>
              <a:gd name="connsiteY18" fmla="*/ 1854 h 10000"/>
              <a:gd name="connsiteX19" fmla="*/ 92 w 10000"/>
              <a:gd name="connsiteY19" fmla="*/ 2360 h 10000"/>
              <a:gd name="connsiteX20" fmla="*/ 0 w 10000"/>
              <a:gd name="connsiteY20" fmla="*/ 2978 h 10000"/>
              <a:gd name="connsiteX21" fmla="*/ 0 w 10000"/>
              <a:gd name="connsiteY21" fmla="*/ 3483 h 10000"/>
              <a:gd name="connsiteX22" fmla="*/ 183 w 10000"/>
              <a:gd name="connsiteY22" fmla="*/ 3876 h 10000"/>
              <a:gd name="connsiteX23" fmla="*/ 367 w 10000"/>
              <a:gd name="connsiteY23" fmla="*/ 4213 h 10000"/>
              <a:gd name="connsiteX24" fmla="*/ 642 w 10000"/>
              <a:gd name="connsiteY24" fmla="*/ 4663 h 10000"/>
              <a:gd name="connsiteX25" fmla="*/ 1101 w 10000"/>
              <a:gd name="connsiteY25" fmla="*/ 4888 h 10000"/>
              <a:gd name="connsiteX26" fmla="*/ 1560 w 10000"/>
              <a:gd name="connsiteY26" fmla="*/ 5281 h 10000"/>
              <a:gd name="connsiteX27" fmla="*/ 1927 w 10000"/>
              <a:gd name="connsiteY27" fmla="*/ 5506 h 10000"/>
              <a:gd name="connsiteX28" fmla="*/ 2569 w 10000"/>
              <a:gd name="connsiteY28" fmla="*/ 5730 h 10000"/>
              <a:gd name="connsiteX29" fmla="*/ 2569 w 10000"/>
              <a:gd name="connsiteY29" fmla="*/ 7191 h 10000"/>
              <a:gd name="connsiteX30" fmla="*/ 7339 w 10000"/>
              <a:gd name="connsiteY30" fmla="*/ 7191 h 10000"/>
              <a:gd name="connsiteX31" fmla="*/ 7339 w 10000"/>
              <a:gd name="connsiteY31" fmla="*/ 8820 h 10000"/>
              <a:gd name="connsiteX32" fmla="*/ 7248 w 10000"/>
              <a:gd name="connsiteY32" fmla="*/ 9045 h 10000"/>
              <a:gd name="connsiteX33" fmla="*/ 7156 w 10000"/>
              <a:gd name="connsiteY33" fmla="*/ 9157 h 10000"/>
              <a:gd name="connsiteX34" fmla="*/ 6789 w 10000"/>
              <a:gd name="connsiteY34" fmla="*/ 9382 h 10000"/>
              <a:gd name="connsiteX35" fmla="*/ 6330 w 10000"/>
              <a:gd name="connsiteY35" fmla="*/ 9494 h 10000"/>
              <a:gd name="connsiteX36" fmla="*/ 6239 w 10000"/>
              <a:gd name="connsiteY36" fmla="*/ 9719 h 10000"/>
              <a:gd name="connsiteX37" fmla="*/ 5872 w 10000"/>
              <a:gd name="connsiteY37" fmla="*/ 9831 h 10000"/>
              <a:gd name="connsiteX38" fmla="*/ 5596 w 10000"/>
              <a:gd name="connsiteY38" fmla="*/ 10000 h 10000"/>
              <a:gd name="connsiteX39" fmla="*/ 4954 w 10000"/>
              <a:gd name="connsiteY39" fmla="*/ 10000 h 10000"/>
              <a:gd name="connsiteX40" fmla="*/ 4404 w 10000"/>
              <a:gd name="connsiteY40" fmla="*/ 10000 h 10000"/>
              <a:gd name="connsiteX41" fmla="*/ 3945 w 10000"/>
              <a:gd name="connsiteY41" fmla="*/ 9831 h 10000"/>
              <a:gd name="connsiteX42" fmla="*/ 3670 w 10000"/>
              <a:gd name="connsiteY42" fmla="*/ 9719 h 10000"/>
              <a:gd name="connsiteX43" fmla="*/ 3578 w 10000"/>
              <a:gd name="connsiteY43" fmla="*/ 9494 h 10000"/>
              <a:gd name="connsiteX44" fmla="*/ 3211 w 10000"/>
              <a:gd name="connsiteY44" fmla="*/ 9382 h 10000"/>
              <a:gd name="connsiteX45" fmla="*/ 2844 w 10000"/>
              <a:gd name="connsiteY45" fmla="*/ 9157 h 10000"/>
              <a:gd name="connsiteX46" fmla="*/ 2661 w 10000"/>
              <a:gd name="connsiteY46" fmla="*/ 9045 h 10000"/>
              <a:gd name="connsiteX47" fmla="*/ 2569 w 10000"/>
              <a:gd name="connsiteY47" fmla="*/ 8820 h 10000"/>
              <a:gd name="connsiteX48" fmla="*/ 2569 w 10000"/>
              <a:gd name="connsiteY48" fmla="*/ 8202 h 10000"/>
              <a:gd name="connsiteX0" fmla="*/ 7339 w 10000"/>
              <a:gd name="connsiteY0" fmla="*/ 5730 h 10000"/>
              <a:gd name="connsiteX1" fmla="*/ 7339 w 10000"/>
              <a:gd name="connsiteY1" fmla="*/ 5730 h 10000"/>
              <a:gd name="connsiteX2" fmla="*/ 7890 w 10000"/>
              <a:gd name="connsiteY2" fmla="*/ 5506 h 10000"/>
              <a:gd name="connsiteX3" fmla="*/ 10000 w 10000"/>
              <a:gd name="connsiteY3" fmla="*/ 2978 h 10000"/>
              <a:gd name="connsiteX4" fmla="*/ 9908 w 10000"/>
              <a:gd name="connsiteY4" fmla="*/ 2360 h 10000"/>
              <a:gd name="connsiteX5" fmla="*/ 9541 w 10000"/>
              <a:gd name="connsiteY5" fmla="*/ 1854 h 10000"/>
              <a:gd name="connsiteX6" fmla="*/ 9174 w 10000"/>
              <a:gd name="connsiteY6" fmla="*/ 1292 h 10000"/>
              <a:gd name="connsiteX7" fmla="*/ 8440 w 10000"/>
              <a:gd name="connsiteY7" fmla="*/ 843 h 10000"/>
              <a:gd name="connsiteX8" fmla="*/ 7798 w 10000"/>
              <a:gd name="connsiteY8" fmla="*/ 449 h 10000"/>
              <a:gd name="connsiteX9" fmla="*/ 6881 w 10000"/>
              <a:gd name="connsiteY9" fmla="*/ 169 h 10000"/>
              <a:gd name="connsiteX10" fmla="*/ 5963 w 10000"/>
              <a:gd name="connsiteY10" fmla="*/ 0 h 10000"/>
              <a:gd name="connsiteX11" fmla="*/ 4954 w 10000"/>
              <a:gd name="connsiteY11" fmla="*/ 0 h 10000"/>
              <a:gd name="connsiteX12" fmla="*/ 3945 w 10000"/>
              <a:gd name="connsiteY12" fmla="*/ 0 h 10000"/>
              <a:gd name="connsiteX13" fmla="*/ 2936 w 10000"/>
              <a:gd name="connsiteY13" fmla="*/ 169 h 10000"/>
              <a:gd name="connsiteX14" fmla="*/ 2202 w 10000"/>
              <a:gd name="connsiteY14" fmla="*/ 449 h 10000"/>
              <a:gd name="connsiteX15" fmla="*/ 1376 w 10000"/>
              <a:gd name="connsiteY15" fmla="*/ 843 h 10000"/>
              <a:gd name="connsiteX16" fmla="*/ 826 w 10000"/>
              <a:gd name="connsiteY16" fmla="*/ 1292 h 10000"/>
              <a:gd name="connsiteX17" fmla="*/ 275 w 10000"/>
              <a:gd name="connsiteY17" fmla="*/ 1854 h 10000"/>
              <a:gd name="connsiteX18" fmla="*/ 92 w 10000"/>
              <a:gd name="connsiteY18" fmla="*/ 2360 h 10000"/>
              <a:gd name="connsiteX19" fmla="*/ 0 w 10000"/>
              <a:gd name="connsiteY19" fmla="*/ 2978 h 10000"/>
              <a:gd name="connsiteX20" fmla="*/ 0 w 10000"/>
              <a:gd name="connsiteY20" fmla="*/ 3483 h 10000"/>
              <a:gd name="connsiteX21" fmla="*/ 183 w 10000"/>
              <a:gd name="connsiteY21" fmla="*/ 3876 h 10000"/>
              <a:gd name="connsiteX22" fmla="*/ 367 w 10000"/>
              <a:gd name="connsiteY22" fmla="*/ 4213 h 10000"/>
              <a:gd name="connsiteX23" fmla="*/ 642 w 10000"/>
              <a:gd name="connsiteY23" fmla="*/ 4663 h 10000"/>
              <a:gd name="connsiteX24" fmla="*/ 1101 w 10000"/>
              <a:gd name="connsiteY24" fmla="*/ 4888 h 10000"/>
              <a:gd name="connsiteX25" fmla="*/ 1560 w 10000"/>
              <a:gd name="connsiteY25" fmla="*/ 5281 h 10000"/>
              <a:gd name="connsiteX26" fmla="*/ 1927 w 10000"/>
              <a:gd name="connsiteY26" fmla="*/ 5506 h 10000"/>
              <a:gd name="connsiteX27" fmla="*/ 2569 w 10000"/>
              <a:gd name="connsiteY27" fmla="*/ 5730 h 10000"/>
              <a:gd name="connsiteX28" fmla="*/ 2569 w 10000"/>
              <a:gd name="connsiteY28" fmla="*/ 7191 h 10000"/>
              <a:gd name="connsiteX29" fmla="*/ 7339 w 10000"/>
              <a:gd name="connsiteY29" fmla="*/ 7191 h 10000"/>
              <a:gd name="connsiteX30" fmla="*/ 7339 w 10000"/>
              <a:gd name="connsiteY30" fmla="*/ 8820 h 10000"/>
              <a:gd name="connsiteX31" fmla="*/ 7248 w 10000"/>
              <a:gd name="connsiteY31" fmla="*/ 9045 h 10000"/>
              <a:gd name="connsiteX32" fmla="*/ 7156 w 10000"/>
              <a:gd name="connsiteY32" fmla="*/ 9157 h 10000"/>
              <a:gd name="connsiteX33" fmla="*/ 6789 w 10000"/>
              <a:gd name="connsiteY33" fmla="*/ 9382 h 10000"/>
              <a:gd name="connsiteX34" fmla="*/ 6330 w 10000"/>
              <a:gd name="connsiteY34" fmla="*/ 9494 h 10000"/>
              <a:gd name="connsiteX35" fmla="*/ 6239 w 10000"/>
              <a:gd name="connsiteY35" fmla="*/ 9719 h 10000"/>
              <a:gd name="connsiteX36" fmla="*/ 5872 w 10000"/>
              <a:gd name="connsiteY36" fmla="*/ 9831 h 10000"/>
              <a:gd name="connsiteX37" fmla="*/ 5596 w 10000"/>
              <a:gd name="connsiteY37" fmla="*/ 10000 h 10000"/>
              <a:gd name="connsiteX38" fmla="*/ 4954 w 10000"/>
              <a:gd name="connsiteY38" fmla="*/ 10000 h 10000"/>
              <a:gd name="connsiteX39" fmla="*/ 4404 w 10000"/>
              <a:gd name="connsiteY39" fmla="*/ 10000 h 10000"/>
              <a:gd name="connsiteX40" fmla="*/ 3945 w 10000"/>
              <a:gd name="connsiteY40" fmla="*/ 9831 h 10000"/>
              <a:gd name="connsiteX41" fmla="*/ 3670 w 10000"/>
              <a:gd name="connsiteY41" fmla="*/ 9719 h 10000"/>
              <a:gd name="connsiteX42" fmla="*/ 3578 w 10000"/>
              <a:gd name="connsiteY42" fmla="*/ 9494 h 10000"/>
              <a:gd name="connsiteX43" fmla="*/ 3211 w 10000"/>
              <a:gd name="connsiteY43" fmla="*/ 9382 h 10000"/>
              <a:gd name="connsiteX44" fmla="*/ 2844 w 10000"/>
              <a:gd name="connsiteY44" fmla="*/ 9157 h 10000"/>
              <a:gd name="connsiteX45" fmla="*/ 2661 w 10000"/>
              <a:gd name="connsiteY45" fmla="*/ 9045 h 10000"/>
              <a:gd name="connsiteX46" fmla="*/ 2569 w 10000"/>
              <a:gd name="connsiteY46" fmla="*/ 8820 h 10000"/>
              <a:gd name="connsiteX47" fmla="*/ 2569 w 10000"/>
              <a:gd name="connsiteY47" fmla="*/ 8202 h 10000"/>
              <a:gd name="connsiteX0" fmla="*/ 7339 w 10000"/>
              <a:gd name="connsiteY0" fmla="*/ 5730 h 10000"/>
              <a:gd name="connsiteX1" fmla="*/ 7339 w 10000"/>
              <a:gd name="connsiteY1" fmla="*/ 5730 h 10000"/>
              <a:gd name="connsiteX2" fmla="*/ 10000 w 10000"/>
              <a:gd name="connsiteY2" fmla="*/ 2978 h 10000"/>
              <a:gd name="connsiteX3" fmla="*/ 9908 w 10000"/>
              <a:gd name="connsiteY3" fmla="*/ 2360 h 10000"/>
              <a:gd name="connsiteX4" fmla="*/ 9541 w 10000"/>
              <a:gd name="connsiteY4" fmla="*/ 1854 h 10000"/>
              <a:gd name="connsiteX5" fmla="*/ 9174 w 10000"/>
              <a:gd name="connsiteY5" fmla="*/ 1292 h 10000"/>
              <a:gd name="connsiteX6" fmla="*/ 8440 w 10000"/>
              <a:gd name="connsiteY6" fmla="*/ 843 h 10000"/>
              <a:gd name="connsiteX7" fmla="*/ 7798 w 10000"/>
              <a:gd name="connsiteY7" fmla="*/ 449 h 10000"/>
              <a:gd name="connsiteX8" fmla="*/ 6881 w 10000"/>
              <a:gd name="connsiteY8" fmla="*/ 169 h 10000"/>
              <a:gd name="connsiteX9" fmla="*/ 5963 w 10000"/>
              <a:gd name="connsiteY9" fmla="*/ 0 h 10000"/>
              <a:gd name="connsiteX10" fmla="*/ 4954 w 10000"/>
              <a:gd name="connsiteY10" fmla="*/ 0 h 10000"/>
              <a:gd name="connsiteX11" fmla="*/ 3945 w 10000"/>
              <a:gd name="connsiteY11" fmla="*/ 0 h 10000"/>
              <a:gd name="connsiteX12" fmla="*/ 2936 w 10000"/>
              <a:gd name="connsiteY12" fmla="*/ 169 h 10000"/>
              <a:gd name="connsiteX13" fmla="*/ 2202 w 10000"/>
              <a:gd name="connsiteY13" fmla="*/ 449 h 10000"/>
              <a:gd name="connsiteX14" fmla="*/ 1376 w 10000"/>
              <a:gd name="connsiteY14" fmla="*/ 843 h 10000"/>
              <a:gd name="connsiteX15" fmla="*/ 826 w 10000"/>
              <a:gd name="connsiteY15" fmla="*/ 1292 h 10000"/>
              <a:gd name="connsiteX16" fmla="*/ 275 w 10000"/>
              <a:gd name="connsiteY16" fmla="*/ 1854 h 10000"/>
              <a:gd name="connsiteX17" fmla="*/ 92 w 10000"/>
              <a:gd name="connsiteY17" fmla="*/ 2360 h 10000"/>
              <a:gd name="connsiteX18" fmla="*/ 0 w 10000"/>
              <a:gd name="connsiteY18" fmla="*/ 2978 h 10000"/>
              <a:gd name="connsiteX19" fmla="*/ 0 w 10000"/>
              <a:gd name="connsiteY19" fmla="*/ 3483 h 10000"/>
              <a:gd name="connsiteX20" fmla="*/ 183 w 10000"/>
              <a:gd name="connsiteY20" fmla="*/ 3876 h 10000"/>
              <a:gd name="connsiteX21" fmla="*/ 367 w 10000"/>
              <a:gd name="connsiteY21" fmla="*/ 4213 h 10000"/>
              <a:gd name="connsiteX22" fmla="*/ 642 w 10000"/>
              <a:gd name="connsiteY22" fmla="*/ 4663 h 10000"/>
              <a:gd name="connsiteX23" fmla="*/ 1101 w 10000"/>
              <a:gd name="connsiteY23" fmla="*/ 4888 h 10000"/>
              <a:gd name="connsiteX24" fmla="*/ 1560 w 10000"/>
              <a:gd name="connsiteY24" fmla="*/ 5281 h 10000"/>
              <a:gd name="connsiteX25" fmla="*/ 1927 w 10000"/>
              <a:gd name="connsiteY25" fmla="*/ 5506 h 10000"/>
              <a:gd name="connsiteX26" fmla="*/ 2569 w 10000"/>
              <a:gd name="connsiteY26" fmla="*/ 5730 h 10000"/>
              <a:gd name="connsiteX27" fmla="*/ 2569 w 10000"/>
              <a:gd name="connsiteY27" fmla="*/ 7191 h 10000"/>
              <a:gd name="connsiteX28" fmla="*/ 7339 w 10000"/>
              <a:gd name="connsiteY28" fmla="*/ 7191 h 10000"/>
              <a:gd name="connsiteX29" fmla="*/ 7339 w 10000"/>
              <a:gd name="connsiteY29" fmla="*/ 8820 h 10000"/>
              <a:gd name="connsiteX30" fmla="*/ 7248 w 10000"/>
              <a:gd name="connsiteY30" fmla="*/ 9045 h 10000"/>
              <a:gd name="connsiteX31" fmla="*/ 7156 w 10000"/>
              <a:gd name="connsiteY31" fmla="*/ 9157 h 10000"/>
              <a:gd name="connsiteX32" fmla="*/ 6789 w 10000"/>
              <a:gd name="connsiteY32" fmla="*/ 9382 h 10000"/>
              <a:gd name="connsiteX33" fmla="*/ 6330 w 10000"/>
              <a:gd name="connsiteY33" fmla="*/ 9494 h 10000"/>
              <a:gd name="connsiteX34" fmla="*/ 6239 w 10000"/>
              <a:gd name="connsiteY34" fmla="*/ 9719 h 10000"/>
              <a:gd name="connsiteX35" fmla="*/ 5872 w 10000"/>
              <a:gd name="connsiteY35" fmla="*/ 9831 h 10000"/>
              <a:gd name="connsiteX36" fmla="*/ 5596 w 10000"/>
              <a:gd name="connsiteY36" fmla="*/ 10000 h 10000"/>
              <a:gd name="connsiteX37" fmla="*/ 4954 w 10000"/>
              <a:gd name="connsiteY37" fmla="*/ 10000 h 10000"/>
              <a:gd name="connsiteX38" fmla="*/ 4404 w 10000"/>
              <a:gd name="connsiteY38" fmla="*/ 10000 h 10000"/>
              <a:gd name="connsiteX39" fmla="*/ 3945 w 10000"/>
              <a:gd name="connsiteY39" fmla="*/ 9831 h 10000"/>
              <a:gd name="connsiteX40" fmla="*/ 3670 w 10000"/>
              <a:gd name="connsiteY40" fmla="*/ 9719 h 10000"/>
              <a:gd name="connsiteX41" fmla="*/ 3578 w 10000"/>
              <a:gd name="connsiteY41" fmla="*/ 9494 h 10000"/>
              <a:gd name="connsiteX42" fmla="*/ 3211 w 10000"/>
              <a:gd name="connsiteY42" fmla="*/ 9382 h 10000"/>
              <a:gd name="connsiteX43" fmla="*/ 2844 w 10000"/>
              <a:gd name="connsiteY43" fmla="*/ 9157 h 10000"/>
              <a:gd name="connsiteX44" fmla="*/ 2661 w 10000"/>
              <a:gd name="connsiteY44" fmla="*/ 9045 h 10000"/>
              <a:gd name="connsiteX45" fmla="*/ 2569 w 10000"/>
              <a:gd name="connsiteY45" fmla="*/ 8820 h 10000"/>
              <a:gd name="connsiteX46" fmla="*/ 2569 w 10000"/>
              <a:gd name="connsiteY46" fmla="*/ 8202 h 10000"/>
              <a:gd name="connsiteX0" fmla="*/ 7339 w 12281"/>
              <a:gd name="connsiteY0" fmla="*/ 5730 h 10000"/>
              <a:gd name="connsiteX1" fmla="*/ 12281 w 12281"/>
              <a:gd name="connsiteY1" fmla="*/ 5033 h 10000"/>
              <a:gd name="connsiteX2" fmla="*/ 10000 w 12281"/>
              <a:gd name="connsiteY2" fmla="*/ 2978 h 10000"/>
              <a:gd name="connsiteX3" fmla="*/ 9908 w 12281"/>
              <a:gd name="connsiteY3" fmla="*/ 2360 h 10000"/>
              <a:gd name="connsiteX4" fmla="*/ 9541 w 12281"/>
              <a:gd name="connsiteY4" fmla="*/ 1854 h 10000"/>
              <a:gd name="connsiteX5" fmla="*/ 9174 w 12281"/>
              <a:gd name="connsiteY5" fmla="*/ 1292 h 10000"/>
              <a:gd name="connsiteX6" fmla="*/ 8440 w 12281"/>
              <a:gd name="connsiteY6" fmla="*/ 843 h 10000"/>
              <a:gd name="connsiteX7" fmla="*/ 7798 w 12281"/>
              <a:gd name="connsiteY7" fmla="*/ 449 h 10000"/>
              <a:gd name="connsiteX8" fmla="*/ 6881 w 12281"/>
              <a:gd name="connsiteY8" fmla="*/ 169 h 10000"/>
              <a:gd name="connsiteX9" fmla="*/ 5963 w 12281"/>
              <a:gd name="connsiteY9" fmla="*/ 0 h 10000"/>
              <a:gd name="connsiteX10" fmla="*/ 4954 w 12281"/>
              <a:gd name="connsiteY10" fmla="*/ 0 h 10000"/>
              <a:gd name="connsiteX11" fmla="*/ 3945 w 12281"/>
              <a:gd name="connsiteY11" fmla="*/ 0 h 10000"/>
              <a:gd name="connsiteX12" fmla="*/ 2936 w 12281"/>
              <a:gd name="connsiteY12" fmla="*/ 169 h 10000"/>
              <a:gd name="connsiteX13" fmla="*/ 2202 w 12281"/>
              <a:gd name="connsiteY13" fmla="*/ 449 h 10000"/>
              <a:gd name="connsiteX14" fmla="*/ 1376 w 12281"/>
              <a:gd name="connsiteY14" fmla="*/ 843 h 10000"/>
              <a:gd name="connsiteX15" fmla="*/ 826 w 12281"/>
              <a:gd name="connsiteY15" fmla="*/ 1292 h 10000"/>
              <a:gd name="connsiteX16" fmla="*/ 275 w 12281"/>
              <a:gd name="connsiteY16" fmla="*/ 1854 h 10000"/>
              <a:gd name="connsiteX17" fmla="*/ 92 w 12281"/>
              <a:gd name="connsiteY17" fmla="*/ 2360 h 10000"/>
              <a:gd name="connsiteX18" fmla="*/ 0 w 12281"/>
              <a:gd name="connsiteY18" fmla="*/ 2978 h 10000"/>
              <a:gd name="connsiteX19" fmla="*/ 0 w 12281"/>
              <a:gd name="connsiteY19" fmla="*/ 3483 h 10000"/>
              <a:gd name="connsiteX20" fmla="*/ 183 w 12281"/>
              <a:gd name="connsiteY20" fmla="*/ 3876 h 10000"/>
              <a:gd name="connsiteX21" fmla="*/ 367 w 12281"/>
              <a:gd name="connsiteY21" fmla="*/ 4213 h 10000"/>
              <a:gd name="connsiteX22" fmla="*/ 642 w 12281"/>
              <a:gd name="connsiteY22" fmla="*/ 4663 h 10000"/>
              <a:gd name="connsiteX23" fmla="*/ 1101 w 12281"/>
              <a:gd name="connsiteY23" fmla="*/ 4888 h 10000"/>
              <a:gd name="connsiteX24" fmla="*/ 1560 w 12281"/>
              <a:gd name="connsiteY24" fmla="*/ 5281 h 10000"/>
              <a:gd name="connsiteX25" fmla="*/ 1927 w 12281"/>
              <a:gd name="connsiteY25" fmla="*/ 5506 h 10000"/>
              <a:gd name="connsiteX26" fmla="*/ 2569 w 12281"/>
              <a:gd name="connsiteY26" fmla="*/ 5730 h 10000"/>
              <a:gd name="connsiteX27" fmla="*/ 2569 w 12281"/>
              <a:gd name="connsiteY27" fmla="*/ 7191 h 10000"/>
              <a:gd name="connsiteX28" fmla="*/ 7339 w 12281"/>
              <a:gd name="connsiteY28" fmla="*/ 7191 h 10000"/>
              <a:gd name="connsiteX29" fmla="*/ 7339 w 12281"/>
              <a:gd name="connsiteY29" fmla="*/ 8820 h 10000"/>
              <a:gd name="connsiteX30" fmla="*/ 7248 w 12281"/>
              <a:gd name="connsiteY30" fmla="*/ 9045 h 10000"/>
              <a:gd name="connsiteX31" fmla="*/ 7156 w 12281"/>
              <a:gd name="connsiteY31" fmla="*/ 9157 h 10000"/>
              <a:gd name="connsiteX32" fmla="*/ 6789 w 12281"/>
              <a:gd name="connsiteY32" fmla="*/ 9382 h 10000"/>
              <a:gd name="connsiteX33" fmla="*/ 6330 w 12281"/>
              <a:gd name="connsiteY33" fmla="*/ 9494 h 10000"/>
              <a:gd name="connsiteX34" fmla="*/ 6239 w 12281"/>
              <a:gd name="connsiteY34" fmla="*/ 9719 h 10000"/>
              <a:gd name="connsiteX35" fmla="*/ 5872 w 12281"/>
              <a:gd name="connsiteY35" fmla="*/ 9831 h 10000"/>
              <a:gd name="connsiteX36" fmla="*/ 5596 w 12281"/>
              <a:gd name="connsiteY36" fmla="*/ 10000 h 10000"/>
              <a:gd name="connsiteX37" fmla="*/ 4954 w 12281"/>
              <a:gd name="connsiteY37" fmla="*/ 10000 h 10000"/>
              <a:gd name="connsiteX38" fmla="*/ 4404 w 12281"/>
              <a:gd name="connsiteY38" fmla="*/ 10000 h 10000"/>
              <a:gd name="connsiteX39" fmla="*/ 3945 w 12281"/>
              <a:gd name="connsiteY39" fmla="*/ 9831 h 10000"/>
              <a:gd name="connsiteX40" fmla="*/ 3670 w 12281"/>
              <a:gd name="connsiteY40" fmla="*/ 9719 h 10000"/>
              <a:gd name="connsiteX41" fmla="*/ 3578 w 12281"/>
              <a:gd name="connsiteY41" fmla="*/ 9494 h 10000"/>
              <a:gd name="connsiteX42" fmla="*/ 3211 w 12281"/>
              <a:gd name="connsiteY42" fmla="*/ 9382 h 10000"/>
              <a:gd name="connsiteX43" fmla="*/ 2844 w 12281"/>
              <a:gd name="connsiteY43" fmla="*/ 9157 h 10000"/>
              <a:gd name="connsiteX44" fmla="*/ 2661 w 12281"/>
              <a:gd name="connsiteY44" fmla="*/ 9045 h 10000"/>
              <a:gd name="connsiteX45" fmla="*/ 2569 w 12281"/>
              <a:gd name="connsiteY45" fmla="*/ 8820 h 10000"/>
              <a:gd name="connsiteX46" fmla="*/ 2569 w 12281"/>
              <a:gd name="connsiteY46" fmla="*/ 8202 h 10000"/>
              <a:gd name="connsiteX0" fmla="*/ 7339 w 12337"/>
              <a:gd name="connsiteY0" fmla="*/ 5730 h 10000"/>
              <a:gd name="connsiteX1" fmla="*/ 12281 w 12337"/>
              <a:gd name="connsiteY1" fmla="*/ 5033 h 10000"/>
              <a:gd name="connsiteX2" fmla="*/ 10000 w 12337"/>
              <a:gd name="connsiteY2" fmla="*/ 2978 h 10000"/>
              <a:gd name="connsiteX3" fmla="*/ 9908 w 12337"/>
              <a:gd name="connsiteY3" fmla="*/ 2360 h 10000"/>
              <a:gd name="connsiteX4" fmla="*/ 9541 w 12337"/>
              <a:gd name="connsiteY4" fmla="*/ 1854 h 10000"/>
              <a:gd name="connsiteX5" fmla="*/ 9174 w 12337"/>
              <a:gd name="connsiteY5" fmla="*/ 1292 h 10000"/>
              <a:gd name="connsiteX6" fmla="*/ 8440 w 12337"/>
              <a:gd name="connsiteY6" fmla="*/ 843 h 10000"/>
              <a:gd name="connsiteX7" fmla="*/ 7798 w 12337"/>
              <a:gd name="connsiteY7" fmla="*/ 449 h 10000"/>
              <a:gd name="connsiteX8" fmla="*/ 6881 w 12337"/>
              <a:gd name="connsiteY8" fmla="*/ 169 h 10000"/>
              <a:gd name="connsiteX9" fmla="*/ 5963 w 12337"/>
              <a:gd name="connsiteY9" fmla="*/ 0 h 10000"/>
              <a:gd name="connsiteX10" fmla="*/ 4954 w 12337"/>
              <a:gd name="connsiteY10" fmla="*/ 0 h 10000"/>
              <a:gd name="connsiteX11" fmla="*/ 3945 w 12337"/>
              <a:gd name="connsiteY11" fmla="*/ 0 h 10000"/>
              <a:gd name="connsiteX12" fmla="*/ 2936 w 12337"/>
              <a:gd name="connsiteY12" fmla="*/ 169 h 10000"/>
              <a:gd name="connsiteX13" fmla="*/ 2202 w 12337"/>
              <a:gd name="connsiteY13" fmla="*/ 449 h 10000"/>
              <a:gd name="connsiteX14" fmla="*/ 1376 w 12337"/>
              <a:gd name="connsiteY14" fmla="*/ 843 h 10000"/>
              <a:gd name="connsiteX15" fmla="*/ 826 w 12337"/>
              <a:gd name="connsiteY15" fmla="*/ 1292 h 10000"/>
              <a:gd name="connsiteX16" fmla="*/ 275 w 12337"/>
              <a:gd name="connsiteY16" fmla="*/ 1854 h 10000"/>
              <a:gd name="connsiteX17" fmla="*/ 92 w 12337"/>
              <a:gd name="connsiteY17" fmla="*/ 2360 h 10000"/>
              <a:gd name="connsiteX18" fmla="*/ 0 w 12337"/>
              <a:gd name="connsiteY18" fmla="*/ 2978 h 10000"/>
              <a:gd name="connsiteX19" fmla="*/ 0 w 12337"/>
              <a:gd name="connsiteY19" fmla="*/ 3483 h 10000"/>
              <a:gd name="connsiteX20" fmla="*/ 183 w 12337"/>
              <a:gd name="connsiteY20" fmla="*/ 3876 h 10000"/>
              <a:gd name="connsiteX21" fmla="*/ 367 w 12337"/>
              <a:gd name="connsiteY21" fmla="*/ 4213 h 10000"/>
              <a:gd name="connsiteX22" fmla="*/ 642 w 12337"/>
              <a:gd name="connsiteY22" fmla="*/ 4663 h 10000"/>
              <a:gd name="connsiteX23" fmla="*/ 1101 w 12337"/>
              <a:gd name="connsiteY23" fmla="*/ 4888 h 10000"/>
              <a:gd name="connsiteX24" fmla="*/ 1560 w 12337"/>
              <a:gd name="connsiteY24" fmla="*/ 5281 h 10000"/>
              <a:gd name="connsiteX25" fmla="*/ 1927 w 12337"/>
              <a:gd name="connsiteY25" fmla="*/ 5506 h 10000"/>
              <a:gd name="connsiteX26" fmla="*/ 2569 w 12337"/>
              <a:gd name="connsiteY26" fmla="*/ 5730 h 10000"/>
              <a:gd name="connsiteX27" fmla="*/ 2569 w 12337"/>
              <a:gd name="connsiteY27" fmla="*/ 7191 h 10000"/>
              <a:gd name="connsiteX28" fmla="*/ 7339 w 12337"/>
              <a:gd name="connsiteY28" fmla="*/ 7191 h 10000"/>
              <a:gd name="connsiteX29" fmla="*/ 7339 w 12337"/>
              <a:gd name="connsiteY29" fmla="*/ 8820 h 10000"/>
              <a:gd name="connsiteX30" fmla="*/ 7248 w 12337"/>
              <a:gd name="connsiteY30" fmla="*/ 9045 h 10000"/>
              <a:gd name="connsiteX31" fmla="*/ 7156 w 12337"/>
              <a:gd name="connsiteY31" fmla="*/ 9157 h 10000"/>
              <a:gd name="connsiteX32" fmla="*/ 6789 w 12337"/>
              <a:gd name="connsiteY32" fmla="*/ 9382 h 10000"/>
              <a:gd name="connsiteX33" fmla="*/ 6330 w 12337"/>
              <a:gd name="connsiteY33" fmla="*/ 9494 h 10000"/>
              <a:gd name="connsiteX34" fmla="*/ 6239 w 12337"/>
              <a:gd name="connsiteY34" fmla="*/ 9719 h 10000"/>
              <a:gd name="connsiteX35" fmla="*/ 5872 w 12337"/>
              <a:gd name="connsiteY35" fmla="*/ 9831 h 10000"/>
              <a:gd name="connsiteX36" fmla="*/ 5596 w 12337"/>
              <a:gd name="connsiteY36" fmla="*/ 10000 h 10000"/>
              <a:gd name="connsiteX37" fmla="*/ 4954 w 12337"/>
              <a:gd name="connsiteY37" fmla="*/ 10000 h 10000"/>
              <a:gd name="connsiteX38" fmla="*/ 4404 w 12337"/>
              <a:gd name="connsiteY38" fmla="*/ 10000 h 10000"/>
              <a:gd name="connsiteX39" fmla="*/ 3945 w 12337"/>
              <a:gd name="connsiteY39" fmla="*/ 9831 h 10000"/>
              <a:gd name="connsiteX40" fmla="*/ 3670 w 12337"/>
              <a:gd name="connsiteY40" fmla="*/ 9719 h 10000"/>
              <a:gd name="connsiteX41" fmla="*/ 3578 w 12337"/>
              <a:gd name="connsiteY41" fmla="*/ 9494 h 10000"/>
              <a:gd name="connsiteX42" fmla="*/ 3211 w 12337"/>
              <a:gd name="connsiteY42" fmla="*/ 9382 h 10000"/>
              <a:gd name="connsiteX43" fmla="*/ 2844 w 12337"/>
              <a:gd name="connsiteY43" fmla="*/ 9157 h 10000"/>
              <a:gd name="connsiteX44" fmla="*/ 2661 w 12337"/>
              <a:gd name="connsiteY44" fmla="*/ 9045 h 10000"/>
              <a:gd name="connsiteX45" fmla="*/ 2569 w 12337"/>
              <a:gd name="connsiteY45" fmla="*/ 8820 h 10000"/>
              <a:gd name="connsiteX46" fmla="*/ 2569 w 12337"/>
              <a:gd name="connsiteY46" fmla="*/ 8202 h 10000"/>
              <a:gd name="connsiteX0" fmla="*/ 7339 w 10083"/>
              <a:gd name="connsiteY0" fmla="*/ 5730 h 10000"/>
              <a:gd name="connsiteX1" fmla="*/ 8831 w 10083"/>
              <a:gd name="connsiteY1" fmla="*/ 4917 h 10000"/>
              <a:gd name="connsiteX2" fmla="*/ 10000 w 10083"/>
              <a:gd name="connsiteY2" fmla="*/ 2978 h 10000"/>
              <a:gd name="connsiteX3" fmla="*/ 9908 w 10083"/>
              <a:gd name="connsiteY3" fmla="*/ 2360 h 10000"/>
              <a:gd name="connsiteX4" fmla="*/ 9541 w 10083"/>
              <a:gd name="connsiteY4" fmla="*/ 1854 h 10000"/>
              <a:gd name="connsiteX5" fmla="*/ 9174 w 10083"/>
              <a:gd name="connsiteY5" fmla="*/ 1292 h 10000"/>
              <a:gd name="connsiteX6" fmla="*/ 8440 w 10083"/>
              <a:gd name="connsiteY6" fmla="*/ 843 h 10000"/>
              <a:gd name="connsiteX7" fmla="*/ 7798 w 10083"/>
              <a:gd name="connsiteY7" fmla="*/ 449 h 10000"/>
              <a:gd name="connsiteX8" fmla="*/ 6881 w 10083"/>
              <a:gd name="connsiteY8" fmla="*/ 169 h 10000"/>
              <a:gd name="connsiteX9" fmla="*/ 5963 w 10083"/>
              <a:gd name="connsiteY9" fmla="*/ 0 h 10000"/>
              <a:gd name="connsiteX10" fmla="*/ 4954 w 10083"/>
              <a:gd name="connsiteY10" fmla="*/ 0 h 10000"/>
              <a:gd name="connsiteX11" fmla="*/ 3945 w 10083"/>
              <a:gd name="connsiteY11" fmla="*/ 0 h 10000"/>
              <a:gd name="connsiteX12" fmla="*/ 2936 w 10083"/>
              <a:gd name="connsiteY12" fmla="*/ 169 h 10000"/>
              <a:gd name="connsiteX13" fmla="*/ 2202 w 10083"/>
              <a:gd name="connsiteY13" fmla="*/ 449 h 10000"/>
              <a:gd name="connsiteX14" fmla="*/ 1376 w 10083"/>
              <a:gd name="connsiteY14" fmla="*/ 843 h 10000"/>
              <a:gd name="connsiteX15" fmla="*/ 826 w 10083"/>
              <a:gd name="connsiteY15" fmla="*/ 1292 h 10000"/>
              <a:gd name="connsiteX16" fmla="*/ 275 w 10083"/>
              <a:gd name="connsiteY16" fmla="*/ 1854 h 10000"/>
              <a:gd name="connsiteX17" fmla="*/ 92 w 10083"/>
              <a:gd name="connsiteY17" fmla="*/ 2360 h 10000"/>
              <a:gd name="connsiteX18" fmla="*/ 0 w 10083"/>
              <a:gd name="connsiteY18" fmla="*/ 2978 h 10000"/>
              <a:gd name="connsiteX19" fmla="*/ 0 w 10083"/>
              <a:gd name="connsiteY19" fmla="*/ 3483 h 10000"/>
              <a:gd name="connsiteX20" fmla="*/ 183 w 10083"/>
              <a:gd name="connsiteY20" fmla="*/ 3876 h 10000"/>
              <a:gd name="connsiteX21" fmla="*/ 367 w 10083"/>
              <a:gd name="connsiteY21" fmla="*/ 4213 h 10000"/>
              <a:gd name="connsiteX22" fmla="*/ 642 w 10083"/>
              <a:gd name="connsiteY22" fmla="*/ 4663 h 10000"/>
              <a:gd name="connsiteX23" fmla="*/ 1101 w 10083"/>
              <a:gd name="connsiteY23" fmla="*/ 4888 h 10000"/>
              <a:gd name="connsiteX24" fmla="*/ 1560 w 10083"/>
              <a:gd name="connsiteY24" fmla="*/ 5281 h 10000"/>
              <a:gd name="connsiteX25" fmla="*/ 1927 w 10083"/>
              <a:gd name="connsiteY25" fmla="*/ 5506 h 10000"/>
              <a:gd name="connsiteX26" fmla="*/ 2569 w 10083"/>
              <a:gd name="connsiteY26" fmla="*/ 5730 h 10000"/>
              <a:gd name="connsiteX27" fmla="*/ 2569 w 10083"/>
              <a:gd name="connsiteY27" fmla="*/ 7191 h 10000"/>
              <a:gd name="connsiteX28" fmla="*/ 7339 w 10083"/>
              <a:gd name="connsiteY28" fmla="*/ 7191 h 10000"/>
              <a:gd name="connsiteX29" fmla="*/ 7339 w 10083"/>
              <a:gd name="connsiteY29" fmla="*/ 8820 h 10000"/>
              <a:gd name="connsiteX30" fmla="*/ 7248 w 10083"/>
              <a:gd name="connsiteY30" fmla="*/ 9045 h 10000"/>
              <a:gd name="connsiteX31" fmla="*/ 7156 w 10083"/>
              <a:gd name="connsiteY31" fmla="*/ 9157 h 10000"/>
              <a:gd name="connsiteX32" fmla="*/ 6789 w 10083"/>
              <a:gd name="connsiteY32" fmla="*/ 9382 h 10000"/>
              <a:gd name="connsiteX33" fmla="*/ 6330 w 10083"/>
              <a:gd name="connsiteY33" fmla="*/ 9494 h 10000"/>
              <a:gd name="connsiteX34" fmla="*/ 6239 w 10083"/>
              <a:gd name="connsiteY34" fmla="*/ 9719 h 10000"/>
              <a:gd name="connsiteX35" fmla="*/ 5872 w 10083"/>
              <a:gd name="connsiteY35" fmla="*/ 9831 h 10000"/>
              <a:gd name="connsiteX36" fmla="*/ 5596 w 10083"/>
              <a:gd name="connsiteY36" fmla="*/ 10000 h 10000"/>
              <a:gd name="connsiteX37" fmla="*/ 4954 w 10083"/>
              <a:gd name="connsiteY37" fmla="*/ 10000 h 10000"/>
              <a:gd name="connsiteX38" fmla="*/ 4404 w 10083"/>
              <a:gd name="connsiteY38" fmla="*/ 10000 h 10000"/>
              <a:gd name="connsiteX39" fmla="*/ 3945 w 10083"/>
              <a:gd name="connsiteY39" fmla="*/ 9831 h 10000"/>
              <a:gd name="connsiteX40" fmla="*/ 3670 w 10083"/>
              <a:gd name="connsiteY40" fmla="*/ 9719 h 10000"/>
              <a:gd name="connsiteX41" fmla="*/ 3578 w 10083"/>
              <a:gd name="connsiteY41" fmla="*/ 9494 h 10000"/>
              <a:gd name="connsiteX42" fmla="*/ 3211 w 10083"/>
              <a:gd name="connsiteY42" fmla="*/ 9382 h 10000"/>
              <a:gd name="connsiteX43" fmla="*/ 2844 w 10083"/>
              <a:gd name="connsiteY43" fmla="*/ 9157 h 10000"/>
              <a:gd name="connsiteX44" fmla="*/ 2661 w 10083"/>
              <a:gd name="connsiteY44" fmla="*/ 9045 h 10000"/>
              <a:gd name="connsiteX45" fmla="*/ 2569 w 10083"/>
              <a:gd name="connsiteY45" fmla="*/ 8820 h 10000"/>
              <a:gd name="connsiteX46" fmla="*/ 2569 w 10083"/>
              <a:gd name="connsiteY46" fmla="*/ 8202 h 10000"/>
              <a:gd name="connsiteX0" fmla="*/ 7339 w 10189"/>
              <a:gd name="connsiteY0" fmla="*/ 5730 h 10000"/>
              <a:gd name="connsiteX1" fmla="*/ 9670 w 10189"/>
              <a:gd name="connsiteY1" fmla="*/ 4395 h 10000"/>
              <a:gd name="connsiteX2" fmla="*/ 10000 w 10189"/>
              <a:gd name="connsiteY2" fmla="*/ 2978 h 10000"/>
              <a:gd name="connsiteX3" fmla="*/ 9908 w 10189"/>
              <a:gd name="connsiteY3" fmla="*/ 2360 h 10000"/>
              <a:gd name="connsiteX4" fmla="*/ 9541 w 10189"/>
              <a:gd name="connsiteY4" fmla="*/ 1854 h 10000"/>
              <a:gd name="connsiteX5" fmla="*/ 9174 w 10189"/>
              <a:gd name="connsiteY5" fmla="*/ 1292 h 10000"/>
              <a:gd name="connsiteX6" fmla="*/ 8440 w 10189"/>
              <a:gd name="connsiteY6" fmla="*/ 843 h 10000"/>
              <a:gd name="connsiteX7" fmla="*/ 7798 w 10189"/>
              <a:gd name="connsiteY7" fmla="*/ 449 h 10000"/>
              <a:gd name="connsiteX8" fmla="*/ 6881 w 10189"/>
              <a:gd name="connsiteY8" fmla="*/ 169 h 10000"/>
              <a:gd name="connsiteX9" fmla="*/ 5963 w 10189"/>
              <a:gd name="connsiteY9" fmla="*/ 0 h 10000"/>
              <a:gd name="connsiteX10" fmla="*/ 4954 w 10189"/>
              <a:gd name="connsiteY10" fmla="*/ 0 h 10000"/>
              <a:gd name="connsiteX11" fmla="*/ 3945 w 10189"/>
              <a:gd name="connsiteY11" fmla="*/ 0 h 10000"/>
              <a:gd name="connsiteX12" fmla="*/ 2936 w 10189"/>
              <a:gd name="connsiteY12" fmla="*/ 169 h 10000"/>
              <a:gd name="connsiteX13" fmla="*/ 2202 w 10189"/>
              <a:gd name="connsiteY13" fmla="*/ 449 h 10000"/>
              <a:gd name="connsiteX14" fmla="*/ 1376 w 10189"/>
              <a:gd name="connsiteY14" fmla="*/ 843 h 10000"/>
              <a:gd name="connsiteX15" fmla="*/ 826 w 10189"/>
              <a:gd name="connsiteY15" fmla="*/ 1292 h 10000"/>
              <a:gd name="connsiteX16" fmla="*/ 275 w 10189"/>
              <a:gd name="connsiteY16" fmla="*/ 1854 h 10000"/>
              <a:gd name="connsiteX17" fmla="*/ 92 w 10189"/>
              <a:gd name="connsiteY17" fmla="*/ 2360 h 10000"/>
              <a:gd name="connsiteX18" fmla="*/ 0 w 10189"/>
              <a:gd name="connsiteY18" fmla="*/ 2978 h 10000"/>
              <a:gd name="connsiteX19" fmla="*/ 0 w 10189"/>
              <a:gd name="connsiteY19" fmla="*/ 3483 h 10000"/>
              <a:gd name="connsiteX20" fmla="*/ 183 w 10189"/>
              <a:gd name="connsiteY20" fmla="*/ 3876 h 10000"/>
              <a:gd name="connsiteX21" fmla="*/ 367 w 10189"/>
              <a:gd name="connsiteY21" fmla="*/ 4213 h 10000"/>
              <a:gd name="connsiteX22" fmla="*/ 642 w 10189"/>
              <a:gd name="connsiteY22" fmla="*/ 4663 h 10000"/>
              <a:gd name="connsiteX23" fmla="*/ 1101 w 10189"/>
              <a:gd name="connsiteY23" fmla="*/ 4888 h 10000"/>
              <a:gd name="connsiteX24" fmla="*/ 1560 w 10189"/>
              <a:gd name="connsiteY24" fmla="*/ 5281 h 10000"/>
              <a:gd name="connsiteX25" fmla="*/ 1927 w 10189"/>
              <a:gd name="connsiteY25" fmla="*/ 5506 h 10000"/>
              <a:gd name="connsiteX26" fmla="*/ 2569 w 10189"/>
              <a:gd name="connsiteY26" fmla="*/ 5730 h 10000"/>
              <a:gd name="connsiteX27" fmla="*/ 2569 w 10189"/>
              <a:gd name="connsiteY27" fmla="*/ 7191 h 10000"/>
              <a:gd name="connsiteX28" fmla="*/ 7339 w 10189"/>
              <a:gd name="connsiteY28" fmla="*/ 7191 h 10000"/>
              <a:gd name="connsiteX29" fmla="*/ 7339 w 10189"/>
              <a:gd name="connsiteY29" fmla="*/ 8820 h 10000"/>
              <a:gd name="connsiteX30" fmla="*/ 7248 w 10189"/>
              <a:gd name="connsiteY30" fmla="*/ 9045 h 10000"/>
              <a:gd name="connsiteX31" fmla="*/ 7156 w 10189"/>
              <a:gd name="connsiteY31" fmla="*/ 9157 h 10000"/>
              <a:gd name="connsiteX32" fmla="*/ 6789 w 10189"/>
              <a:gd name="connsiteY32" fmla="*/ 9382 h 10000"/>
              <a:gd name="connsiteX33" fmla="*/ 6330 w 10189"/>
              <a:gd name="connsiteY33" fmla="*/ 9494 h 10000"/>
              <a:gd name="connsiteX34" fmla="*/ 6239 w 10189"/>
              <a:gd name="connsiteY34" fmla="*/ 9719 h 10000"/>
              <a:gd name="connsiteX35" fmla="*/ 5872 w 10189"/>
              <a:gd name="connsiteY35" fmla="*/ 9831 h 10000"/>
              <a:gd name="connsiteX36" fmla="*/ 5596 w 10189"/>
              <a:gd name="connsiteY36" fmla="*/ 10000 h 10000"/>
              <a:gd name="connsiteX37" fmla="*/ 4954 w 10189"/>
              <a:gd name="connsiteY37" fmla="*/ 10000 h 10000"/>
              <a:gd name="connsiteX38" fmla="*/ 4404 w 10189"/>
              <a:gd name="connsiteY38" fmla="*/ 10000 h 10000"/>
              <a:gd name="connsiteX39" fmla="*/ 3945 w 10189"/>
              <a:gd name="connsiteY39" fmla="*/ 9831 h 10000"/>
              <a:gd name="connsiteX40" fmla="*/ 3670 w 10189"/>
              <a:gd name="connsiteY40" fmla="*/ 9719 h 10000"/>
              <a:gd name="connsiteX41" fmla="*/ 3578 w 10189"/>
              <a:gd name="connsiteY41" fmla="*/ 9494 h 10000"/>
              <a:gd name="connsiteX42" fmla="*/ 3211 w 10189"/>
              <a:gd name="connsiteY42" fmla="*/ 9382 h 10000"/>
              <a:gd name="connsiteX43" fmla="*/ 2844 w 10189"/>
              <a:gd name="connsiteY43" fmla="*/ 9157 h 10000"/>
              <a:gd name="connsiteX44" fmla="*/ 2661 w 10189"/>
              <a:gd name="connsiteY44" fmla="*/ 9045 h 10000"/>
              <a:gd name="connsiteX45" fmla="*/ 2569 w 10189"/>
              <a:gd name="connsiteY45" fmla="*/ 8820 h 10000"/>
              <a:gd name="connsiteX46" fmla="*/ 2569 w 10189"/>
              <a:gd name="connsiteY46" fmla="*/ 8202 h 10000"/>
              <a:gd name="connsiteX0" fmla="*/ 7339 w 10394"/>
              <a:gd name="connsiteY0" fmla="*/ 5730 h 10000"/>
              <a:gd name="connsiteX1" fmla="*/ 9670 w 10394"/>
              <a:gd name="connsiteY1" fmla="*/ 4395 h 10000"/>
              <a:gd name="connsiteX2" fmla="*/ 10000 w 10394"/>
              <a:gd name="connsiteY2" fmla="*/ 2978 h 10000"/>
              <a:gd name="connsiteX3" fmla="*/ 9908 w 10394"/>
              <a:gd name="connsiteY3" fmla="*/ 2360 h 10000"/>
              <a:gd name="connsiteX4" fmla="*/ 9541 w 10394"/>
              <a:gd name="connsiteY4" fmla="*/ 1854 h 10000"/>
              <a:gd name="connsiteX5" fmla="*/ 9174 w 10394"/>
              <a:gd name="connsiteY5" fmla="*/ 1292 h 10000"/>
              <a:gd name="connsiteX6" fmla="*/ 8440 w 10394"/>
              <a:gd name="connsiteY6" fmla="*/ 843 h 10000"/>
              <a:gd name="connsiteX7" fmla="*/ 7798 w 10394"/>
              <a:gd name="connsiteY7" fmla="*/ 449 h 10000"/>
              <a:gd name="connsiteX8" fmla="*/ 6881 w 10394"/>
              <a:gd name="connsiteY8" fmla="*/ 169 h 10000"/>
              <a:gd name="connsiteX9" fmla="*/ 5963 w 10394"/>
              <a:gd name="connsiteY9" fmla="*/ 0 h 10000"/>
              <a:gd name="connsiteX10" fmla="*/ 4954 w 10394"/>
              <a:gd name="connsiteY10" fmla="*/ 0 h 10000"/>
              <a:gd name="connsiteX11" fmla="*/ 3945 w 10394"/>
              <a:gd name="connsiteY11" fmla="*/ 0 h 10000"/>
              <a:gd name="connsiteX12" fmla="*/ 2936 w 10394"/>
              <a:gd name="connsiteY12" fmla="*/ 169 h 10000"/>
              <a:gd name="connsiteX13" fmla="*/ 2202 w 10394"/>
              <a:gd name="connsiteY13" fmla="*/ 449 h 10000"/>
              <a:gd name="connsiteX14" fmla="*/ 1376 w 10394"/>
              <a:gd name="connsiteY14" fmla="*/ 843 h 10000"/>
              <a:gd name="connsiteX15" fmla="*/ 826 w 10394"/>
              <a:gd name="connsiteY15" fmla="*/ 1292 h 10000"/>
              <a:gd name="connsiteX16" fmla="*/ 275 w 10394"/>
              <a:gd name="connsiteY16" fmla="*/ 1854 h 10000"/>
              <a:gd name="connsiteX17" fmla="*/ 92 w 10394"/>
              <a:gd name="connsiteY17" fmla="*/ 2360 h 10000"/>
              <a:gd name="connsiteX18" fmla="*/ 0 w 10394"/>
              <a:gd name="connsiteY18" fmla="*/ 2978 h 10000"/>
              <a:gd name="connsiteX19" fmla="*/ 0 w 10394"/>
              <a:gd name="connsiteY19" fmla="*/ 3483 h 10000"/>
              <a:gd name="connsiteX20" fmla="*/ 183 w 10394"/>
              <a:gd name="connsiteY20" fmla="*/ 3876 h 10000"/>
              <a:gd name="connsiteX21" fmla="*/ 367 w 10394"/>
              <a:gd name="connsiteY21" fmla="*/ 4213 h 10000"/>
              <a:gd name="connsiteX22" fmla="*/ 642 w 10394"/>
              <a:gd name="connsiteY22" fmla="*/ 4663 h 10000"/>
              <a:gd name="connsiteX23" fmla="*/ 1101 w 10394"/>
              <a:gd name="connsiteY23" fmla="*/ 4888 h 10000"/>
              <a:gd name="connsiteX24" fmla="*/ 1560 w 10394"/>
              <a:gd name="connsiteY24" fmla="*/ 5281 h 10000"/>
              <a:gd name="connsiteX25" fmla="*/ 1927 w 10394"/>
              <a:gd name="connsiteY25" fmla="*/ 5506 h 10000"/>
              <a:gd name="connsiteX26" fmla="*/ 2569 w 10394"/>
              <a:gd name="connsiteY26" fmla="*/ 5730 h 10000"/>
              <a:gd name="connsiteX27" fmla="*/ 2569 w 10394"/>
              <a:gd name="connsiteY27" fmla="*/ 7191 h 10000"/>
              <a:gd name="connsiteX28" fmla="*/ 7339 w 10394"/>
              <a:gd name="connsiteY28" fmla="*/ 7191 h 10000"/>
              <a:gd name="connsiteX29" fmla="*/ 7339 w 10394"/>
              <a:gd name="connsiteY29" fmla="*/ 8820 h 10000"/>
              <a:gd name="connsiteX30" fmla="*/ 7248 w 10394"/>
              <a:gd name="connsiteY30" fmla="*/ 9045 h 10000"/>
              <a:gd name="connsiteX31" fmla="*/ 7156 w 10394"/>
              <a:gd name="connsiteY31" fmla="*/ 9157 h 10000"/>
              <a:gd name="connsiteX32" fmla="*/ 6789 w 10394"/>
              <a:gd name="connsiteY32" fmla="*/ 9382 h 10000"/>
              <a:gd name="connsiteX33" fmla="*/ 6330 w 10394"/>
              <a:gd name="connsiteY33" fmla="*/ 9494 h 10000"/>
              <a:gd name="connsiteX34" fmla="*/ 6239 w 10394"/>
              <a:gd name="connsiteY34" fmla="*/ 9719 h 10000"/>
              <a:gd name="connsiteX35" fmla="*/ 5872 w 10394"/>
              <a:gd name="connsiteY35" fmla="*/ 9831 h 10000"/>
              <a:gd name="connsiteX36" fmla="*/ 5596 w 10394"/>
              <a:gd name="connsiteY36" fmla="*/ 10000 h 10000"/>
              <a:gd name="connsiteX37" fmla="*/ 4954 w 10394"/>
              <a:gd name="connsiteY37" fmla="*/ 10000 h 10000"/>
              <a:gd name="connsiteX38" fmla="*/ 4404 w 10394"/>
              <a:gd name="connsiteY38" fmla="*/ 10000 h 10000"/>
              <a:gd name="connsiteX39" fmla="*/ 3945 w 10394"/>
              <a:gd name="connsiteY39" fmla="*/ 9831 h 10000"/>
              <a:gd name="connsiteX40" fmla="*/ 3670 w 10394"/>
              <a:gd name="connsiteY40" fmla="*/ 9719 h 10000"/>
              <a:gd name="connsiteX41" fmla="*/ 3578 w 10394"/>
              <a:gd name="connsiteY41" fmla="*/ 9494 h 10000"/>
              <a:gd name="connsiteX42" fmla="*/ 3211 w 10394"/>
              <a:gd name="connsiteY42" fmla="*/ 9382 h 10000"/>
              <a:gd name="connsiteX43" fmla="*/ 2844 w 10394"/>
              <a:gd name="connsiteY43" fmla="*/ 9157 h 10000"/>
              <a:gd name="connsiteX44" fmla="*/ 2661 w 10394"/>
              <a:gd name="connsiteY44" fmla="*/ 9045 h 10000"/>
              <a:gd name="connsiteX45" fmla="*/ 2569 w 10394"/>
              <a:gd name="connsiteY45" fmla="*/ 8820 h 10000"/>
              <a:gd name="connsiteX46" fmla="*/ 2569 w 10394"/>
              <a:gd name="connsiteY46" fmla="*/ 8202 h 10000"/>
              <a:gd name="connsiteX0" fmla="*/ 7339 w 10394"/>
              <a:gd name="connsiteY0" fmla="*/ 5730 h 10000"/>
              <a:gd name="connsiteX1" fmla="*/ 9670 w 10394"/>
              <a:gd name="connsiteY1" fmla="*/ 4395 h 10000"/>
              <a:gd name="connsiteX2" fmla="*/ 10000 w 10394"/>
              <a:gd name="connsiteY2" fmla="*/ 2978 h 10000"/>
              <a:gd name="connsiteX3" fmla="*/ 9541 w 10394"/>
              <a:gd name="connsiteY3" fmla="*/ 1854 h 10000"/>
              <a:gd name="connsiteX4" fmla="*/ 9174 w 10394"/>
              <a:gd name="connsiteY4" fmla="*/ 1292 h 10000"/>
              <a:gd name="connsiteX5" fmla="*/ 8440 w 10394"/>
              <a:gd name="connsiteY5" fmla="*/ 843 h 10000"/>
              <a:gd name="connsiteX6" fmla="*/ 7798 w 10394"/>
              <a:gd name="connsiteY6" fmla="*/ 449 h 10000"/>
              <a:gd name="connsiteX7" fmla="*/ 6881 w 10394"/>
              <a:gd name="connsiteY7" fmla="*/ 169 h 10000"/>
              <a:gd name="connsiteX8" fmla="*/ 5963 w 10394"/>
              <a:gd name="connsiteY8" fmla="*/ 0 h 10000"/>
              <a:gd name="connsiteX9" fmla="*/ 4954 w 10394"/>
              <a:gd name="connsiteY9" fmla="*/ 0 h 10000"/>
              <a:gd name="connsiteX10" fmla="*/ 3945 w 10394"/>
              <a:gd name="connsiteY10" fmla="*/ 0 h 10000"/>
              <a:gd name="connsiteX11" fmla="*/ 2936 w 10394"/>
              <a:gd name="connsiteY11" fmla="*/ 169 h 10000"/>
              <a:gd name="connsiteX12" fmla="*/ 2202 w 10394"/>
              <a:gd name="connsiteY12" fmla="*/ 449 h 10000"/>
              <a:gd name="connsiteX13" fmla="*/ 1376 w 10394"/>
              <a:gd name="connsiteY13" fmla="*/ 843 h 10000"/>
              <a:gd name="connsiteX14" fmla="*/ 826 w 10394"/>
              <a:gd name="connsiteY14" fmla="*/ 1292 h 10000"/>
              <a:gd name="connsiteX15" fmla="*/ 275 w 10394"/>
              <a:gd name="connsiteY15" fmla="*/ 1854 h 10000"/>
              <a:gd name="connsiteX16" fmla="*/ 92 w 10394"/>
              <a:gd name="connsiteY16" fmla="*/ 2360 h 10000"/>
              <a:gd name="connsiteX17" fmla="*/ 0 w 10394"/>
              <a:gd name="connsiteY17" fmla="*/ 2978 h 10000"/>
              <a:gd name="connsiteX18" fmla="*/ 0 w 10394"/>
              <a:gd name="connsiteY18" fmla="*/ 3483 h 10000"/>
              <a:gd name="connsiteX19" fmla="*/ 183 w 10394"/>
              <a:gd name="connsiteY19" fmla="*/ 3876 h 10000"/>
              <a:gd name="connsiteX20" fmla="*/ 367 w 10394"/>
              <a:gd name="connsiteY20" fmla="*/ 4213 h 10000"/>
              <a:gd name="connsiteX21" fmla="*/ 642 w 10394"/>
              <a:gd name="connsiteY21" fmla="*/ 4663 h 10000"/>
              <a:gd name="connsiteX22" fmla="*/ 1101 w 10394"/>
              <a:gd name="connsiteY22" fmla="*/ 4888 h 10000"/>
              <a:gd name="connsiteX23" fmla="*/ 1560 w 10394"/>
              <a:gd name="connsiteY23" fmla="*/ 5281 h 10000"/>
              <a:gd name="connsiteX24" fmla="*/ 1927 w 10394"/>
              <a:gd name="connsiteY24" fmla="*/ 5506 h 10000"/>
              <a:gd name="connsiteX25" fmla="*/ 2569 w 10394"/>
              <a:gd name="connsiteY25" fmla="*/ 5730 h 10000"/>
              <a:gd name="connsiteX26" fmla="*/ 2569 w 10394"/>
              <a:gd name="connsiteY26" fmla="*/ 7191 h 10000"/>
              <a:gd name="connsiteX27" fmla="*/ 7339 w 10394"/>
              <a:gd name="connsiteY27" fmla="*/ 7191 h 10000"/>
              <a:gd name="connsiteX28" fmla="*/ 7339 w 10394"/>
              <a:gd name="connsiteY28" fmla="*/ 8820 h 10000"/>
              <a:gd name="connsiteX29" fmla="*/ 7248 w 10394"/>
              <a:gd name="connsiteY29" fmla="*/ 9045 h 10000"/>
              <a:gd name="connsiteX30" fmla="*/ 7156 w 10394"/>
              <a:gd name="connsiteY30" fmla="*/ 9157 h 10000"/>
              <a:gd name="connsiteX31" fmla="*/ 6789 w 10394"/>
              <a:gd name="connsiteY31" fmla="*/ 9382 h 10000"/>
              <a:gd name="connsiteX32" fmla="*/ 6330 w 10394"/>
              <a:gd name="connsiteY32" fmla="*/ 9494 h 10000"/>
              <a:gd name="connsiteX33" fmla="*/ 6239 w 10394"/>
              <a:gd name="connsiteY33" fmla="*/ 9719 h 10000"/>
              <a:gd name="connsiteX34" fmla="*/ 5872 w 10394"/>
              <a:gd name="connsiteY34" fmla="*/ 9831 h 10000"/>
              <a:gd name="connsiteX35" fmla="*/ 5596 w 10394"/>
              <a:gd name="connsiteY35" fmla="*/ 10000 h 10000"/>
              <a:gd name="connsiteX36" fmla="*/ 4954 w 10394"/>
              <a:gd name="connsiteY36" fmla="*/ 10000 h 10000"/>
              <a:gd name="connsiteX37" fmla="*/ 4404 w 10394"/>
              <a:gd name="connsiteY37" fmla="*/ 10000 h 10000"/>
              <a:gd name="connsiteX38" fmla="*/ 3945 w 10394"/>
              <a:gd name="connsiteY38" fmla="*/ 9831 h 10000"/>
              <a:gd name="connsiteX39" fmla="*/ 3670 w 10394"/>
              <a:gd name="connsiteY39" fmla="*/ 9719 h 10000"/>
              <a:gd name="connsiteX40" fmla="*/ 3578 w 10394"/>
              <a:gd name="connsiteY40" fmla="*/ 9494 h 10000"/>
              <a:gd name="connsiteX41" fmla="*/ 3211 w 10394"/>
              <a:gd name="connsiteY41" fmla="*/ 9382 h 10000"/>
              <a:gd name="connsiteX42" fmla="*/ 2844 w 10394"/>
              <a:gd name="connsiteY42" fmla="*/ 9157 h 10000"/>
              <a:gd name="connsiteX43" fmla="*/ 2661 w 10394"/>
              <a:gd name="connsiteY43" fmla="*/ 9045 h 10000"/>
              <a:gd name="connsiteX44" fmla="*/ 2569 w 10394"/>
              <a:gd name="connsiteY44" fmla="*/ 8820 h 10000"/>
              <a:gd name="connsiteX45" fmla="*/ 2569 w 10394"/>
              <a:gd name="connsiteY45" fmla="*/ 8202 h 10000"/>
              <a:gd name="connsiteX0" fmla="*/ 7339 w 10394"/>
              <a:gd name="connsiteY0" fmla="*/ 5730 h 10000"/>
              <a:gd name="connsiteX1" fmla="*/ 9670 w 10394"/>
              <a:gd name="connsiteY1" fmla="*/ 4395 h 10000"/>
              <a:gd name="connsiteX2" fmla="*/ 10000 w 10394"/>
              <a:gd name="connsiteY2" fmla="*/ 2978 h 10000"/>
              <a:gd name="connsiteX3" fmla="*/ 9174 w 10394"/>
              <a:gd name="connsiteY3" fmla="*/ 1292 h 10000"/>
              <a:gd name="connsiteX4" fmla="*/ 8440 w 10394"/>
              <a:gd name="connsiteY4" fmla="*/ 843 h 10000"/>
              <a:gd name="connsiteX5" fmla="*/ 7798 w 10394"/>
              <a:gd name="connsiteY5" fmla="*/ 449 h 10000"/>
              <a:gd name="connsiteX6" fmla="*/ 6881 w 10394"/>
              <a:gd name="connsiteY6" fmla="*/ 169 h 10000"/>
              <a:gd name="connsiteX7" fmla="*/ 5963 w 10394"/>
              <a:gd name="connsiteY7" fmla="*/ 0 h 10000"/>
              <a:gd name="connsiteX8" fmla="*/ 4954 w 10394"/>
              <a:gd name="connsiteY8" fmla="*/ 0 h 10000"/>
              <a:gd name="connsiteX9" fmla="*/ 3945 w 10394"/>
              <a:gd name="connsiteY9" fmla="*/ 0 h 10000"/>
              <a:gd name="connsiteX10" fmla="*/ 2936 w 10394"/>
              <a:gd name="connsiteY10" fmla="*/ 169 h 10000"/>
              <a:gd name="connsiteX11" fmla="*/ 2202 w 10394"/>
              <a:gd name="connsiteY11" fmla="*/ 449 h 10000"/>
              <a:gd name="connsiteX12" fmla="*/ 1376 w 10394"/>
              <a:gd name="connsiteY12" fmla="*/ 843 h 10000"/>
              <a:gd name="connsiteX13" fmla="*/ 826 w 10394"/>
              <a:gd name="connsiteY13" fmla="*/ 1292 h 10000"/>
              <a:gd name="connsiteX14" fmla="*/ 275 w 10394"/>
              <a:gd name="connsiteY14" fmla="*/ 1854 h 10000"/>
              <a:gd name="connsiteX15" fmla="*/ 92 w 10394"/>
              <a:gd name="connsiteY15" fmla="*/ 2360 h 10000"/>
              <a:gd name="connsiteX16" fmla="*/ 0 w 10394"/>
              <a:gd name="connsiteY16" fmla="*/ 2978 h 10000"/>
              <a:gd name="connsiteX17" fmla="*/ 0 w 10394"/>
              <a:gd name="connsiteY17" fmla="*/ 3483 h 10000"/>
              <a:gd name="connsiteX18" fmla="*/ 183 w 10394"/>
              <a:gd name="connsiteY18" fmla="*/ 3876 h 10000"/>
              <a:gd name="connsiteX19" fmla="*/ 367 w 10394"/>
              <a:gd name="connsiteY19" fmla="*/ 4213 h 10000"/>
              <a:gd name="connsiteX20" fmla="*/ 642 w 10394"/>
              <a:gd name="connsiteY20" fmla="*/ 4663 h 10000"/>
              <a:gd name="connsiteX21" fmla="*/ 1101 w 10394"/>
              <a:gd name="connsiteY21" fmla="*/ 4888 h 10000"/>
              <a:gd name="connsiteX22" fmla="*/ 1560 w 10394"/>
              <a:gd name="connsiteY22" fmla="*/ 5281 h 10000"/>
              <a:gd name="connsiteX23" fmla="*/ 1927 w 10394"/>
              <a:gd name="connsiteY23" fmla="*/ 5506 h 10000"/>
              <a:gd name="connsiteX24" fmla="*/ 2569 w 10394"/>
              <a:gd name="connsiteY24" fmla="*/ 5730 h 10000"/>
              <a:gd name="connsiteX25" fmla="*/ 2569 w 10394"/>
              <a:gd name="connsiteY25" fmla="*/ 7191 h 10000"/>
              <a:gd name="connsiteX26" fmla="*/ 7339 w 10394"/>
              <a:gd name="connsiteY26" fmla="*/ 7191 h 10000"/>
              <a:gd name="connsiteX27" fmla="*/ 7339 w 10394"/>
              <a:gd name="connsiteY27" fmla="*/ 8820 h 10000"/>
              <a:gd name="connsiteX28" fmla="*/ 7248 w 10394"/>
              <a:gd name="connsiteY28" fmla="*/ 9045 h 10000"/>
              <a:gd name="connsiteX29" fmla="*/ 7156 w 10394"/>
              <a:gd name="connsiteY29" fmla="*/ 9157 h 10000"/>
              <a:gd name="connsiteX30" fmla="*/ 6789 w 10394"/>
              <a:gd name="connsiteY30" fmla="*/ 9382 h 10000"/>
              <a:gd name="connsiteX31" fmla="*/ 6330 w 10394"/>
              <a:gd name="connsiteY31" fmla="*/ 9494 h 10000"/>
              <a:gd name="connsiteX32" fmla="*/ 6239 w 10394"/>
              <a:gd name="connsiteY32" fmla="*/ 9719 h 10000"/>
              <a:gd name="connsiteX33" fmla="*/ 5872 w 10394"/>
              <a:gd name="connsiteY33" fmla="*/ 9831 h 10000"/>
              <a:gd name="connsiteX34" fmla="*/ 5596 w 10394"/>
              <a:gd name="connsiteY34" fmla="*/ 10000 h 10000"/>
              <a:gd name="connsiteX35" fmla="*/ 4954 w 10394"/>
              <a:gd name="connsiteY35" fmla="*/ 10000 h 10000"/>
              <a:gd name="connsiteX36" fmla="*/ 4404 w 10394"/>
              <a:gd name="connsiteY36" fmla="*/ 10000 h 10000"/>
              <a:gd name="connsiteX37" fmla="*/ 3945 w 10394"/>
              <a:gd name="connsiteY37" fmla="*/ 9831 h 10000"/>
              <a:gd name="connsiteX38" fmla="*/ 3670 w 10394"/>
              <a:gd name="connsiteY38" fmla="*/ 9719 h 10000"/>
              <a:gd name="connsiteX39" fmla="*/ 3578 w 10394"/>
              <a:gd name="connsiteY39" fmla="*/ 9494 h 10000"/>
              <a:gd name="connsiteX40" fmla="*/ 3211 w 10394"/>
              <a:gd name="connsiteY40" fmla="*/ 9382 h 10000"/>
              <a:gd name="connsiteX41" fmla="*/ 2844 w 10394"/>
              <a:gd name="connsiteY41" fmla="*/ 9157 h 10000"/>
              <a:gd name="connsiteX42" fmla="*/ 2661 w 10394"/>
              <a:gd name="connsiteY42" fmla="*/ 9045 h 10000"/>
              <a:gd name="connsiteX43" fmla="*/ 2569 w 10394"/>
              <a:gd name="connsiteY43" fmla="*/ 8820 h 10000"/>
              <a:gd name="connsiteX44" fmla="*/ 2569 w 10394"/>
              <a:gd name="connsiteY44" fmla="*/ 8202 h 10000"/>
              <a:gd name="connsiteX0" fmla="*/ 7339 w 10394"/>
              <a:gd name="connsiteY0" fmla="*/ 5730 h 10000"/>
              <a:gd name="connsiteX1" fmla="*/ 9670 w 10394"/>
              <a:gd name="connsiteY1" fmla="*/ 4395 h 10000"/>
              <a:gd name="connsiteX2" fmla="*/ 10000 w 10394"/>
              <a:gd name="connsiteY2" fmla="*/ 2978 h 10000"/>
              <a:gd name="connsiteX3" fmla="*/ 8440 w 10394"/>
              <a:gd name="connsiteY3" fmla="*/ 843 h 10000"/>
              <a:gd name="connsiteX4" fmla="*/ 7798 w 10394"/>
              <a:gd name="connsiteY4" fmla="*/ 449 h 10000"/>
              <a:gd name="connsiteX5" fmla="*/ 6881 w 10394"/>
              <a:gd name="connsiteY5" fmla="*/ 169 h 10000"/>
              <a:gd name="connsiteX6" fmla="*/ 5963 w 10394"/>
              <a:gd name="connsiteY6" fmla="*/ 0 h 10000"/>
              <a:gd name="connsiteX7" fmla="*/ 4954 w 10394"/>
              <a:gd name="connsiteY7" fmla="*/ 0 h 10000"/>
              <a:gd name="connsiteX8" fmla="*/ 3945 w 10394"/>
              <a:gd name="connsiteY8" fmla="*/ 0 h 10000"/>
              <a:gd name="connsiteX9" fmla="*/ 2936 w 10394"/>
              <a:gd name="connsiteY9" fmla="*/ 169 h 10000"/>
              <a:gd name="connsiteX10" fmla="*/ 2202 w 10394"/>
              <a:gd name="connsiteY10" fmla="*/ 449 h 10000"/>
              <a:gd name="connsiteX11" fmla="*/ 1376 w 10394"/>
              <a:gd name="connsiteY11" fmla="*/ 843 h 10000"/>
              <a:gd name="connsiteX12" fmla="*/ 826 w 10394"/>
              <a:gd name="connsiteY12" fmla="*/ 1292 h 10000"/>
              <a:gd name="connsiteX13" fmla="*/ 275 w 10394"/>
              <a:gd name="connsiteY13" fmla="*/ 1854 h 10000"/>
              <a:gd name="connsiteX14" fmla="*/ 92 w 10394"/>
              <a:gd name="connsiteY14" fmla="*/ 2360 h 10000"/>
              <a:gd name="connsiteX15" fmla="*/ 0 w 10394"/>
              <a:gd name="connsiteY15" fmla="*/ 2978 h 10000"/>
              <a:gd name="connsiteX16" fmla="*/ 0 w 10394"/>
              <a:gd name="connsiteY16" fmla="*/ 3483 h 10000"/>
              <a:gd name="connsiteX17" fmla="*/ 183 w 10394"/>
              <a:gd name="connsiteY17" fmla="*/ 3876 h 10000"/>
              <a:gd name="connsiteX18" fmla="*/ 367 w 10394"/>
              <a:gd name="connsiteY18" fmla="*/ 4213 h 10000"/>
              <a:gd name="connsiteX19" fmla="*/ 642 w 10394"/>
              <a:gd name="connsiteY19" fmla="*/ 4663 h 10000"/>
              <a:gd name="connsiteX20" fmla="*/ 1101 w 10394"/>
              <a:gd name="connsiteY20" fmla="*/ 4888 h 10000"/>
              <a:gd name="connsiteX21" fmla="*/ 1560 w 10394"/>
              <a:gd name="connsiteY21" fmla="*/ 5281 h 10000"/>
              <a:gd name="connsiteX22" fmla="*/ 1927 w 10394"/>
              <a:gd name="connsiteY22" fmla="*/ 5506 h 10000"/>
              <a:gd name="connsiteX23" fmla="*/ 2569 w 10394"/>
              <a:gd name="connsiteY23" fmla="*/ 5730 h 10000"/>
              <a:gd name="connsiteX24" fmla="*/ 2569 w 10394"/>
              <a:gd name="connsiteY24" fmla="*/ 7191 h 10000"/>
              <a:gd name="connsiteX25" fmla="*/ 7339 w 10394"/>
              <a:gd name="connsiteY25" fmla="*/ 7191 h 10000"/>
              <a:gd name="connsiteX26" fmla="*/ 7339 w 10394"/>
              <a:gd name="connsiteY26" fmla="*/ 8820 h 10000"/>
              <a:gd name="connsiteX27" fmla="*/ 7248 w 10394"/>
              <a:gd name="connsiteY27" fmla="*/ 9045 h 10000"/>
              <a:gd name="connsiteX28" fmla="*/ 7156 w 10394"/>
              <a:gd name="connsiteY28" fmla="*/ 9157 h 10000"/>
              <a:gd name="connsiteX29" fmla="*/ 6789 w 10394"/>
              <a:gd name="connsiteY29" fmla="*/ 9382 h 10000"/>
              <a:gd name="connsiteX30" fmla="*/ 6330 w 10394"/>
              <a:gd name="connsiteY30" fmla="*/ 9494 h 10000"/>
              <a:gd name="connsiteX31" fmla="*/ 6239 w 10394"/>
              <a:gd name="connsiteY31" fmla="*/ 9719 h 10000"/>
              <a:gd name="connsiteX32" fmla="*/ 5872 w 10394"/>
              <a:gd name="connsiteY32" fmla="*/ 9831 h 10000"/>
              <a:gd name="connsiteX33" fmla="*/ 5596 w 10394"/>
              <a:gd name="connsiteY33" fmla="*/ 10000 h 10000"/>
              <a:gd name="connsiteX34" fmla="*/ 4954 w 10394"/>
              <a:gd name="connsiteY34" fmla="*/ 10000 h 10000"/>
              <a:gd name="connsiteX35" fmla="*/ 4404 w 10394"/>
              <a:gd name="connsiteY35" fmla="*/ 10000 h 10000"/>
              <a:gd name="connsiteX36" fmla="*/ 3945 w 10394"/>
              <a:gd name="connsiteY36" fmla="*/ 9831 h 10000"/>
              <a:gd name="connsiteX37" fmla="*/ 3670 w 10394"/>
              <a:gd name="connsiteY37" fmla="*/ 9719 h 10000"/>
              <a:gd name="connsiteX38" fmla="*/ 3578 w 10394"/>
              <a:gd name="connsiteY38" fmla="*/ 9494 h 10000"/>
              <a:gd name="connsiteX39" fmla="*/ 3211 w 10394"/>
              <a:gd name="connsiteY39" fmla="*/ 9382 h 10000"/>
              <a:gd name="connsiteX40" fmla="*/ 2844 w 10394"/>
              <a:gd name="connsiteY40" fmla="*/ 9157 h 10000"/>
              <a:gd name="connsiteX41" fmla="*/ 2661 w 10394"/>
              <a:gd name="connsiteY41" fmla="*/ 9045 h 10000"/>
              <a:gd name="connsiteX42" fmla="*/ 2569 w 10394"/>
              <a:gd name="connsiteY42" fmla="*/ 8820 h 10000"/>
              <a:gd name="connsiteX43" fmla="*/ 2569 w 10394"/>
              <a:gd name="connsiteY43" fmla="*/ 8202 h 10000"/>
              <a:gd name="connsiteX0" fmla="*/ 7339 w 10394"/>
              <a:gd name="connsiteY0" fmla="*/ 5730 h 10000"/>
              <a:gd name="connsiteX1" fmla="*/ 9670 w 10394"/>
              <a:gd name="connsiteY1" fmla="*/ 4395 h 10000"/>
              <a:gd name="connsiteX2" fmla="*/ 10000 w 10394"/>
              <a:gd name="connsiteY2" fmla="*/ 2978 h 10000"/>
              <a:gd name="connsiteX3" fmla="*/ 7798 w 10394"/>
              <a:gd name="connsiteY3" fmla="*/ 449 h 10000"/>
              <a:gd name="connsiteX4" fmla="*/ 6881 w 10394"/>
              <a:gd name="connsiteY4" fmla="*/ 169 h 10000"/>
              <a:gd name="connsiteX5" fmla="*/ 5963 w 10394"/>
              <a:gd name="connsiteY5" fmla="*/ 0 h 10000"/>
              <a:gd name="connsiteX6" fmla="*/ 4954 w 10394"/>
              <a:gd name="connsiteY6" fmla="*/ 0 h 10000"/>
              <a:gd name="connsiteX7" fmla="*/ 3945 w 10394"/>
              <a:gd name="connsiteY7" fmla="*/ 0 h 10000"/>
              <a:gd name="connsiteX8" fmla="*/ 2936 w 10394"/>
              <a:gd name="connsiteY8" fmla="*/ 169 h 10000"/>
              <a:gd name="connsiteX9" fmla="*/ 2202 w 10394"/>
              <a:gd name="connsiteY9" fmla="*/ 449 h 10000"/>
              <a:gd name="connsiteX10" fmla="*/ 1376 w 10394"/>
              <a:gd name="connsiteY10" fmla="*/ 843 h 10000"/>
              <a:gd name="connsiteX11" fmla="*/ 826 w 10394"/>
              <a:gd name="connsiteY11" fmla="*/ 1292 h 10000"/>
              <a:gd name="connsiteX12" fmla="*/ 275 w 10394"/>
              <a:gd name="connsiteY12" fmla="*/ 1854 h 10000"/>
              <a:gd name="connsiteX13" fmla="*/ 92 w 10394"/>
              <a:gd name="connsiteY13" fmla="*/ 2360 h 10000"/>
              <a:gd name="connsiteX14" fmla="*/ 0 w 10394"/>
              <a:gd name="connsiteY14" fmla="*/ 2978 h 10000"/>
              <a:gd name="connsiteX15" fmla="*/ 0 w 10394"/>
              <a:gd name="connsiteY15" fmla="*/ 3483 h 10000"/>
              <a:gd name="connsiteX16" fmla="*/ 183 w 10394"/>
              <a:gd name="connsiteY16" fmla="*/ 3876 h 10000"/>
              <a:gd name="connsiteX17" fmla="*/ 367 w 10394"/>
              <a:gd name="connsiteY17" fmla="*/ 4213 h 10000"/>
              <a:gd name="connsiteX18" fmla="*/ 642 w 10394"/>
              <a:gd name="connsiteY18" fmla="*/ 4663 h 10000"/>
              <a:gd name="connsiteX19" fmla="*/ 1101 w 10394"/>
              <a:gd name="connsiteY19" fmla="*/ 4888 h 10000"/>
              <a:gd name="connsiteX20" fmla="*/ 1560 w 10394"/>
              <a:gd name="connsiteY20" fmla="*/ 5281 h 10000"/>
              <a:gd name="connsiteX21" fmla="*/ 1927 w 10394"/>
              <a:gd name="connsiteY21" fmla="*/ 5506 h 10000"/>
              <a:gd name="connsiteX22" fmla="*/ 2569 w 10394"/>
              <a:gd name="connsiteY22" fmla="*/ 5730 h 10000"/>
              <a:gd name="connsiteX23" fmla="*/ 2569 w 10394"/>
              <a:gd name="connsiteY23" fmla="*/ 7191 h 10000"/>
              <a:gd name="connsiteX24" fmla="*/ 7339 w 10394"/>
              <a:gd name="connsiteY24" fmla="*/ 7191 h 10000"/>
              <a:gd name="connsiteX25" fmla="*/ 7339 w 10394"/>
              <a:gd name="connsiteY25" fmla="*/ 8820 h 10000"/>
              <a:gd name="connsiteX26" fmla="*/ 7248 w 10394"/>
              <a:gd name="connsiteY26" fmla="*/ 9045 h 10000"/>
              <a:gd name="connsiteX27" fmla="*/ 7156 w 10394"/>
              <a:gd name="connsiteY27" fmla="*/ 9157 h 10000"/>
              <a:gd name="connsiteX28" fmla="*/ 6789 w 10394"/>
              <a:gd name="connsiteY28" fmla="*/ 9382 h 10000"/>
              <a:gd name="connsiteX29" fmla="*/ 6330 w 10394"/>
              <a:gd name="connsiteY29" fmla="*/ 9494 h 10000"/>
              <a:gd name="connsiteX30" fmla="*/ 6239 w 10394"/>
              <a:gd name="connsiteY30" fmla="*/ 9719 h 10000"/>
              <a:gd name="connsiteX31" fmla="*/ 5872 w 10394"/>
              <a:gd name="connsiteY31" fmla="*/ 9831 h 10000"/>
              <a:gd name="connsiteX32" fmla="*/ 5596 w 10394"/>
              <a:gd name="connsiteY32" fmla="*/ 10000 h 10000"/>
              <a:gd name="connsiteX33" fmla="*/ 4954 w 10394"/>
              <a:gd name="connsiteY33" fmla="*/ 10000 h 10000"/>
              <a:gd name="connsiteX34" fmla="*/ 4404 w 10394"/>
              <a:gd name="connsiteY34" fmla="*/ 10000 h 10000"/>
              <a:gd name="connsiteX35" fmla="*/ 3945 w 10394"/>
              <a:gd name="connsiteY35" fmla="*/ 9831 h 10000"/>
              <a:gd name="connsiteX36" fmla="*/ 3670 w 10394"/>
              <a:gd name="connsiteY36" fmla="*/ 9719 h 10000"/>
              <a:gd name="connsiteX37" fmla="*/ 3578 w 10394"/>
              <a:gd name="connsiteY37" fmla="*/ 9494 h 10000"/>
              <a:gd name="connsiteX38" fmla="*/ 3211 w 10394"/>
              <a:gd name="connsiteY38" fmla="*/ 9382 h 10000"/>
              <a:gd name="connsiteX39" fmla="*/ 2844 w 10394"/>
              <a:gd name="connsiteY39" fmla="*/ 9157 h 10000"/>
              <a:gd name="connsiteX40" fmla="*/ 2661 w 10394"/>
              <a:gd name="connsiteY40" fmla="*/ 9045 h 10000"/>
              <a:gd name="connsiteX41" fmla="*/ 2569 w 10394"/>
              <a:gd name="connsiteY41" fmla="*/ 8820 h 10000"/>
              <a:gd name="connsiteX42" fmla="*/ 2569 w 10394"/>
              <a:gd name="connsiteY42" fmla="*/ 8202 h 10000"/>
              <a:gd name="connsiteX0" fmla="*/ 7339 w 10394"/>
              <a:gd name="connsiteY0" fmla="*/ 5730 h 10000"/>
              <a:gd name="connsiteX1" fmla="*/ 9670 w 10394"/>
              <a:gd name="connsiteY1" fmla="*/ 4395 h 10000"/>
              <a:gd name="connsiteX2" fmla="*/ 10000 w 10394"/>
              <a:gd name="connsiteY2" fmla="*/ 2978 h 10000"/>
              <a:gd name="connsiteX3" fmla="*/ 6881 w 10394"/>
              <a:gd name="connsiteY3" fmla="*/ 169 h 10000"/>
              <a:gd name="connsiteX4" fmla="*/ 5963 w 10394"/>
              <a:gd name="connsiteY4" fmla="*/ 0 h 10000"/>
              <a:gd name="connsiteX5" fmla="*/ 4954 w 10394"/>
              <a:gd name="connsiteY5" fmla="*/ 0 h 10000"/>
              <a:gd name="connsiteX6" fmla="*/ 3945 w 10394"/>
              <a:gd name="connsiteY6" fmla="*/ 0 h 10000"/>
              <a:gd name="connsiteX7" fmla="*/ 2936 w 10394"/>
              <a:gd name="connsiteY7" fmla="*/ 169 h 10000"/>
              <a:gd name="connsiteX8" fmla="*/ 2202 w 10394"/>
              <a:gd name="connsiteY8" fmla="*/ 449 h 10000"/>
              <a:gd name="connsiteX9" fmla="*/ 1376 w 10394"/>
              <a:gd name="connsiteY9" fmla="*/ 843 h 10000"/>
              <a:gd name="connsiteX10" fmla="*/ 826 w 10394"/>
              <a:gd name="connsiteY10" fmla="*/ 1292 h 10000"/>
              <a:gd name="connsiteX11" fmla="*/ 275 w 10394"/>
              <a:gd name="connsiteY11" fmla="*/ 1854 h 10000"/>
              <a:gd name="connsiteX12" fmla="*/ 92 w 10394"/>
              <a:gd name="connsiteY12" fmla="*/ 2360 h 10000"/>
              <a:gd name="connsiteX13" fmla="*/ 0 w 10394"/>
              <a:gd name="connsiteY13" fmla="*/ 2978 h 10000"/>
              <a:gd name="connsiteX14" fmla="*/ 0 w 10394"/>
              <a:gd name="connsiteY14" fmla="*/ 3483 h 10000"/>
              <a:gd name="connsiteX15" fmla="*/ 183 w 10394"/>
              <a:gd name="connsiteY15" fmla="*/ 3876 h 10000"/>
              <a:gd name="connsiteX16" fmla="*/ 367 w 10394"/>
              <a:gd name="connsiteY16" fmla="*/ 4213 h 10000"/>
              <a:gd name="connsiteX17" fmla="*/ 642 w 10394"/>
              <a:gd name="connsiteY17" fmla="*/ 4663 h 10000"/>
              <a:gd name="connsiteX18" fmla="*/ 1101 w 10394"/>
              <a:gd name="connsiteY18" fmla="*/ 4888 h 10000"/>
              <a:gd name="connsiteX19" fmla="*/ 1560 w 10394"/>
              <a:gd name="connsiteY19" fmla="*/ 5281 h 10000"/>
              <a:gd name="connsiteX20" fmla="*/ 1927 w 10394"/>
              <a:gd name="connsiteY20" fmla="*/ 5506 h 10000"/>
              <a:gd name="connsiteX21" fmla="*/ 2569 w 10394"/>
              <a:gd name="connsiteY21" fmla="*/ 5730 h 10000"/>
              <a:gd name="connsiteX22" fmla="*/ 2569 w 10394"/>
              <a:gd name="connsiteY22" fmla="*/ 7191 h 10000"/>
              <a:gd name="connsiteX23" fmla="*/ 7339 w 10394"/>
              <a:gd name="connsiteY23" fmla="*/ 7191 h 10000"/>
              <a:gd name="connsiteX24" fmla="*/ 7339 w 10394"/>
              <a:gd name="connsiteY24" fmla="*/ 8820 h 10000"/>
              <a:gd name="connsiteX25" fmla="*/ 7248 w 10394"/>
              <a:gd name="connsiteY25" fmla="*/ 9045 h 10000"/>
              <a:gd name="connsiteX26" fmla="*/ 7156 w 10394"/>
              <a:gd name="connsiteY26" fmla="*/ 9157 h 10000"/>
              <a:gd name="connsiteX27" fmla="*/ 6789 w 10394"/>
              <a:gd name="connsiteY27" fmla="*/ 9382 h 10000"/>
              <a:gd name="connsiteX28" fmla="*/ 6330 w 10394"/>
              <a:gd name="connsiteY28" fmla="*/ 9494 h 10000"/>
              <a:gd name="connsiteX29" fmla="*/ 6239 w 10394"/>
              <a:gd name="connsiteY29" fmla="*/ 9719 h 10000"/>
              <a:gd name="connsiteX30" fmla="*/ 5872 w 10394"/>
              <a:gd name="connsiteY30" fmla="*/ 9831 h 10000"/>
              <a:gd name="connsiteX31" fmla="*/ 5596 w 10394"/>
              <a:gd name="connsiteY31" fmla="*/ 10000 h 10000"/>
              <a:gd name="connsiteX32" fmla="*/ 4954 w 10394"/>
              <a:gd name="connsiteY32" fmla="*/ 10000 h 10000"/>
              <a:gd name="connsiteX33" fmla="*/ 4404 w 10394"/>
              <a:gd name="connsiteY33" fmla="*/ 10000 h 10000"/>
              <a:gd name="connsiteX34" fmla="*/ 3945 w 10394"/>
              <a:gd name="connsiteY34" fmla="*/ 9831 h 10000"/>
              <a:gd name="connsiteX35" fmla="*/ 3670 w 10394"/>
              <a:gd name="connsiteY35" fmla="*/ 9719 h 10000"/>
              <a:gd name="connsiteX36" fmla="*/ 3578 w 10394"/>
              <a:gd name="connsiteY36" fmla="*/ 9494 h 10000"/>
              <a:gd name="connsiteX37" fmla="*/ 3211 w 10394"/>
              <a:gd name="connsiteY37" fmla="*/ 9382 h 10000"/>
              <a:gd name="connsiteX38" fmla="*/ 2844 w 10394"/>
              <a:gd name="connsiteY38" fmla="*/ 9157 h 10000"/>
              <a:gd name="connsiteX39" fmla="*/ 2661 w 10394"/>
              <a:gd name="connsiteY39" fmla="*/ 9045 h 10000"/>
              <a:gd name="connsiteX40" fmla="*/ 2569 w 10394"/>
              <a:gd name="connsiteY40" fmla="*/ 8820 h 10000"/>
              <a:gd name="connsiteX41" fmla="*/ 2569 w 10394"/>
              <a:gd name="connsiteY41" fmla="*/ 8202 h 10000"/>
              <a:gd name="connsiteX0" fmla="*/ 7339 w 10394"/>
              <a:gd name="connsiteY0" fmla="*/ 5950 h 10220"/>
              <a:gd name="connsiteX1" fmla="*/ 9670 w 10394"/>
              <a:gd name="connsiteY1" fmla="*/ 4615 h 10220"/>
              <a:gd name="connsiteX2" fmla="*/ 10000 w 10394"/>
              <a:gd name="connsiteY2" fmla="*/ 3198 h 10220"/>
              <a:gd name="connsiteX3" fmla="*/ 5963 w 10394"/>
              <a:gd name="connsiteY3" fmla="*/ 220 h 10220"/>
              <a:gd name="connsiteX4" fmla="*/ 4954 w 10394"/>
              <a:gd name="connsiteY4" fmla="*/ 220 h 10220"/>
              <a:gd name="connsiteX5" fmla="*/ 3945 w 10394"/>
              <a:gd name="connsiteY5" fmla="*/ 220 h 10220"/>
              <a:gd name="connsiteX6" fmla="*/ 2936 w 10394"/>
              <a:gd name="connsiteY6" fmla="*/ 389 h 10220"/>
              <a:gd name="connsiteX7" fmla="*/ 2202 w 10394"/>
              <a:gd name="connsiteY7" fmla="*/ 669 h 10220"/>
              <a:gd name="connsiteX8" fmla="*/ 1376 w 10394"/>
              <a:gd name="connsiteY8" fmla="*/ 1063 h 10220"/>
              <a:gd name="connsiteX9" fmla="*/ 826 w 10394"/>
              <a:gd name="connsiteY9" fmla="*/ 1512 h 10220"/>
              <a:gd name="connsiteX10" fmla="*/ 275 w 10394"/>
              <a:gd name="connsiteY10" fmla="*/ 2074 h 10220"/>
              <a:gd name="connsiteX11" fmla="*/ 92 w 10394"/>
              <a:gd name="connsiteY11" fmla="*/ 2580 h 10220"/>
              <a:gd name="connsiteX12" fmla="*/ 0 w 10394"/>
              <a:gd name="connsiteY12" fmla="*/ 3198 h 10220"/>
              <a:gd name="connsiteX13" fmla="*/ 0 w 10394"/>
              <a:gd name="connsiteY13" fmla="*/ 3703 h 10220"/>
              <a:gd name="connsiteX14" fmla="*/ 183 w 10394"/>
              <a:gd name="connsiteY14" fmla="*/ 4096 h 10220"/>
              <a:gd name="connsiteX15" fmla="*/ 367 w 10394"/>
              <a:gd name="connsiteY15" fmla="*/ 4433 h 10220"/>
              <a:gd name="connsiteX16" fmla="*/ 642 w 10394"/>
              <a:gd name="connsiteY16" fmla="*/ 4883 h 10220"/>
              <a:gd name="connsiteX17" fmla="*/ 1101 w 10394"/>
              <a:gd name="connsiteY17" fmla="*/ 5108 h 10220"/>
              <a:gd name="connsiteX18" fmla="*/ 1560 w 10394"/>
              <a:gd name="connsiteY18" fmla="*/ 5501 h 10220"/>
              <a:gd name="connsiteX19" fmla="*/ 1927 w 10394"/>
              <a:gd name="connsiteY19" fmla="*/ 5726 h 10220"/>
              <a:gd name="connsiteX20" fmla="*/ 2569 w 10394"/>
              <a:gd name="connsiteY20" fmla="*/ 5950 h 10220"/>
              <a:gd name="connsiteX21" fmla="*/ 2569 w 10394"/>
              <a:gd name="connsiteY21" fmla="*/ 7411 h 10220"/>
              <a:gd name="connsiteX22" fmla="*/ 7339 w 10394"/>
              <a:gd name="connsiteY22" fmla="*/ 7411 h 10220"/>
              <a:gd name="connsiteX23" fmla="*/ 7339 w 10394"/>
              <a:gd name="connsiteY23" fmla="*/ 9040 h 10220"/>
              <a:gd name="connsiteX24" fmla="*/ 7248 w 10394"/>
              <a:gd name="connsiteY24" fmla="*/ 9265 h 10220"/>
              <a:gd name="connsiteX25" fmla="*/ 7156 w 10394"/>
              <a:gd name="connsiteY25" fmla="*/ 9377 h 10220"/>
              <a:gd name="connsiteX26" fmla="*/ 6789 w 10394"/>
              <a:gd name="connsiteY26" fmla="*/ 9602 h 10220"/>
              <a:gd name="connsiteX27" fmla="*/ 6330 w 10394"/>
              <a:gd name="connsiteY27" fmla="*/ 9714 h 10220"/>
              <a:gd name="connsiteX28" fmla="*/ 6239 w 10394"/>
              <a:gd name="connsiteY28" fmla="*/ 9939 h 10220"/>
              <a:gd name="connsiteX29" fmla="*/ 5872 w 10394"/>
              <a:gd name="connsiteY29" fmla="*/ 10051 h 10220"/>
              <a:gd name="connsiteX30" fmla="*/ 5596 w 10394"/>
              <a:gd name="connsiteY30" fmla="*/ 10220 h 10220"/>
              <a:gd name="connsiteX31" fmla="*/ 4954 w 10394"/>
              <a:gd name="connsiteY31" fmla="*/ 10220 h 10220"/>
              <a:gd name="connsiteX32" fmla="*/ 4404 w 10394"/>
              <a:gd name="connsiteY32" fmla="*/ 10220 h 10220"/>
              <a:gd name="connsiteX33" fmla="*/ 3945 w 10394"/>
              <a:gd name="connsiteY33" fmla="*/ 10051 h 10220"/>
              <a:gd name="connsiteX34" fmla="*/ 3670 w 10394"/>
              <a:gd name="connsiteY34" fmla="*/ 9939 h 10220"/>
              <a:gd name="connsiteX35" fmla="*/ 3578 w 10394"/>
              <a:gd name="connsiteY35" fmla="*/ 9714 h 10220"/>
              <a:gd name="connsiteX36" fmla="*/ 3211 w 10394"/>
              <a:gd name="connsiteY36" fmla="*/ 9602 h 10220"/>
              <a:gd name="connsiteX37" fmla="*/ 2844 w 10394"/>
              <a:gd name="connsiteY37" fmla="*/ 9377 h 10220"/>
              <a:gd name="connsiteX38" fmla="*/ 2661 w 10394"/>
              <a:gd name="connsiteY38" fmla="*/ 9265 h 10220"/>
              <a:gd name="connsiteX39" fmla="*/ 2569 w 10394"/>
              <a:gd name="connsiteY39" fmla="*/ 9040 h 10220"/>
              <a:gd name="connsiteX40" fmla="*/ 2569 w 10394"/>
              <a:gd name="connsiteY40" fmla="*/ 8422 h 1022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3945 w 10394"/>
              <a:gd name="connsiteY4" fmla="*/ 0 h 10000"/>
              <a:gd name="connsiteX5" fmla="*/ 2936 w 10394"/>
              <a:gd name="connsiteY5" fmla="*/ 169 h 10000"/>
              <a:gd name="connsiteX6" fmla="*/ 2202 w 10394"/>
              <a:gd name="connsiteY6" fmla="*/ 449 h 10000"/>
              <a:gd name="connsiteX7" fmla="*/ 1376 w 10394"/>
              <a:gd name="connsiteY7" fmla="*/ 843 h 10000"/>
              <a:gd name="connsiteX8" fmla="*/ 826 w 10394"/>
              <a:gd name="connsiteY8" fmla="*/ 1292 h 10000"/>
              <a:gd name="connsiteX9" fmla="*/ 275 w 10394"/>
              <a:gd name="connsiteY9" fmla="*/ 1854 h 10000"/>
              <a:gd name="connsiteX10" fmla="*/ 92 w 10394"/>
              <a:gd name="connsiteY10" fmla="*/ 2360 h 10000"/>
              <a:gd name="connsiteX11" fmla="*/ 0 w 10394"/>
              <a:gd name="connsiteY11" fmla="*/ 2978 h 10000"/>
              <a:gd name="connsiteX12" fmla="*/ 0 w 10394"/>
              <a:gd name="connsiteY12" fmla="*/ 3483 h 10000"/>
              <a:gd name="connsiteX13" fmla="*/ 183 w 10394"/>
              <a:gd name="connsiteY13" fmla="*/ 3876 h 10000"/>
              <a:gd name="connsiteX14" fmla="*/ 367 w 10394"/>
              <a:gd name="connsiteY14" fmla="*/ 4213 h 10000"/>
              <a:gd name="connsiteX15" fmla="*/ 642 w 10394"/>
              <a:gd name="connsiteY15" fmla="*/ 4663 h 10000"/>
              <a:gd name="connsiteX16" fmla="*/ 1101 w 10394"/>
              <a:gd name="connsiteY16" fmla="*/ 4888 h 10000"/>
              <a:gd name="connsiteX17" fmla="*/ 1560 w 10394"/>
              <a:gd name="connsiteY17" fmla="*/ 5281 h 10000"/>
              <a:gd name="connsiteX18" fmla="*/ 1927 w 10394"/>
              <a:gd name="connsiteY18" fmla="*/ 5506 h 10000"/>
              <a:gd name="connsiteX19" fmla="*/ 2569 w 10394"/>
              <a:gd name="connsiteY19" fmla="*/ 5730 h 10000"/>
              <a:gd name="connsiteX20" fmla="*/ 2569 w 10394"/>
              <a:gd name="connsiteY20" fmla="*/ 7191 h 10000"/>
              <a:gd name="connsiteX21" fmla="*/ 7339 w 10394"/>
              <a:gd name="connsiteY21" fmla="*/ 7191 h 10000"/>
              <a:gd name="connsiteX22" fmla="*/ 7339 w 10394"/>
              <a:gd name="connsiteY22" fmla="*/ 8820 h 10000"/>
              <a:gd name="connsiteX23" fmla="*/ 7248 w 10394"/>
              <a:gd name="connsiteY23" fmla="*/ 9045 h 10000"/>
              <a:gd name="connsiteX24" fmla="*/ 7156 w 10394"/>
              <a:gd name="connsiteY24" fmla="*/ 9157 h 10000"/>
              <a:gd name="connsiteX25" fmla="*/ 6789 w 10394"/>
              <a:gd name="connsiteY25" fmla="*/ 9382 h 10000"/>
              <a:gd name="connsiteX26" fmla="*/ 6330 w 10394"/>
              <a:gd name="connsiteY26" fmla="*/ 9494 h 10000"/>
              <a:gd name="connsiteX27" fmla="*/ 6239 w 10394"/>
              <a:gd name="connsiteY27" fmla="*/ 9719 h 10000"/>
              <a:gd name="connsiteX28" fmla="*/ 5872 w 10394"/>
              <a:gd name="connsiteY28" fmla="*/ 9831 h 10000"/>
              <a:gd name="connsiteX29" fmla="*/ 5596 w 10394"/>
              <a:gd name="connsiteY29" fmla="*/ 10000 h 10000"/>
              <a:gd name="connsiteX30" fmla="*/ 4954 w 10394"/>
              <a:gd name="connsiteY30" fmla="*/ 10000 h 10000"/>
              <a:gd name="connsiteX31" fmla="*/ 4404 w 10394"/>
              <a:gd name="connsiteY31" fmla="*/ 10000 h 10000"/>
              <a:gd name="connsiteX32" fmla="*/ 3945 w 10394"/>
              <a:gd name="connsiteY32" fmla="*/ 9831 h 10000"/>
              <a:gd name="connsiteX33" fmla="*/ 3670 w 10394"/>
              <a:gd name="connsiteY33" fmla="*/ 9719 h 10000"/>
              <a:gd name="connsiteX34" fmla="*/ 3578 w 10394"/>
              <a:gd name="connsiteY34" fmla="*/ 9494 h 10000"/>
              <a:gd name="connsiteX35" fmla="*/ 3211 w 10394"/>
              <a:gd name="connsiteY35" fmla="*/ 9382 h 10000"/>
              <a:gd name="connsiteX36" fmla="*/ 2844 w 10394"/>
              <a:gd name="connsiteY36" fmla="*/ 9157 h 10000"/>
              <a:gd name="connsiteX37" fmla="*/ 2661 w 10394"/>
              <a:gd name="connsiteY37" fmla="*/ 9045 h 10000"/>
              <a:gd name="connsiteX38" fmla="*/ 2569 w 10394"/>
              <a:gd name="connsiteY38" fmla="*/ 8820 h 10000"/>
              <a:gd name="connsiteX39" fmla="*/ 2569 w 10394"/>
              <a:gd name="connsiteY39"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2936 w 10394"/>
              <a:gd name="connsiteY4" fmla="*/ 169 h 10000"/>
              <a:gd name="connsiteX5" fmla="*/ 2202 w 10394"/>
              <a:gd name="connsiteY5" fmla="*/ 449 h 10000"/>
              <a:gd name="connsiteX6" fmla="*/ 1376 w 10394"/>
              <a:gd name="connsiteY6" fmla="*/ 843 h 10000"/>
              <a:gd name="connsiteX7" fmla="*/ 826 w 10394"/>
              <a:gd name="connsiteY7" fmla="*/ 1292 h 10000"/>
              <a:gd name="connsiteX8" fmla="*/ 275 w 10394"/>
              <a:gd name="connsiteY8" fmla="*/ 1854 h 10000"/>
              <a:gd name="connsiteX9" fmla="*/ 92 w 10394"/>
              <a:gd name="connsiteY9" fmla="*/ 2360 h 10000"/>
              <a:gd name="connsiteX10" fmla="*/ 0 w 10394"/>
              <a:gd name="connsiteY10" fmla="*/ 2978 h 10000"/>
              <a:gd name="connsiteX11" fmla="*/ 0 w 10394"/>
              <a:gd name="connsiteY11" fmla="*/ 3483 h 10000"/>
              <a:gd name="connsiteX12" fmla="*/ 183 w 10394"/>
              <a:gd name="connsiteY12" fmla="*/ 3876 h 10000"/>
              <a:gd name="connsiteX13" fmla="*/ 367 w 10394"/>
              <a:gd name="connsiteY13" fmla="*/ 4213 h 10000"/>
              <a:gd name="connsiteX14" fmla="*/ 642 w 10394"/>
              <a:gd name="connsiteY14" fmla="*/ 4663 h 10000"/>
              <a:gd name="connsiteX15" fmla="*/ 1101 w 10394"/>
              <a:gd name="connsiteY15" fmla="*/ 4888 h 10000"/>
              <a:gd name="connsiteX16" fmla="*/ 1560 w 10394"/>
              <a:gd name="connsiteY16" fmla="*/ 5281 h 10000"/>
              <a:gd name="connsiteX17" fmla="*/ 1927 w 10394"/>
              <a:gd name="connsiteY17" fmla="*/ 5506 h 10000"/>
              <a:gd name="connsiteX18" fmla="*/ 2569 w 10394"/>
              <a:gd name="connsiteY18" fmla="*/ 5730 h 10000"/>
              <a:gd name="connsiteX19" fmla="*/ 2569 w 10394"/>
              <a:gd name="connsiteY19" fmla="*/ 7191 h 10000"/>
              <a:gd name="connsiteX20" fmla="*/ 7339 w 10394"/>
              <a:gd name="connsiteY20" fmla="*/ 7191 h 10000"/>
              <a:gd name="connsiteX21" fmla="*/ 7339 w 10394"/>
              <a:gd name="connsiteY21" fmla="*/ 8820 h 10000"/>
              <a:gd name="connsiteX22" fmla="*/ 7248 w 10394"/>
              <a:gd name="connsiteY22" fmla="*/ 9045 h 10000"/>
              <a:gd name="connsiteX23" fmla="*/ 7156 w 10394"/>
              <a:gd name="connsiteY23" fmla="*/ 9157 h 10000"/>
              <a:gd name="connsiteX24" fmla="*/ 6789 w 10394"/>
              <a:gd name="connsiteY24" fmla="*/ 9382 h 10000"/>
              <a:gd name="connsiteX25" fmla="*/ 6330 w 10394"/>
              <a:gd name="connsiteY25" fmla="*/ 9494 h 10000"/>
              <a:gd name="connsiteX26" fmla="*/ 6239 w 10394"/>
              <a:gd name="connsiteY26" fmla="*/ 9719 h 10000"/>
              <a:gd name="connsiteX27" fmla="*/ 5872 w 10394"/>
              <a:gd name="connsiteY27" fmla="*/ 9831 h 10000"/>
              <a:gd name="connsiteX28" fmla="*/ 5596 w 10394"/>
              <a:gd name="connsiteY28" fmla="*/ 10000 h 10000"/>
              <a:gd name="connsiteX29" fmla="*/ 4954 w 10394"/>
              <a:gd name="connsiteY29" fmla="*/ 10000 h 10000"/>
              <a:gd name="connsiteX30" fmla="*/ 4404 w 10394"/>
              <a:gd name="connsiteY30" fmla="*/ 10000 h 10000"/>
              <a:gd name="connsiteX31" fmla="*/ 3945 w 10394"/>
              <a:gd name="connsiteY31" fmla="*/ 9831 h 10000"/>
              <a:gd name="connsiteX32" fmla="*/ 3670 w 10394"/>
              <a:gd name="connsiteY32" fmla="*/ 9719 h 10000"/>
              <a:gd name="connsiteX33" fmla="*/ 3578 w 10394"/>
              <a:gd name="connsiteY33" fmla="*/ 9494 h 10000"/>
              <a:gd name="connsiteX34" fmla="*/ 3211 w 10394"/>
              <a:gd name="connsiteY34" fmla="*/ 9382 h 10000"/>
              <a:gd name="connsiteX35" fmla="*/ 2844 w 10394"/>
              <a:gd name="connsiteY35" fmla="*/ 9157 h 10000"/>
              <a:gd name="connsiteX36" fmla="*/ 2661 w 10394"/>
              <a:gd name="connsiteY36" fmla="*/ 9045 h 10000"/>
              <a:gd name="connsiteX37" fmla="*/ 2569 w 10394"/>
              <a:gd name="connsiteY37" fmla="*/ 8820 h 10000"/>
              <a:gd name="connsiteX38" fmla="*/ 2569 w 10394"/>
              <a:gd name="connsiteY38"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2936 w 10394"/>
              <a:gd name="connsiteY4" fmla="*/ 169 h 10000"/>
              <a:gd name="connsiteX5" fmla="*/ 1376 w 10394"/>
              <a:gd name="connsiteY5" fmla="*/ 843 h 10000"/>
              <a:gd name="connsiteX6" fmla="*/ 826 w 10394"/>
              <a:gd name="connsiteY6" fmla="*/ 1292 h 10000"/>
              <a:gd name="connsiteX7" fmla="*/ 275 w 10394"/>
              <a:gd name="connsiteY7" fmla="*/ 1854 h 10000"/>
              <a:gd name="connsiteX8" fmla="*/ 92 w 10394"/>
              <a:gd name="connsiteY8" fmla="*/ 2360 h 10000"/>
              <a:gd name="connsiteX9" fmla="*/ 0 w 10394"/>
              <a:gd name="connsiteY9" fmla="*/ 2978 h 10000"/>
              <a:gd name="connsiteX10" fmla="*/ 0 w 10394"/>
              <a:gd name="connsiteY10" fmla="*/ 3483 h 10000"/>
              <a:gd name="connsiteX11" fmla="*/ 183 w 10394"/>
              <a:gd name="connsiteY11" fmla="*/ 3876 h 10000"/>
              <a:gd name="connsiteX12" fmla="*/ 367 w 10394"/>
              <a:gd name="connsiteY12" fmla="*/ 4213 h 10000"/>
              <a:gd name="connsiteX13" fmla="*/ 642 w 10394"/>
              <a:gd name="connsiteY13" fmla="*/ 4663 h 10000"/>
              <a:gd name="connsiteX14" fmla="*/ 1101 w 10394"/>
              <a:gd name="connsiteY14" fmla="*/ 4888 h 10000"/>
              <a:gd name="connsiteX15" fmla="*/ 1560 w 10394"/>
              <a:gd name="connsiteY15" fmla="*/ 5281 h 10000"/>
              <a:gd name="connsiteX16" fmla="*/ 1927 w 10394"/>
              <a:gd name="connsiteY16" fmla="*/ 5506 h 10000"/>
              <a:gd name="connsiteX17" fmla="*/ 2569 w 10394"/>
              <a:gd name="connsiteY17" fmla="*/ 5730 h 10000"/>
              <a:gd name="connsiteX18" fmla="*/ 2569 w 10394"/>
              <a:gd name="connsiteY18" fmla="*/ 7191 h 10000"/>
              <a:gd name="connsiteX19" fmla="*/ 7339 w 10394"/>
              <a:gd name="connsiteY19" fmla="*/ 7191 h 10000"/>
              <a:gd name="connsiteX20" fmla="*/ 7339 w 10394"/>
              <a:gd name="connsiteY20" fmla="*/ 8820 h 10000"/>
              <a:gd name="connsiteX21" fmla="*/ 7248 w 10394"/>
              <a:gd name="connsiteY21" fmla="*/ 9045 h 10000"/>
              <a:gd name="connsiteX22" fmla="*/ 7156 w 10394"/>
              <a:gd name="connsiteY22" fmla="*/ 9157 h 10000"/>
              <a:gd name="connsiteX23" fmla="*/ 6789 w 10394"/>
              <a:gd name="connsiteY23" fmla="*/ 9382 h 10000"/>
              <a:gd name="connsiteX24" fmla="*/ 6330 w 10394"/>
              <a:gd name="connsiteY24" fmla="*/ 9494 h 10000"/>
              <a:gd name="connsiteX25" fmla="*/ 6239 w 10394"/>
              <a:gd name="connsiteY25" fmla="*/ 9719 h 10000"/>
              <a:gd name="connsiteX26" fmla="*/ 5872 w 10394"/>
              <a:gd name="connsiteY26" fmla="*/ 9831 h 10000"/>
              <a:gd name="connsiteX27" fmla="*/ 5596 w 10394"/>
              <a:gd name="connsiteY27" fmla="*/ 10000 h 10000"/>
              <a:gd name="connsiteX28" fmla="*/ 4954 w 10394"/>
              <a:gd name="connsiteY28" fmla="*/ 10000 h 10000"/>
              <a:gd name="connsiteX29" fmla="*/ 4404 w 10394"/>
              <a:gd name="connsiteY29" fmla="*/ 10000 h 10000"/>
              <a:gd name="connsiteX30" fmla="*/ 3945 w 10394"/>
              <a:gd name="connsiteY30" fmla="*/ 9831 h 10000"/>
              <a:gd name="connsiteX31" fmla="*/ 3670 w 10394"/>
              <a:gd name="connsiteY31" fmla="*/ 9719 h 10000"/>
              <a:gd name="connsiteX32" fmla="*/ 3578 w 10394"/>
              <a:gd name="connsiteY32" fmla="*/ 9494 h 10000"/>
              <a:gd name="connsiteX33" fmla="*/ 3211 w 10394"/>
              <a:gd name="connsiteY33" fmla="*/ 9382 h 10000"/>
              <a:gd name="connsiteX34" fmla="*/ 2844 w 10394"/>
              <a:gd name="connsiteY34" fmla="*/ 9157 h 10000"/>
              <a:gd name="connsiteX35" fmla="*/ 2661 w 10394"/>
              <a:gd name="connsiteY35" fmla="*/ 9045 h 10000"/>
              <a:gd name="connsiteX36" fmla="*/ 2569 w 10394"/>
              <a:gd name="connsiteY36" fmla="*/ 8820 h 10000"/>
              <a:gd name="connsiteX37" fmla="*/ 2569 w 10394"/>
              <a:gd name="connsiteY37"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2936 w 10394"/>
              <a:gd name="connsiteY4" fmla="*/ 169 h 10000"/>
              <a:gd name="connsiteX5" fmla="*/ 826 w 10394"/>
              <a:gd name="connsiteY5" fmla="*/ 1292 h 10000"/>
              <a:gd name="connsiteX6" fmla="*/ 275 w 10394"/>
              <a:gd name="connsiteY6" fmla="*/ 1854 h 10000"/>
              <a:gd name="connsiteX7" fmla="*/ 92 w 10394"/>
              <a:gd name="connsiteY7" fmla="*/ 2360 h 10000"/>
              <a:gd name="connsiteX8" fmla="*/ 0 w 10394"/>
              <a:gd name="connsiteY8" fmla="*/ 2978 h 10000"/>
              <a:gd name="connsiteX9" fmla="*/ 0 w 10394"/>
              <a:gd name="connsiteY9" fmla="*/ 3483 h 10000"/>
              <a:gd name="connsiteX10" fmla="*/ 183 w 10394"/>
              <a:gd name="connsiteY10" fmla="*/ 3876 h 10000"/>
              <a:gd name="connsiteX11" fmla="*/ 367 w 10394"/>
              <a:gd name="connsiteY11" fmla="*/ 4213 h 10000"/>
              <a:gd name="connsiteX12" fmla="*/ 642 w 10394"/>
              <a:gd name="connsiteY12" fmla="*/ 4663 h 10000"/>
              <a:gd name="connsiteX13" fmla="*/ 1101 w 10394"/>
              <a:gd name="connsiteY13" fmla="*/ 4888 h 10000"/>
              <a:gd name="connsiteX14" fmla="*/ 1560 w 10394"/>
              <a:gd name="connsiteY14" fmla="*/ 5281 h 10000"/>
              <a:gd name="connsiteX15" fmla="*/ 1927 w 10394"/>
              <a:gd name="connsiteY15" fmla="*/ 5506 h 10000"/>
              <a:gd name="connsiteX16" fmla="*/ 2569 w 10394"/>
              <a:gd name="connsiteY16" fmla="*/ 5730 h 10000"/>
              <a:gd name="connsiteX17" fmla="*/ 2569 w 10394"/>
              <a:gd name="connsiteY17" fmla="*/ 7191 h 10000"/>
              <a:gd name="connsiteX18" fmla="*/ 7339 w 10394"/>
              <a:gd name="connsiteY18" fmla="*/ 7191 h 10000"/>
              <a:gd name="connsiteX19" fmla="*/ 7339 w 10394"/>
              <a:gd name="connsiteY19" fmla="*/ 8820 h 10000"/>
              <a:gd name="connsiteX20" fmla="*/ 7248 w 10394"/>
              <a:gd name="connsiteY20" fmla="*/ 9045 h 10000"/>
              <a:gd name="connsiteX21" fmla="*/ 7156 w 10394"/>
              <a:gd name="connsiteY21" fmla="*/ 9157 h 10000"/>
              <a:gd name="connsiteX22" fmla="*/ 6789 w 10394"/>
              <a:gd name="connsiteY22" fmla="*/ 9382 h 10000"/>
              <a:gd name="connsiteX23" fmla="*/ 6330 w 10394"/>
              <a:gd name="connsiteY23" fmla="*/ 9494 h 10000"/>
              <a:gd name="connsiteX24" fmla="*/ 6239 w 10394"/>
              <a:gd name="connsiteY24" fmla="*/ 9719 h 10000"/>
              <a:gd name="connsiteX25" fmla="*/ 5872 w 10394"/>
              <a:gd name="connsiteY25" fmla="*/ 9831 h 10000"/>
              <a:gd name="connsiteX26" fmla="*/ 5596 w 10394"/>
              <a:gd name="connsiteY26" fmla="*/ 10000 h 10000"/>
              <a:gd name="connsiteX27" fmla="*/ 4954 w 10394"/>
              <a:gd name="connsiteY27" fmla="*/ 10000 h 10000"/>
              <a:gd name="connsiteX28" fmla="*/ 4404 w 10394"/>
              <a:gd name="connsiteY28" fmla="*/ 10000 h 10000"/>
              <a:gd name="connsiteX29" fmla="*/ 3945 w 10394"/>
              <a:gd name="connsiteY29" fmla="*/ 9831 h 10000"/>
              <a:gd name="connsiteX30" fmla="*/ 3670 w 10394"/>
              <a:gd name="connsiteY30" fmla="*/ 9719 h 10000"/>
              <a:gd name="connsiteX31" fmla="*/ 3578 w 10394"/>
              <a:gd name="connsiteY31" fmla="*/ 9494 h 10000"/>
              <a:gd name="connsiteX32" fmla="*/ 3211 w 10394"/>
              <a:gd name="connsiteY32" fmla="*/ 9382 h 10000"/>
              <a:gd name="connsiteX33" fmla="*/ 2844 w 10394"/>
              <a:gd name="connsiteY33" fmla="*/ 9157 h 10000"/>
              <a:gd name="connsiteX34" fmla="*/ 2661 w 10394"/>
              <a:gd name="connsiteY34" fmla="*/ 9045 h 10000"/>
              <a:gd name="connsiteX35" fmla="*/ 2569 w 10394"/>
              <a:gd name="connsiteY35" fmla="*/ 8820 h 10000"/>
              <a:gd name="connsiteX36" fmla="*/ 2569 w 10394"/>
              <a:gd name="connsiteY36"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826 w 10394"/>
              <a:gd name="connsiteY4" fmla="*/ 1292 h 10000"/>
              <a:gd name="connsiteX5" fmla="*/ 275 w 10394"/>
              <a:gd name="connsiteY5" fmla="*/ 1854 h 10000"/>
              <a:gd name="connsiteX6" fmla="*/ 92 w 10394"/>
              <a:gd name="connsiteY6" fmla="*/ 2360 h 10000"/>
              <a:gd name="connsiteX7" fmla="*/ 0 w 10394"/>
              <a:gd name="connsiteY7" fmla="*/ 2978 h 10000"/>
              <a:gd name="connsiteX8" fmla="*/ 0 w 10394"/>
              <a:gd name="connsiteY8" fmla="*/ 3483 h 10000"/>
              <a:gd name="connsiteX9" fmla="*/ 183 w 10394"/>
              <a:gd name="connsiteY9" fmla="*/ 3876 h 10000"/>
              <a:gd name="connsiteX10" fmla="*/ 367 w 10394"/>
              <a:gd name="connsiteY10" fmla="*/ 4213 h 10000"/>
              <a:gd name="connsiteX11" fmla="*/ 642 w 10394"/>
              <a:gd name="connsiteY11" fmla="*/ 4663 h 10000"/>
              <a:gd name="connsiteX12" fmla="*/ 1101 w 10394"/>
              <a:gd name="connsiteY12" fmla="*/ 4888 h 10000"/>
              <a:gd name="connsiteX13" fmla="*/ 1560 w 10394"/>
              <a:gd name="connsiteY13" fmla="*/ 5281 h 10000"/>
              <a:gd name="connsiteX14" fmla="*/ 1927 w 10394"/>
              <a:gd name="connsiteY14" fmla="*/ 5506 h 10000"/>
              <a:gd name="connsiteX15" fmla="*/ 2569 w 10394"/>
              <a:gd name="connsiteY15" fmla="*/ 5730 h 10000"/>
              <a:gd name="connsiteX16" fmla="*/ 2569 w 10394"/>
              <a:gd name="connsiteY16" fmla="*/ 7191 h 10000"/>
              <a:gd name="connsiteX17" fmla="*/ 7339 w 10394"/>
              <a:gd name="connsiteY17" fmla="*/ 7191 h 10000"/>
              <a:gd name="connsiteX18" fmla="*/ 7339 w 10394"/>
              <a:gd name="connsiteY18" fmla="*/ 8820 h 10000"/>
              <a:gd name="connsiteX19" fmla="*/ 7248 w 10394"/>
              <a:gd name="connsiteY19" fmla="*/ 9045 h 10000"/>
              <a:gd name="connsiteX20" fmla="*/ 7156 w 10394"/>
              <a:gd name="connsiteY20" fmla="*/ 9157 h 10000"/>
              <a:gd name="connsiteX21" fmla="*/ 6789 w 10394"/>
              <a:gd name="connsiteY21" fmla="*/ 9382 h 10000"/>
              <a:gd name="connsiteX22" fmla="*/ 6330 w 10394"/>
              <a:gd name="connsiteY22" fmla="*/ 9494 h 10000"/>
              <a:gd name="connsiteX23" fmla="*/ 6239 w 10394"/>
              <a:gd name="connsiteY23" fmla="*/ 9719 h 10000"/>
              <a:gd name="connsiteX24" fmla="*/ 5872 w 10394"/>
              <a:gd name="connsiteY24" fmla="*/ 9831 h 10000"/>
              <a:gd name="connsiteX25" fmla="*/ 5596 w 10394"/>
              <a:gd name="connsiteY25" fmla="*/ 10000 h 10000"/>
              <a:gd name="connsiteX26" fmla="*/ 4954 w 10394"/>
              <a:gd name="connsiteY26" fmla="*/ 10000 h 10000"/>
              <a:gd name="connsiteX27" fmla="*/ 4404 w 10394"/>
              <a:gd name="connsiteY27" fmla="*/ 10000 h 10000"/>
              <a:gd name="connsiteX28" fmla="*/ 3945 w 10394"/>
              <a:gd name="connsiteY28" fmla="*/ 9831 h 10000"/>
              <a:gd name="connsiteX29" fmla="*/ 3670 w 10394"/>
              <a:gd name="connsiteY29" fmla="*/ 9719 h 10000"/>
              <a:gd name="connsiteX30" fmla="*/ 3578 w 10394"/>
              <a:gd name="connsiteY30" fmla="*/ 9494 h 10000"/>
              <a:gd name="connsiteX31" fmla="*/ 3211 w 10394"/>
              <a:gd name="connsiteY31" fmla="*/ 9382 h 10000"/>
              <a:gd name="connsiteX32" fmla="*/ 2844 w 10394"/>
              <a:gd name="connsiteY32" fmla="*/ 9157 h 10000"/>
              <a:gd name="connsiteX33" fmla="*/ 2661 w 10394"/>
              <a:gd name="connsiteY33" fmla="*/ 9045 h 10000"/>
              <a:gd name="connsiteX34" fmla="*/ 2569 w 10394"/>
              <a:gd name="connsiteY34" fmla="*/ 8820 h 10000"/>
              <a:gd name="connsiteX35" fmla="*/ 2569 w 10394"/>
              <a:gd name="connsiteY35"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275 w 10394"/>
              <a:gd name="connsiteY4" fmla="*/ 1854 h 10000"/>
              <a:gd name="connsiteX5" fmla="*/ 92 w 10394"/>
              <a:gd name="connsiteY5" fmla="*/ 2360 h 10000"/>
              <a:gd name="connsiteX6" fmla="*/ 0 w 10394"/>
              <a:gd name="connsiteY6" fmla="*/ 2978 h 10000"/>
              <a:gd name="connsiteX7" fmla="*/ 0 w 10394"/>
              <a:gd name="connsiteY7" fmla="*/ 3483 h 10000"/>
              <a:gd name="connsiteX8" fmla="*/ 183 w 10394"/>
              <a:gd name="connsiteY8" fmla="*/ 3876 h 10000"/>
              <a:gd name="connsiteX9" fmla="*/ 367 w 10394"/>
              <a:gd name="connsiteY9" fmla="*/ 4213 h 10000"/>
              <a:gd name="connsiteX10" fmla="*/ 642 w 10394"/>
              <a:gd name="connsiteY10" fmla="*/ 4663 h 10000"/>
              <a:gd name="connsiteX11" fmla="*/ 1101 w 10394"/>
              <a:gd name="connsiteY11" fmla="*/ 4888 h 10000"/>
              <a:gd name="connsiteX12" fmla="*/ 1560 w 10394"/>
              <a:gd name="connsiteY12" fmla="*/ 5281 h 10000"/>
              <a:gd name="connsiteX13" fmla="*/ 1927 w 10394"/>
              <a:gd name="connsiteY13" fmla="*/ 5506 h 10000"/>
              <a:gd name="connsiteX14" fmla="*/ 2569 w 10394"/>
              <a:gd name="connsiteY14" fmla="*/ 5730 h 10000"/>
              <a:gd name="connsiteX15" fmla="*/ 2569 w 10394"/>
              <a:gd name="connsiteY15" fmla="*/ 7191 h 10000"/>
              <a:gd name="connsiteX16" fmla="*/ 7339 w 10394"/>
              <a:gd name="connsiteY16" fmla="*/ 7191 h 10000"/>
              <a:gd name="connsiteX17" fmla="*/ 7339 w 10394"/>
              <a:gd name="connsiteY17" fmla="*/ 8820 h 10000"/>
              <a:gd name="connsiteX18" fmla="*/ 7248 w 10394"/>
              <a:gd name="connsiteY18" fmla="*/ 9045 h 10000"/>
              <a:gd name="connsiteX19" fmla="*/ 7156 w 10394"/>
              <a:gd name="connsiteY19" fmla="*/ 9157 h 10000"/>
              <a:gd name="connsiteX20" fmla="*/ 6789 w 10394"/>
              <a:gd name="connsiteY20" fmla="*/ 9382 h 10000"/>
              <a:gd name="connsiteX21" fmla="*/ 6330 w 10394"/>
              <a:gd name="connsiteY21" fmla="*/ 9494 h 10000"/>
              <a:gd name="connsiteX22" fmla="*/ 6239 w 10394"/>
              <a:gd name="connsiteY22" fmla="*/ 9719 h 10000"/>
              <a:gd name="connsiteX23" fmla="*/ 5872 w 10394"/>
              <a:gd name="connsiteY23" fmla="*/ 9831 h 10000"/>
              <a:gd name="connsiteX24" fmla="*/ 5596 w 10394"/>
              <a:gd name="connsiteY24" fmla="*/ 10000 h 10000"/>
              <a:gd name="connsiteX25" fmla="*/ 4954 w 10394"/>
              <a:gd name="connsiteY25" fmla="*/ 10000 h 10000"/>
              <a:gd name="connsiteX26" fmla="*/ 4404 w 10394"/>
              <a:gd name="connsiteY26" fmla="*/ 10000 h 10000"/>
              <a:gd name="connsiteX27" fmla="*/ 3945 w 10394"/>
              <a:gd name="connsiteY27" fmla="*/ 9831 h 10000"/>
              <a:gd name="connsiteX28" fmla="*/ 3670 w 10394"/>
              <a:gd name="connsiteY28" fmla="*/ 9719 h 10000"/>
              <a:gd name="connsiteX29" fmla="*/ 3578 w 10394"/>
              <a:gd name="connsiteY29" fmla="*/ 9494 h 10000"/>
              <a:gd name="connsiteX30" fmla="*/ 3211 w 10394"/>
              <a:gd name="connsiteY30" fmla="*/ 9382 h 10000"/>
              <a:gd name="connsiteX31" fmla="*/ 2844 w 10394"/>
              <a:gd name="connsiteY31" fmla="*/ 9157 h 10000"/>
              <a:gd name="connsiteX32" fmla="*/ 2661 w 10394"/>
              <a:gd name="connsiteY32" fmla="*/ 9045 h 10000"/>
              <a:gd name="connsiteX33" fmla="*/ 2569 w 10394"/>
              <a:gd name="connsiteY33" fmla="*/ 8820 h 10000"/>
              <a:gd name="connsiteX34" fmla="*/ 2569 w 10394"/>
              <a:gd name="connsiteY34"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92 w 10394"/>
              <a:gd name="connsiteY4" fmla="*/ 2360 h 10000"/>
              <a:gd name="connsiteX5" fmla="*/ 0 w 10394"/>
              <a:gd name="connsiteY5" fmla="*/ 2978 h 10000"/>
              <a:gd name="connsiteX6" fmla="*/ 0 w 10394"/>
              <a:gd name="connsiteY6" fmla="*/ 3483 h 10000"/>
              <a:gd name="connsiteX7" fmla="*/ 183 w 10394"/>
              <a:gd name="connsiteY7" fmla="*/ 3876 h 10000"/>
              <a:gd name="connsiteX8" fmla="*/ 367 w 10394"/>
              <a:gd name="connsiteY8" fmla="*/ 4213 h 10000"/>
              <a:gd name="connsiteX9" fmla="*/ 642 w 10394"/>
              <a:gd name="connsiteY9" fmla="*/ 4663 h 10000"/>
              <a:gd name="connsiteX10" fmla="*/ 1101 w 10394"/>
              <a:gd name="connsiteY10" fmla="*/ 4888 h 10000"/>
              <a:gd name="connsiteX11" fmla="*/ 1560 w 10394"/>
              <a:gd name="connsiteY11" fmla="*/ 5281 h 10000"/>
              <a:gd name="connsiteX12" fmla="*/ 1927 w 10394"/>
              <a:gd name="connsiteY12" fmla="*/ 5506 h 10000"/>
              <a:gd name="connsiteX13" fmla="*/ 2569 w 10394"/>
              <a:gd name="connsiteY13" fmla="*/ 5730 h 10000"/>
              <a:gd name="connsiteX14" fmla="*/ 2569 w 10394"/>
              <a:gd name="connsiteY14" fmla="*/ 7191 h 10000"/>
              <a:gd name="connsiteX15" fmla="*/ 7339 w 10394"/>
              <a:gd name="connsiteY15" fmla="*/ 7191 h 10000"/>
              <a:gd name="connsiteX16" fmla="*/ 7339 w 10394"/>
              <a:gd name="connsiteY16" fmla="*/ 8820 h 10000"/>
              <a:gd name="connsiteX17" fmla="*/ 7248 w 10394"/>
              <a:gd name="connsiteY17" fmla="*/ 9045 h 10000"/>
              <a:gd name="connsiteX18" fmla="*/ 7156 w 10394"/>
              <a:gd name="connsiteY18" fmla="*/ 9157 h 10000"/>
              <a:gd name="connsiteX19" fmla="*/ 6789 w 10394"/>
              <a:gd name="connsiteY19" fmla="*/ 9382 h 10000"/>
              <a:gd name="connsiteX20" fmla="*/ 6330 w 10394"/>
              <a:gd name="connsiteY20" fmla="*/ 9494 h 10000"/>
              <a:gd name="connsiteX21" fmla="*/ 6239 w 10394"/>
              <a:gd name="connsiteY21" fmla="*/ 9719 h 10000"/>
              <a:gd name="connsiteX22" fmla="*/ 5872 w 10394"/>
              <a:gd name="connsiteY22" fmla="*/ 9831 h 10000"/>
              <a:gd name="connsiteX23" fmla="*/ 5596 w 10394"/>
              <a:gd name="connsiteY23" fmla="*/ 10000 h 10000"/>
              <a:gd name="connsiteX24" fmla="*/ 4954 w 10394"/>
              <a:gd name="connsiteY24" fmla="*/ 10000 h 10000"/>
              <a:gd name="connsiteX25" fmla="*/ 4404 w 10394"/>
              <a:gd name="connsiteY25" fmla="*/ 10000 h 10000"/>
              <a:gd name="connsiteX26" fmla="*/ 3945 w 10394"/>
              <a:gd name="connsiteY26" fmla="*/ 9831 h 10000"/>
              <a:gd name="connsiteX27" fmla="*/ 3670 w 10394"/>
              <a:gd name="connsiteY27" fmla="*/ 9719 h 10000"/>
              <a:gd name="connsiteX28" fmla="*/ 3578 w 10394"/>
              <a:gd name="connsiteY28" fmla="*/ 9494 h 10000"/>
              <a:gd name="connsiteX29" fmla="*/ 3211 w 10394"/>
              <a:gd name="connsiteY29" fmla="*/ 9382 h 10000"/>
              <a:gd name="connsiteX30" fmla="*/ 2844 w 10394"/>
              <a:gd name="connsiteY30" fmla="*/ 9157 h 10000"/>
              <a:gd name="connsiteX31" fmla="*/ 2661 w 10394"/>
              <a:gd name="connsiteY31" fmla="*/ 9045 h 10000"/>
              <a:gd name="connsiteX32" fmla="*/ 2569 w 10394"/>
              <a:gd name="connsiteY32" fmla="*/ 8820 h 10000"/>
              <a:gd name="connsiteX33" fmla="*/ 2569 w 10394"/>
              <a:gd name="connsiteY33"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487 w 10698"/>
              <a:gd name="connsiteY6" fmla="*/ 3876 h 10000"/>
              <a:gd name="connsiteX7" fmla="*/ 671 w 10698"/>
              <a:gd name="connsiteY7" fmla="*/ 4213 h 10000"/>
              <a:gd name="connsiteX8" fmla="*/ 946 w 10698"/>
              <a:gd name="connsiteY8" fmla="*/ 4663 h 10000"/>
              <a:gd name="connsiteX9" fmla="*/ 1405 w 10698"/>
              <a:gd name="connsiteY9" fmla="*/ 4888 h 10000"/>
              <a:gd name="connsiteX10" fmla="*/ 1864 w 10698"/>
              <a:gd name="connsiteY10" fmla="*/ 5281 h 10000"/>
              <a:gd name="connsiteX11" fmla="*/ 2231 w 10698"/>
              <a:gd name="connsiteY11" fmla="*/ 5506 h 10000"/>
              <a:gd name="connsiteX12" fmla="*/ 2873 w 10698"/>
              <a:gd name="connsiteY12" fmla="*/ 5730 h 10000"/>
              <a:gd name="connsiteX13" fmla="*/ 2873 w 10698"/>
              <a:gd name="connsiteY13" fmla="*/ 7191 h 10000"/>
              <a:gd name="connsiteX14" fmla="*/ 7643 w 10698"/>
              <a:gd name="connsiteY14" fmla="*/ 7191 h 10000"/>
              <a:gd name="connsiteX15" fmla="*/ 7643 w 10698"/>
              <a:gd name="connsiteY15" fmla="*/ 8820 h 10000"/>
              <a:gd name="connsiteX16" fmla="*/ 7552 w 10698"/>
              <a:gd name="connsiteY16" fmla="*/ 9045 h 10000"/>
              <a:gd name="connsiteX17" fmla="*/ 7460 w 10698"/>
              <a:gd name="connsiteY17" fmla="*/ 9157 h 10000"/>
              <a:gd name="connsiteX18" fmla="*/ 7093 w 10698"/>
              <a:gd name="connsiteY18" fmla="*/ 9382 h 10000"/>
              <a:gd name="connsiteX19" fmla="*/ 6634 w 10698"/>
              <a:gd name="connsiteY19" fmla="*/ 9494 h 10000"/>
              <a:gd name="connsiteX20" fmla="*/ 6543 w 10698"/>
              <a:gd name="connsiteY20" fmla="*/ 9719 h 10000"/>
              <a:gd name="connsiteX21" fmla="*/ 6176 w 10698"/>
              <a:gd name="connsiteY21" fmla="*/ 9831 h 10000"/>
              <a:gd name="connsiteX22" fmla="*/ 5900 w 10698"/>
              <a:gd name="connsiteY22" fmla="*/ 10000 h 10000"/>
              <a:gd name="connsiteX23" fmla="*/ 5258 w 10698"/>
              <a:gd name="connsiteY23" fmla="*/ 10000 h 10000"/>
              <a:gd name="connsiteX24" fmla="*/ 4708 w 10698"/>
              <a:gd name="connsiteY24" fmla="*/ 10000 h 10000"/>
              <a:gd name="connsiteX25" fmla="*/ 4249 w 10698"/>
              <a:gd name="connsiteY25" fmla="*/ 9831 h 10000"/>
              <a:gd name="connsiteX26" fmla="*/ 3974 w 10698"/>
              <a:gd name="connsiteY26" fmla="*/ 9719 h 10000"/>
              <a:gd name="connsiteX27" fmla="*/ 3882 w 10698"/>
              <a:gd name="connsiteY27" fmla="*/ 9494 h 10000"/>
              <a:gd name="connsiteX28" fmla="*/ 3515 w 10698"/>
              <a:gd name="connsiteY28" fmla="*/ 9382 h 10000"/>
              <a:gd name="connsiteX29" fmla="*/ 3148 w 10698"/>
              <a:gd name="connsiteY29" fmla="*/ 9157 h 10000"/>
              <a:gd name="connsiteX30" fmla="*/ 2965 w 10698"/>
              <a:gd name="connsiteY30" fmla="*/ 9045 h 10000"/>
              <a:gd name="connsiteX31" fmla="*/ 2873 w 10698"/>
              <a:gd name="connsiteY31" fmla="*/ 8820 h 10000"/>
              <a:gd name="connsiteX32" fmla="*/ 2873 w 10698"/>
              <a:gd name="connsiteY32"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946 w 10698"/>
              <a:gd name="connsiteY7" fmla="*/ 4663 h 10000"/>
              <a:gd name="connsiteX8" fmla="*/ 1405 w 10698"/>
              <a:gd name="connsiteY8" fmla="*/ 4888 h 10000"/>
              <a:gd name="connsiteX9" fmla="*/ 1864 w 10698"/>
              <a:gd name="connsiteY9" fmla="*/ 5281 h 10000"/>
              <a:gd name="connsiteX10" fmla="*/ 2231 w 10698"/>
              <a:gd name="connsiteY10" fmla="*/ 5506 h 10000"/>
              <a:gd name="connsiteX11" fmla="*/ 2873 w 10698"/>
              <a:gd name="connsiteY11" fmla="*/ 5730 h 10000"/>
              <a:gd name="connsiteX12" fmla="*/ 2873 w 10698"/>
              <a:gd name="connsiteY12" fmla="*/ 7191 h 10000"/>
              <a:gd name="connsiteX13" fmla="*/ 7643 w 10698"/>
              <a:gd name="connsiteY13" fmla="*/ 7191 h 10000"/>
              <a:gd name="connsiteX14" fmla="*/ 7643 w 10698"/>
              <a:gd name="connsiteY14" fmla="*/ 8820 h 10000"/>
              <a:gd name="connsiteX15" fmla="*/ 7552 w 10698"/>
              <a:gd name="connsiteY15" fmla="*/ 9045 h 10000"/>
              <a:gd name="connsiteX16" fmla="*/ 7460 w 10698"/>
              <a:gd name="connsiteY16" fmla="*/ 9157 h 10000"/>
              <a:gd name="connsiteX17" fmla="*/ 7093 w 10698"/>
              <a:gd name="connsiteY17" fmla="*/ 9382 h 10000"/>
              <a:gd name="connsiteX18" fmla="*/ 6634 w 10698"/>
              <a:gd name="connsiteY18" fmla="*/ 9494 h 10000"/>
              <a:gd name="connsiteX19" fmla="*/ 6543 w 10698"/>
              <a:gd name="connsiteY19" fmla="*/ 9719 h 10000"/>
              <a:gd name="connsiteX20" fmla="*/ 6176 w 10698"/>
              <a:gd name="connsiteY20" fmla="*/ 9831 h 10000"/>
              <a:gd name="connsiteX21" fmla="*/ 5900 w 10698"/>
              <a:gd name="connsiteY21" fmla="*/ 10000 h 10000"/>
              <a:gd name="connsiteX22" fmla="*/ 5258 w 10698"/>
              <a:gd name="connsiteY22" fmla="*/ 10000 h 10000"/>
              <a:gd name="connsiteX23" fmla="*/ 4708 w 10698"/>
              <a:gd name="connsiteY23" fmla="*/ 10000 h 10000"/>
              <a:gd name="connsiteX24" fmla="*/ 4249 w 10698"/>
              <a:gd name="connsiteY24" fmla="*/ 9831 h 10000"/>
              <a:gd name="connsiteX25" fmla="*/ 3974 w 10698"/>
              <a:gd name="connsiteY25" fmla="*/ 9719 h 10000"/>
              <a:gd name="connsiteX26" fmla="*/ 3882 w 10698"/>
              <a:gd name="connsiteY26" fmla="*/ 9494 h 10000"/>
              <a:gd name="connsiteX27" fmla="*/ 3515 w 10698"/>
              <a:gd name="connsiteY27" fmla="*/ 9382 h 10000"/>
              <a:gd name="connsiteX28" fmla="*/ 3148 w 10698"/>
              <a:gd name="connsiteY28" fmla="*/ 9157 h 10000"/>
              <a:gd name="connsiteX29" fmla="*/ 2965 w 10698"/>
              <a:gd name="connsiteY29" fmla="*/ 9045 h 10000"/>
              <a:gd name="connsiteX30" fmla="*/ 2873 w 10698"/>
              <a:gd name="connsiteY30" fmla="*/ 8820 h 10000"/>
              <a:gd name="connsiteX31" fmla="*/ 2873 w 10698"/>
              <a:gd name="connsiteY31"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1405 w 10698"/>
              <a:gd name="connsiteY7" fmla="*/ 4888 h 10000"/>
              <a:gd name="connsiteX8" fmla="*/ 1864 w 10698"/>
              <a:gd name="connsiteY8" fmla="*/ 5281 h 10000"/>
              <a:gd name="connsiteX9" fmla="*/ 2231 w 10698"/>
              <a:gd name="connsiteY9" fmla="*/ 5506 h 10000"/>
              <a:gd name="connsiteX10" fmla="*/ 2873 w 10698"/>
              <a:gd name="connsiteY10" fmla="*/ 5730 h 10000"/>
              <a:gd name="connsiteX11" fmla="*/ 2873 w 10698"/>
              <a:gd name="connsiteY11" fmla="*/ 7191 h 10000"/>
              <a:gd name="connsiteX12" fmla="*/ 7643 w 10698"/>
              <a:gd name="connsiteY12" fmla="*/ 7191 h 10000"/>
              <a:gd name="connsiteX13" fmla="*/ 7643 w 10698"/>
              <a:gd name="connsiteY13" fmla="*/ 8820 h 10000"/>
              <a:gd name="connsiteX14" fmla="*/ 7552 w 10698"/>
              <a:gd name="connsiteY14" fmla="*/ 9045 h 10000"/>
              <a:gd name="connsiteX15" fmla="*/ 7460 w 10698"/>
              <a:gd name="connsiteY15" fmla="*/ 9157 h 10000"/>
              <a:gd name="connsiteX16" fmla="*/ 7093 w 10698"/>
              <a:gd name="connsiteY16" fmla="*/ 9382 h 10000"/>
              <a:gd name="connsiteX17" fmla="*/ 6634 w 10698"/>
              <a:gd name="connsiteY17" fmla="*/ 9494 h 10000"/>
              <a:gd name="connsiteX18" fmla="*/ 6543 w 10698"/>
              <a:gd name="connsiteY18" fmla="*/ 9719 h 10000"/>
              <a:gd name="connsiteX19" fmla="*/ 6176 w 10698"/>
              <a:gd name="connsiteY19" fmla="*/ 9831 h 10000"/>
              <a:gd name="connsiteX20" fmla="*/ 5900 w 10698"/>
              <a:gd name="connsiteY20" fmla="*/ 10000 h 10000"/>
              <a:gd name="connsiteX21" fmla="*/ 5258 w 10698"/>
              <a:gd name="connsiteY21" fmla="*/ 10000 h 10000"/>
              <a:gd name="connsiteX22" fmla="*/ 4708 w 10698"/>
              <a:gd name="connsiteY22" fmla="*/ 10000 h 10000"/>
              <a:gd name="connsiteX23" fmla="*/ 4249 w 10698"/>
              <a:gd name="connsiteY23" fmla="*/ 9831 h 10000"/>
              <a:gd name="connsiteX24" fmla="*/ 3974 w 10698"/>
              <a:gd name="connsiteY24" fmla="*/ 9719 h 10000"/>
              <a:gd name="connsiteX25" fmla="*/ 3882 w 10698"/>
              <a:gd name="connsiteY25" fmla="*/ 9494 h 10000"/>
              <a:gd name="connsiteX26" fmla="*/ 3515 w 10698"/>
              <a:gd name="connsiteY26" fmla="*/ 9382 h 10000"/>
              <a:gd name="connsiteX27" fmla="*/ 3148 w 10698"/>
              <a:gd name="connsiteY27" fmla="*/ 9157 h 10000"/>
              <a:gd name="connsiteX28" fmla="*/ 2965 w 10698"/>
              <a:gd name="connsiteY28" fmla="*/ 9045 h 10000"/>
              <a:gd name="connsiteX29" fmla="*/ 2873 w 10698"/>
              <a:gd name="connsiteY29" fmla="*/ 8820 h 10000"/>
              <a:gd name="connsiteX30" fmla="*/ 2873 w 10698"/>
              <a:gd name="connsiteY30"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1405 w 10698"/>
              <a:gd name="connsiteY7" fmla="*/ 4888 h 10000"/>
              <a:gd name="connsiteX8" fmla="*/ 2231 w 10698"/>
              <a:gd name="connsiteY8" fmla="*/ 5506 h 10000"/>
              <a:gd name="connsiteX9" fmla="*/ 2873 w 10698"/>
              <a:gd name="connsiteY9" fmla="*/ 5730 h 10000"/>
              <a:gd name="connsiteX10" fmla="*/ 2873 w 10698"/>
              <a:gd name="connsiteY10" fmla="*/ 7191 h 10000"/>
              <a:gd name="connsiteX11" fmla="*/ 7643 w 10698"/>
              <a:gd name="connsiteY11" fmla="*/ 7191 h 10000"/>
              <a:gd name="connsiteX12" fmla="*/ 7643 w 10698"/>
              <a:gd name="connsiteY12" fmla="*/ 8820 h 10000"/>
              <a:gd name="connsiteX13" fmla="*/ 7552 w 10698"/>
              <a:gd name="connsiteY13" fmla="*/ 9045 h 10000"/>
              <a:gd name="connsiteX14" fmla="*/ 7460 w 10698"/>
              <a:gd name="connsiteY14" fmla="*/ 9157 h 10000"/>
              <a:gd name="connsiteX15" fmla="*/ 7093 w 10698"/>
              <a:gd name="connsiteY15" fmla="*/ 9382 h 10000"/>
              <a:gd name="connsiteX16" fmla="*/ 6634 w 10698"/>
              <a:gd name="connsiteY16" fmla="*/ 9494 h 10000"/>
              <a:gd name="connsiteX17" fmla="*/ 6543 w 10698"/>
              <a:gd name="connsiteY17" fmla="*/ 9719 h 10000"/>
              <a:gd name="connsiteX18" fmla="*/ 6176 w 10698"/>
              <a:gd name="connsiteY18" fmla="*/ 9831 h 10000"/>
              <a:gd name="connsiteX19" fmla="*/ 5900 w 10698"/>
              <a:gd name="connsiteY19" fmla="*/ 10000 h 10000"/>
              <a:gd name="connsiteX20" fmla="*/ 5258 w 10698"/>
              <a:gd name="connsiteY20" fmla="*/ 10000 h 10000"/>
              <a:gd name="connsiteX21" fmla="*/ 4708 w 10698"/>
              <a:gd name="connsiteY21" fmla="*/ 10000 h 10000"/>
              <a:gd name="connsiteX22" fmla="*/ 4249 w 10698"/>
              <a:gd name="connsiteY22" fmla="*/ 9831 h 10000"/>
              <a:gd name="connsiteX23" fmla="*/ 3974 w 10698"/>
              <a:gd name="connsiteY23" fmla="*/ 9719 h 10000"/>
              <a:gd name="connsiteX24" fmla="*/ 3882 w 10698"/>
              <a:gd name="connsiteY24" fmla="*/ 9494 h 10000"/>
              <a:gd name="connsiteX25" fmla="*/ 3515 w 10698"/>
              <a:gd name="connsiteY25" fmla="*/ 9382 h 10000"/>
              <a:gd name="connsiteX26" fmla="*/ 3148 w 10698"/>
              <a:gd name="connsiteY26" fmla="*/ 9157 h 10000"/>
              <a:gd name="connsiteX27" fmla="*/ 2965 w 10698"/>
              <a:gd name="connsiteY27" fmla="*/ 9045 h 10000"/>
              <a:gd name="connsiteX28" fmla="*/ 2873 w 10698"/>
              <a:gd name="connsiteY28" fmla="*/ 8820 h 10000"/>
              <a:gd name="connsiteX29" fmla="*/ 2873 w 10698"/>
              <a:gd name="connsiteY29"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1405 w 10698"/>
              <a:gd name="connsiteY7" fmla="*/ 4888 h 10000"/>
              <a:gd name="connsiteX8" fmla="*/ 2873 w 10698"/>
              <a:gd name="connsiteY8" fmla="*/ 5730 h 10000"/>
              <a:gd name="connsiteX9" fmla="*/ 2873 w 10698"/>
              <a:gd name="connsiteY9" fmla="*/ 7191 h 10000"/>
              <a:gd name="connsiteX10" fmla="*/ 7643 w 10698"/>
              <a:gd name="connsiteY10" fmla="*/ 7191 h 10000"/>
              <a:gd name="connsiteX11" fmla="*/ 7643 w 10698"/>
              <a:gd name="connsiteY11" fmla="*/ 8820 h 10000"/>
              <a:gd name="connsiteX12" fmla="*/ 7552 w 10698"/>
              <a:gd name="connsiteY12" fmla="*/ 9045 h 10000"/>
              <a:gd name="connsiteX13" fmla="*/ 7460 w 10698"/>
              <a:gd name="connsiteY13" fmla="*/ 9157 h 10000"/>
              <a:gd name="connsiteX14" fmla="*/ 7093 w 10698"/>
              <a:gd name="connsiteY14" fmla="*/ 9382 h 10000"/>
              <a:gd name="connsiteX15" fmla="*/ 6634 w 10698"/>
              <a:gd name="connsiteY15" fmla="*/ 9494 h 10000"/>
              <a:gd name="connsiteX16" fmla="*/ 6543 w 10698"/>
              <a:gd name="connsiteY16" fmla="*/ 9719 h 10000"/>
              <a:gd name="connsiteX17" fmla="*/ 6176 w 10698"/>
              <a:gd name="connsiteY17" fmla="*/ 9831 h 10000"/>
              <a:gd name="connsiteX18" fmla="*/ 5900 w 10698"/>
              <a:gd name="connsiteY18" fmla="*/ 10000 h 10000"/>
              <a:gd name="connsiteX19" fmla="*/ 5258 w 10698"/>
              <a:gd name="connsiteY19" fmla="*/ 10000 h 10000"/>
              <a:gd name="connsiteX20" fmla="*/ 4708 w 10698"/>
              <a:gd name="connsiteY20" fmla="*/ 10000 h 10000"/>
              <a:gd name="connsiteX21" fmla="*/ 4249 w 10698"/>
              <a:gd name="connsiteY21" fmla="*/ 9831 h 10000"/>
              <a:gd name="connsiteX22" fmla="*/ 3974 w 10698"/>
              <a:gd name="connsiteY22" fmla="*/ 9719 h 10000"/>
              <a:gd name="connsiteX23" fmla="*/ 3882 w 10698"/>
              <a:gd name="connsiteY23" fmla="*/ 9494 h 10000"/>
              <a:gd name="connsiteX24" fmla="*/ 3515 w 10698"/>
              <a:gd name="connsiteY24" fmla="*/ 9382 h 10000"/>
              <a:gd name="connsiteX25" fmla="*/ 3148 w 10698"/>
              <a:gd name="connsiteY25" fmla="*/ 9157 h 10000"/>
              <a:gd name="connsiteX26" fmla="*/ 2965 w 10698"/>
              <a:gd name="connsiteY26" fmla="*/ 9045 h 10000"/>
              <a:gd name="connsiteX27" fmla="*/ 2873 w 10698"/>
              <a:gd name="connsiteY27" fmla="*/ 8820 h 10000"/>
              <a:gd name="connsiteX28" fmla="*/ 2873 w 10698"/>
              <a:gd name="connsiteY28"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2873 w 10698"/>
              <a:gd name="connsiteY7" fmla="*/ 5730 h 10000"/>
              <a:gd name="connsiteX8" fmla="*/ 2873 w 10698"/>
              <a:gd name="connsiteY8" fmla="*/ 7191 h 10000"/>
              <a:gd name="connsiteX9" fmla="*/ 7643 w 10698"/>
              <a:gd name="connsiteY9" fmla="*/ 7191 h 10000"/>
              <a:gd name="connsiteX10" fmla="*/ 7643 w 10698"/>
              <a:gd name="connsiteY10" fmla="*/ 8820 h 10000"/>
              <a:gd name="connsiteX11" fmla="*/ 7552 w 10698"/>
              <a:gd name="connsiteY11" fmla="*/ 9045 h 10000"/>
              <a:gd name="connsiteX12" fmla="*/ 7460 w 10698"/>
              <a:gd name="connsiteY12" fmla="*/ 9157 h 10000"/>
              <a:gd name="connsiteX13" fmla="*/ 7093 w 10698"/>
              <a:gd name="connsiteY13" fmla="*/ 9382 h 10000"/>
              <a:gd name="connsiteX14" fmla="*/ 6634 w 10698"/>
              <a:gd name="connsiteY14" fmla="*/ 9494 h 10000"/>
              <a:gd name="connsiteX15" fmla="*/ 6543 w 10698"/>
              <a:gd name="connsiteY15" fmla="*/ 9719 h 10000"/>
              <a:gd name="connsiteX16" fmla="*/ 6176 w 10698"/>
              <a:gd name="connsiteY16" fmla="*/ 9831 h 10000"/>
              <a:gd name="connsiteX17" fmla="*/ 5900 w 10698"/>
              <a:gd name="connsiteY17" fmla="*/ 10000 h 10000"/>
              <a:gd name="connsiteX18" fmla="*/ 5258 w 10698"/>
              <a:gd name="connsiteY18" fmla="*/ 10000 h 10000"/>
              <a:gd name="connsiteX19" fmla="*/ 4708 w 10698"/>
              <a:gd name="connsiteY19" fmla="*/ 10000 h 10000"/>
              <a:gd name="connsiteX20" fmla="*/ 4249 w 10698"/>
              <a:gd name="connsiteY20" fmla="*/ 9831 h 10000"/>
              <a:gd name="connsiteX21" fmla="*/ 3974 w 10698"/>
              <a:gd name="connsiteY21" fmla="*/ 9719 h 10000"/>
              <a:gd name="connsiteX22" fmla="*/ 3882 w 10698"/>
              <a:gd name="connsiteY22" fmla="*/ 9494 h 10000"/>
              <a:gd name="connsiteX23" fmla="*/ 3515 w 10698"/>
              <a:gd name="connsiteY23" fmla="*/ 9382 h 10000"/>
              <a:gd name="connsiteX24" fmla="*/ 3148 w 10698"/>
              <a:gd name="connsiteY24" fmla="*/ 9157 h 10000"/>
              <a:gd name="connsiteX25" fmla="*/ 2965 w 10698"/>
              <a:gd name="connsiteY25" fmla="*/ 9045 h 10000"/>
              <a:gd name="connsiteX26" fmla="*/ 2873 w 10698"/>
              <a:gd name="connsiteY26" fmla="*/ 8820 h 10000"/>
              <a:gd name="connsiteX27" fmla="*/ 2873 w 10698"/>
              <a:gd name="connsiteY27"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2873 w 10698"/>
              <a:gd name="connsiteY6" fmla="*/ 5730 h 10000"/>
              <a:gd name="connsiteX7" fmla="*/ 2873 w 10698"/>
              <a:gd name="connsiteY7" fmla="*/ 7191 h 10000"/>
              <a:gd name="connsiteX8" fmla="*/ 7643 w 10698"/>
              <a:gd name="connsiteY8" fmla="*/ 7191 h 10000"/>
              <a:gd name="connsiteX9" fmla="*/ 7643 w 10698"/>
              <a:gd name="connsiteY9" fmla="*/ 8820 h 10000"/>
              <a:gd name="connsiteX10" fmla="*/ 7552 w 10698"/>
              <a:gd name="connsiteY10" fmla="*/ 9045 h 10000"/>
              <a:gd name="connsiteX11" fmla="*/ 7460 w 10698"/>
              <a:gd name="connsiteY11" fmla="*/ 9157 h 10000"/>
              <a:gd name="connsiteX12" fmla="*/ 7093 w 10698"/>
              <a:gd name="connsiteY12" fmla="*/ 9382 h 10000"/>
              <a:gd name="connsiteX13" fmla="*/ 6634 w 10698"/>
              <a:gd name="connsiteY13" fmla="*/ 9494 h 10000"/>
              <a:gd name="connsiteX14" fmla="*/ 6543 w 10698"/>
              <a:gd name="connsiteY14" fmla="*/ 9719 h 10000"/>
              <a:gd name="connsiteX15" fmla="*/ 6176 w 10698"/>
              <a:gd name="connsiteY15" fmla="*/ 9831 h 10000"/>
              <a:gd name="connsiteX16" fmla="*/ 5900 w 10698"/>
              <a:gd name="connsiteY16" fmla="*/ 10000 h 10000"/>
              <a:gd name="connsiteX17" fmla="*/ 5258 w 10698"/>
              <a:gd name="connsiteY17" fmla="*/ 10000 h 10000"/>
              <a:gd name="connsiteX18" fmla="*/ 4708 w 10698"/>
              <a:gd name="connsiteY18" fmla="*/ 10000 h 10000"/>
              <a:gd name="connsiteX19" fmla="*/ 4249 w 10698"/>
              <a:gd name="connsiteY19" fmla="*/ 9831 h 10000"/>
              <a:gd name="connsiteX20" fmla="*/ 3974 w 10698"/>
              <a:gd name="connsiteY20" fmla="*/ 9719 h 10000"/>
              <a:gd name="connsiteX21" fmla="*/ 3882 w 10698"/>
              <a:gd name="connsiteY21" fmla="*/ 9494 h 10000"/>
              <a:gd name="connsiteX22" fmla="*/ 3515 w 10698"/>
              <a:gd name="connsiteY22" fmla="*/ 9382 h 10000"/>
              <a:gd name="connsiteX23" fmla="*/ 3148 w 10698"/>
              <a:gd name="connsiteY23" fmla="*/ 9157 h 10000"/>
              <a:gd name="connsiteX24" fmla="*/ 2965 w 10698"/>
              <a:gd name="connsiteY24" fmla="*/ 9045 h 10000"/>
              <a:gd name="connsiteX25" fmla="*/ 2873 w 10698"/>
              <a:gd name="connsiteY25" fmla="*/ 8820 h 10000"/>
              <a:gd name="connsiteX26" fmla="*/ 2873 w 10698"/>
              <a:gd name="connsiteY26" fmla="*/ 8202 h 10000"/>
              <a:gd name="connsiteX0" fmla="*/ 7643 w 10517"/>
              <a:gd name="connsiteY0" fmla="*/ 5730 h 10000"/>
              <a:gd name="connsiteX1" fmla="*/ 9508 w 10517"/>
              <a:gd name="connsiteY1" fmla="*/ 4105 h 10000"/>
              <a:gd name="connsiteX2" fmla="*/ 10304 w 10517"/>
              <a:gd name="connsiteY2" fmla="*/ 2978 h 10000"/>
              <a:gd name="connsiteX3" fmla="*/ 5258 w 10517"/>
              <a:gd name="connsiteY3" fmla="*/ 0 h 10000"/>
              <a:gd name="connsiteX4" fmla="*/ 396 w 10517"/>
              <a:gd name="connsiteY4" fmla="*/ 2360 h 10000"/>
              <a:gd name="connsiteX5" fmla="*/ 304 w 10517"/>
              <a:gd name="connsiteY5" fmla="*/ 3483 h 10000"/>
              <a:gd name="connsiteX6" fmla="*/ 2873 w 10517"/>
              <a:gd name="connsiteY6" fmla="*/ 5730 h 10000"/>
              <a:gd name="connsiteX7" fmla="*/ 2873 w 10517"/>
              <a:gd name="connsiteY7" fmla="*/ 7191 h 10000"/>
              <a:gd name="connsiteX8" fmla="*/ 7643 w 10517"/>
              <a:gd name="connsiteY8" fmla="*/ 7191 h 10000"/>
              <a:gd name="connsiteX9" fmla="*/ 7643 w 10517"/>
              <a:gd name="connsiteY9" fmla="*/ 8820 h 10000"/>
              <a:gd name="connsiteX10" fmla="*/ 7552 w 10517"/>
              <a:gd name="connsiteY10" fmla="*/ 9045 h 10000"/>
              <a:gd name="connsiteX11" fmla="*/ 7460 w 10517"/>
              <a:gd name="connsiteY11" fmla="*/ 9157 h 10000"/>
              <a:gd name="connsiteX12" fmla="*/ 7093 w 10517"/>
              <a:gd name="connsiteY12" fmla="*/ 9382 h 10000"/>
              <a:gd name="connsiteX13" fmla="*/ 6634 w 10517"/>
              <a:gd name="connsiteY13" fmla="*/ 9494 h 10000"/>
              <a:gd name="connsiteX14" fmla="*/ 6543 w 10517"/>
              <a:gd name="connsiteY14" fmla="*/ 9719 h 10000"/>
              <a:gd name="connsiteX15" fmla="*/ 6176 w 10517"/>
              <a:gd name="connsiteY15" fmla="*/ 9831 h 10000"/>
              <a:gd name="connsiteX16" fmla="*/ 5900 w 10517"/>
              <a:gd name="connsiteY16" fmla="*/ 10000 h 10000"/>
              <a:gd name="connsiteX17" fmla="*/ 5258 w 10517"/>
              <a:gd name="connsiteY17" fmla="*/ 10000 h 10000"/>
              <a:gd name="connsiteX18" fmla="*/ 4708 w 10517"/>
              <a:gd name="connsiteY18" fmla="*/ 10000 h 10000"/>
              <a:gd name="connsiteX19" fmla="*/ 4249 w 10517"/>
              <a:gd name="connsiteY19" fmla="*/ 9831 h 10000"/>
              <a:gd name="connsiteX20" fmla="*/ 3974 w 10517"/>
              <a:gd name="connsiteY20" fmla="*/ 9719 h 10000"/>
              <a:gd name="connsiteX21" fmla="*/ 3882 w 10517"/>
              <a:gd name="connsiteY21" fmla="*/ 9494 h 10000"/>
              <a:gd name="connsiteX22" fmla="*/ 3515 w 10517"/>
              <a:gd name="connsiteY22" fmla="*/ 9382 h 10000"/>
              <a:gd name="connsiteX23" fmla="*/ 3148 w 10517"/>
              <a:gd name="connsiteY23" fmla="*/ 9157 h 10000"/>
              <a:gd name="connsiteX24" fmla="*/ 2965 w 10517"/>
              <a:gd name="connsiteY24" fmla="*/ 9045 h 10000"/>
              <a:gd name="connsiteX25" fmla="*/ 2873 w 10517"/>
              <a:gd name="connsiteY25" fmla="*/ 8820 h 10000"/>
              <a:gd name="connsiteX26" fmla="*/ 2873 w 10517"/>
              <a:gd name="connsiteY26" fmla="*/ 8202 h 10000"/>
              <a:gd name="connsiteX0" fmla="*/ 7643 w 10517"/>
              <a:gd name="connsiteY0" fmla="*/ 5730 h 10000"/>
              <a:gd name="connsiteX1" fmla="*/ 9508 w 10517"/>
              <a:gd name="connsiteY1" fmla="*/ 4105 h 10000"/>
              <a:gd name="connsiteX2" fmla="*/ 10304 w 10517"/>
              <a:gd name="connsiteY2" fmla="*/ 2978 h 10000"/>
              <a:gd name="connsiteX3" fmla="*/ 5258 w 10517"/>
              <a:gd name="connsiteY3" fmla="*/ 0 h 10000"/>
              <a:gd name="connsiteX4" fmla="*/ 396 w 10517"/>
              <a:gd name="connsiteY4" fmla="*/ 2360 h 10000"/>
              <a:gd name="connsiteX5" fmla="*/ 304 w 10517"/>
              <a:gd name="connsiteY5" fmla="*/ 3483 h 10000"/>
              <a:gd name="connsiteX6" fmla="*/ 2873 w 10517"/>
              <a:gd name="connsiteY6" fmla="*/ 5730 h 10000"/>
              <a:gd name="connsiteX7" fmla="*/ 2873 w 10517"/>
              <a:gd name="connsiteY7" fmla="*/ 7191 h 10000"/>
              <a:gd name="connsiteX8" fmla="*/ 7643 w 10517"/>
              <a:gd name="connsiteY8" fmla="*/ 7191 h 10000"/>
              <a:gd name="connsiteX9" fmla="*/ 7643 w 10517"/>
              <a:gd name="connsiteY9" fmla="*/ 8820 h 10000"/>
              <a:gd name="connsiteX10" fmla="*/ 7552 w 10517"/>
              <a:gd name="connsiteY10" fmla="*/ 9045 h 10000"/>
              <a:gd name="connsiteX11" fmla="*/ 7460 w 10517"/>
              <a:gd name="connsiteY11" fmla="*/ 9157 h 10000"/>
              <a:gd name="connsiteX12" fmla="*/ 7093 w 10517"/>
              <a:gd name="connsiteY12" fmla="*/ 9382 h 10000"/>
              <a:gd name="connsiteX13" fmla="*/ 6634 w 10517"/>
              <a:gd name="connsiteY13" fmla="*/ 9494 h 10000"/>
              <a:gd name="connsiteX14" fmla="*/ 6543 w 10517"/>
              <a:gd name="connsiteY14" fmla="*/ 9719 h 10000"/>
              <a:gd name="connsiteX15" fmla="*/ 6176 w 10517"/>
              <a:gd name="connsiteY15" fmla="*/ 9831 h 10000"/>
              <a:gd name="connsiteX16" fmla="*/ 5900 w 10517"/>
              <a:gd name="connsiteY16" fmla="*/ 10000 h 10000"/>
              <a:gd name="connsiteX17" fmla="*/ 5258 w 10517"/>
              <a:gd name="connsiteY17" fmla="*/ 10000 h 10000"/>
              <a:gd name="connsiteX18" fmla="*/ 4708 w 10517"/>
              <a:gd name="connsiteY18" fmla="*/ 10000 h 10000"/>
              <a:gd name="connsiteX19" fmla="*/ 4249 w 10517"/>
              <a:gd name="connsiteY19" fmla="*/ 9831 h 10000"/>
              <a:gd name="connsiteX20" fmla="*/ 3974 w 10517"/>
              <a:gd name="connsiteY20" fmla="*/ 9719 h 10000"/>
              <a:gd name="connsiteX21" fmla="*/ 3882 w 10517"/>
              <a:gd name="connsiteY21" fmla="*/ 9494 h 10000"/>
              <a:gd name="connsiteX22" fmla="*/ 3515 w 10517"/>
              <a:gd name="connsiteY22" fmla="*/ 9382 h 10000"/>
              <a:gd name="connsiteX23" fmla="*/ 3148 w 10517"/>
              <a:gd name="connsiteY23" fmla="*/ 9157 h 10000"/>
              <a:gd name="connsiteX24" fmla="*/ 2965 w 10517"/>
              <a:gd name="connsiteY24" fmla="*/ 9045 h 10000"/>
              <a:gd name="connsiteX25" fmla="*/ 2873 w 10517"/>
              <a:gd name="connsiteY25" fmla="*/ 8820 h 10000"/>
              <a:gd name="connsiteX26" fmla="*/ 2873 w 10517"/>
              <a:gd name="connsiteY26" fmla="*/ 8202 h 10000"/>
              <a:gd name="connsiteX0" fmla="*/ 7643 w 9554"/>
              <a:gd name="connsiteY0" fmla="*/ 5730 h 10000"/>
              <a:gd name="connsiteX1" fmla="*/ 9508 w 9554"/>
              <a:gd name="connsiteY1" fmla="*/ 4105 h 10000"/>
              <a:gd name="connsiteX2" fmla="*/ 5258 w 9554"/>
              <a:gd name="connsiteY2" fmla="*/ 0 h 10000"/>
              <a:gd name="connsiteX3" fmla="*/ 396 w 9554"/>
              <a:gd name="connsiteY3" fmla="*/ 2360 h 10000"/>
              <a:gd name="connsiteX4" fmla="*/ 304 w 9554"/>
              <a:gd name="connsiteY4" fmla="*/ 3483 h 10000"/>
              <a:gd name="connsiteX5" fmla="*/ 2873 w 9554"/>
              <a:gd name="connsiteY5" fmla="*/ 5730 h 10000"/>
              <a:gd name="connsiteX6" fmla="*/ 2873 w 9554"/>
              <a:gd name="connsiteY6" fmla="*/ 7191 h 10000"/>
              <a:gd name="connsiteX7" fmla="*/ 7643 w 9554"/>
              <a:gd name="connsiteY7" fmla="*/ 7191 h 10000"/>
              <a:gd name="connsiteX8" fmla="*/ 7643 w 9554"/>
              <a:gd name="connsiteY8" fmla="*/ 8820 h 10000"/>
              <a:gd name="connsiteX9" fmla="*/ 7552 w 9554"/>
              <a:gd name="connsiteY9" fmla="*/ 9045 h 10000"/>
              <a:gd name="connsiteX10" fmla="*/ 7460 w 9554"/>
              <a:gd name="connsiteY10" fmla="*/ 9157 h 10000"/>
              <a:gd name="connsiteX11" fmla="*/ 7093 w 9554"/>
              <a:gd name="connsiteY11" fmla="*/ 9382 h 10000"/>
              <a:gd name="connsiteX12" fmla="*/ 6634 w 9554"/>
              <a:gd name="connsiteY12" fmla="*/ 9494 h 10000"/>
              <a:gd name="connsiteX13" fmla="*/ 6543 w 9554"/>
              <a:gd name="connsiteY13" fmla="*/ 9719 h 10000"/>
              <a:gd name="connsiteX14" fmla="*/ 6176 w 9554"/>
              <a:gd name="connsiteY14" fmla="*/ 9831 h 10000"/>
              <a:gd name="connsiteX15" fmla="*/ 5900 w 9554"/>
              <a:gd name="connsiteY15" fmla="*/ 10000 h 10000"/>
              <a:gd name="connsiteX16" fmla="*/ 5258 w 9554"/>
              <a:gd name="connsiteY16" fmla="*/ 10000 h 10000"/>
              <a:gd name="connsiteX17" fmla="*/ 4708 w 9554"/>
              <a:gd name="connsiteY17" fmla="*/ 10000 h 10000"/>
              <a:gd name="connsiteX18" fmla="*/ 4249 w 9554"/>
              <a:gd name="connsiteY18" fmla="*/ 9831 h 10000"/>
              <a:gd name="connsiteX19" fmla="*/ 3974 w 9554"/>
              <a:gd name="connsiteY19" fmla="*/ 9719 h 10000"/>
              <a:gd name="connsiteX20" fmla="*/ 3882 w 9554"/>
              <a:gd name="connsiteY20" fmla="*/ 9494 h 10000"/>
              <a:gd name="connsiteX21" fmla="*/ 3515 w 9554"/>
              <a:gd name="connsiteY21" fmla="*/ 9382 h 10000"/>
              <a:gd name="connsiteX22" fmla="*/ 3148 w 9554"/>
              <a:gd name="connsiteY22" fmla="*/ 9157 h 10000"/>
              <a:gd name="connsiteX23" fmla="*/ 2965 w 9554"/>
              <a:gd name="connsiteY23" fmla="*/ 9045 h 10000"/>
              <a:gd name="connsiteX24" fmla="*/ 2873 w 9554"/>
              <a:gd name="connsiteY24" fmla="*/ 8820 h 10000"/>
              <a:gd name="connsiteX25" fmla="*/ 2873 w 9554"/>
              <a:gd name="connsiteY25" fmla="*/ 8202 h 10000"/>
              <a:gd name="connsiteX0" fmla="*/ 8000 w 10335"/>
              <a:gd name="connsiteY0" fmla="*/ 5730 h 10000"/>
              <a:gd name="connsiteX1" fmla="*/ 9952 w 10335"/>
              <a:gd name="connsiteY1" fmla="*/ 4105 h 10000"/>
              <a:gd name="connsiteX2" fmla="*/ 5503 w 10335"/>
              <a:gd name="connsiteY2" fmla="*/ 0 h 10000"/>
              <a:gd name="connsiteX3" fmla="*/ 414 w 10335"/>
              <a:gd name="connsiteY3" fmla="*/ 2360 h 10000"/>
              <a:gd name="connsiteX4" fmla="*/ 318 w 10335"/>
              <a:gd name="connsiteY4" fmla="*/ 3483 h 10000"/>
              <a:gd name="connsiteX5" fmla="*/ 3007 w 10335"/>
              <a:gd name="connsiteY5" fmla="*/ 5730 h 10000"/>
              <a:gd name="connsiteX6" fmla="*/ 3007 w 10335"/>
              <a:gd name="connsiteY6" fmla="*/ 7191 h 10000"/>
              <a:gd name="connsiteX7" fmla="*/ 8000 w 10335"/>
              <a:gd name="connsiteY7" fmla="*/ 7191 h 10000"/>
              <a:gd name="connsiteX8" fmla="*/ 8000 w 10335"/>
              <a:gd name="connsiteY8" fmla="*/ 8820 h 10000"/>
              <a:gd name="connsiteX9" fmla="*/ 7905 w 10335"/>
              <a:gd name="connsiteY9" fmla="*/ 9045 h 10000"/>
              <a:gd name="connsiteX10" fmla="*/ 7808 w 10335"/>
              <a:gd name="connsiteY10" fmla="*/ 9157 h 10000"/>
              <a:gd name="connsiteX11" fmla="*/ 7424 w 10335"/>
              <a:gd name="connsiteY11" fmla="*/ 9382 h 10000"/>
              <a:gd name="connsiteX12" fmla="*/ 6944 w 10335"/>
              <a:gd name="connsiteY12" fmla="*/ 9494 h 10000"/>
              <a:gd name="connsiteX13" fmla="*/ 6848 w 10335"/>
              <a:gd name="connsiteY13" fmla="*/ 9719 h 10000"/>
              <a:gd name="connsiteX14" fmla="*/ 6464 w 10335"/>
              <a:gd name="connsiteY14" fmla="*/ 9831 h 10000"/>
              <a:gd name="connsiteX15" fmla="*/ 6175 w 10335"/>
              <a:gd name="connsiteY15" fmla="*/ 10000 h 10000"/>
              <a:gd name="connsiteX16" fmla="*/ 5503 w 10335"/>
              <a:gd name="connsiteY16" fmla="*/ 10000 h 10000"/>
              <a:gd name="connsiteX17" fmla="*/ 4928 w 10335"/>
              <a:gd name="connsiteY17" fmla="*/ 10000 h 10000"/>
              <a:gd name="connsiteX18" fmla="*/ 4447 w 10335"/>
              <a:gd name="connsiteY18" fmla="*/ 9831 h 10000"/>
              <a:gd name="connsiteX19" fmla="*/ 4160 w 10335"/>
              <a:gd name="connsiteY19" fmla="*/ 9719 h 10000"/>
              <a:gd name="connsiteX20" fmla="*/ 4063 w 10335"/>
              <a:gd name="connsiteY20" fmla="*/ 9494 h 10000"/>
              <a:gd name="connsiteX21" fmla="*/ 3679 w 10335"/>
              <a:gd name="connsiteY21" fmla="*/ 9382 h 10000"/>
              <a:gd name="connsiteX22" fmla="*/ 3295 w 10335"/>
              <a:gd name="connsiteY22" fmla="*/ 9157 h 10000"/>
              <a:gd name="connsiteX23" fmla="*/ 3103 w 10335"/>
              <a:gd name="connsiteY23" fmla="*/ 9045 h 10000"/>
              <a:gd name="connsiteX24" fmla="*/ 3007 w 10335"/>
              <a:gd name="connsiteY24" fmla="*/ 8820 h 10000"/>
              <a:gd name="connsiteX25" fmla="*/ 3007 w 10335"/>
              <a:gd name="connsiteY25" fmla="*/ 8202 h 10000"/>
              <a:gd name="connsiteX0" fmla="*/ 8000 w 10127"/>
              <a:gd name="connsiteY0" fmla="*/ 5730 h 10000"/>
              <a:gd name="connsiteX1" fmla="*/ 9952 w 10127"/>
              <a:gd name="connsiteY1" fmla="*/ 4105 h 10000"/>
              <a:gd name="connsiteX2" fmla="*/ 5503 w 10127"/>
              <a:gd name="connsiteY2" fmla="*/ 0 h 10000"/>
              <a:gd name="connsiteX3" fmla="*/ 414 w 10127"/>
              <a:gd name="connsiteY3" fmla="*/ 2360 h 10000"/>
              <a:gd name="connsiteX4" fmla="*/ 318 w 10127"/>
              <a:gd name="connsiteY4" fmla="*/ 3483 h 10000"/>
              <a:gd name="connsiteX5" fmla="*/ 3007 w 10127"/>
              <a:gd name="connsiteY5" fmla="*/ 5730 h 10000"/>
              <a:gd name="connsiteX6" fmla="*/ 3007 w 10127"/>
              <a:gd name="connsiteY6" fmla="*/ 7191 h 10000"/>
              <a:gd name="connsiteX7" fmla="*/ 8000 w 10127"/>
              <a:gd name="connsiteY7" fmla="*/ 7191 h 10000"/>
              <a:gd name="connsiteX8" fmla="*/ 8000 w 10127"/>
              <a:gd name="connsiteY8" fmla="*/ 8820 h 10000"/>
              <a:gd name="connsiteX9" fmla="*/ 7905 w 10127"/>
              <a:gd name="connsiteY9" fmla="*/ 9045 h 10000"/>
              <a:gd name="connsiteX10" fmla="*/ 7808 w 10127"/>
              <a:gd name="connsiteY10" fmla="*/ 9157 h 10000"/>
              <a:gd name="connsiteX11" fmla="*/ 7424 w 10127"/>
              <a:gd name="connsiteY11" fmla="*/ 9382 h 10000"/>
              <a:gd name="connsiteX12" fmla="*/ 6944 w 10127"/>
              <a:gd name="connsiteY12" fmla="*/ 9494 h 10000"/>
              <a:gd name="connsiteX13" fmla="*/ 6848 w 10127"/>
              <a:gd name="connsiteY13" fmla="*/ 9719 h 10000"/>
              <a:gd name="connsiteX14" fmla="*/ 6464 w 10127"/>
              <a:gd name="connsiteY14" fmla="*/ 9831 h 10000"/>
              <a:gd name="connsiteX15" fmla="*/ 6175 w 10127"/>
              <a:gd name="connsiteY15" fmla="*/ 10000 h 10000"/>
              <a:gd name="connsiteX16" fmla="*/ 5503 w 10127"/>
              <a:gd name="connsiteY16" fmla="*/ 10000 h 10000"/>
              <a:gd name="connsiteX17" fmla="*/ 4928 w 10127"/>
              <a:gd name="connsiteY17" fmla="*/ 10000 h 10000"/>
              <a:gd name="connsiteX18" fmla="*/ 4447 w 10127"/>
              <a:gd name="connsiteY18" fmla="*/ 9831 h 10000"/>
              <a:gd name="connsiteX19" fmla="*/ 4160 w 10127"/>
              <a:gd name="connsiteY19" fmla="*/ 9719 h 10000"/>
              <a:gd name="connsiteX20" fmla="*/ 4063 w 10127"/>
              <a:gd name="connsiteY20" fmla="*/ 9494 h 10000"/>
              <a:gd name="connsiteX21" fmla="*/ 3679 w 10127"/>
              <a:gd name="connsiteY21" fmla="*/ 9382 h 10000"/>
              <a:gd name="connsiteX22" fmla="*/ 3295 w 10127"/>
              <a:gd name="connsiteY22" fmla="*/ 9157 h 10000"/>
              <a:gd name="connsiteX23" fmla="*/ 3103 w 10127"/>
              <a:gd name="connsiteY23" fmla="*/ 9045 h 10000"/>
              <a:gd name="connsiteX24" fmla="*/ 3007 w 10127"/>
              <a:gd name="connsiteY24" fmla="*/ 8820 h 10000"/>
              <a:gd name="connsiteX25" fmla="*/ 3007 w 10127"/>
              <a:gd name="connsiteY25" fmla="*/ 8202 h 10000"/>
              <a:gd name="connsiteX0" fmla="*/ 8000 w 10599"/>
              <a:gd name="connsiteY0" fmla="*/ 5730 h 10000"/>
              <a:gd name="connsiteX1" fmla="*/ 10440 w 10599"/>
              <a:gd name="connsiteY1" fmla="*/ 3292 h 10000"/>
              <a:gd name="connsiteX2" fmla="*/ 5503 w 10599"/>
              <a:gd name="connsiteY2" fmla="*/ 0 h 10000"/>
              <a:gd name="connsiteX3" fmla="*/ 414 w 10599"/>
              <a:gd name="connsiteY3" fmla="*/ 2360 h 10000"/>
              <a:gd name="connsiteX4" fmla="*/ 318 w 10599"/>
              <a:gd name="connsiteY4" fmla="*/ 3483 h 10000"/>
              <a:gd name="connsiteX5" fmla="*/ 3007 w 10599"/>
              <a:gd name="connsiteY5" fmla="*/ 5730 h 10000"/>
              <a:gd name="connsiteX6" fmla="*/ 3007 w 10599"/>
              <a:gd name="connsiteY6" fmla="*/ 7191 h 10000"/>
              <a:gd name="connsiteX7" fmla="*/ 8000 w 10599"/>
              <a:gd name="connsiteY7" fmla="*/ 7191 h 10000"/>
              <a:gd name="connsiteX8" fmla="*/ 8000 w 10599"/>
              <a:gd name="connsiteY8" fmla="*/ 8820 h 10000"/>
              <a:gd name="connsiteX9" fmla="*/ 7905 w 10599"/>
              <a:gd name="connsiteY9" fmla="*/ 9045 h 10000"/>
              <a:gd name="connsiteX10" fmla="*/ 7808 w 10599"/>
              <a:gd name="connsiteY10" fmla="*/ 9157 h 10000"/>
              <a:gd name="connsiteX11" fmla="*/ 7424 w 10599"/>
              <a:gd name="connsiteY11" fmla="*/ 9382 h 10000"/>
              <a:gd name="connsiteX12" fmla="*/ 6944 w 10599"/>
              <a:gd name="connsiteY12" fmla="*/ 9494 h 10000"/>
              <a:gd name="connsiteX13" fmla="*/ 6848 w 10599"/>
              <a:gd name="connsiteY13" fmla="*/ 9719 h 10000"/>
              <a:gd name="connsiteX14" fmla="*/ 6464 w 10599"/>
              <a:gd name="connsiteY14" fmla="*/ 9831 h 10000"/>
              <a:gd name="connsiteX15" fmla="*/ 6175 w 10599"/>
              <a:gd name="connsiteY15" fmla="*/ 10000 h 10000"/>
              <a:gd name="connsiteX16" fmla="*/ 5503 w 10599"/>
              <a:gd name="connsiteY16" fmla="*/ 10000 h 10000"/>
              <a:gd name="connsiteX17" fmla="*/ 4928 w 10599"/>
              <a:gd name="connsiteY17" fmla="*/ 10000 h 10000"/>
              <a:gd name="connsiteX18" fmla="*/ 4447 w 10599"/>
              <a:gd name="connsiteY18" fmla="*/ 9831 h 10000"/>
              <a:gd name="connsiteX19" fmla="*/ 4160 w 10599"/>
              <a:gd name="connsiteY19" fmla="*/ 9719 h 10000"/>
              <a:gd name="connsiteX20" fmla="*/ 4063 w 10599"/>
              <a:gd name="connsiteY20" fmla="*/ 9494 h 10000"/>
              <a:gd name="connsiteX21" fmla="*/ 3679 w 10599"/>
              <a:gd name="connsiteY21" fmla="*/ 9382 h 10000"/>
              <a:gd name="connsiteX22" fmla="*/ 3295 w 10599"/>
              <a:gd name="connsiteY22" fmla="*/ 9157 h 10000"/>
              <a:gd name="connsiteX23" fmla="*/ 3103 w 10599"/>
              <a:gd name="connsiteY23" fmla="*/ 9045 h 10000"/>
              <a:gd name="connsiteX24" fmla="*/ 3007 w 10599"/>
              <a:gd name="connsiteY24" fmla="*/ 8820 h 10000"/>
              <a:gd name="connsiteX25" fmla="*/ 3007 w 10599"/>
              <a:gd name="connsiteY25" fmla="*/ 8202 h 10000"/>
              <a:gd name="connsiteX0" fmla="*/ 8000 w 10602"/>
              <a:gd name="connsiteY0" fmla="*/ 5897 h 10167"/>
              <a:gd name="connsiteX1" fmla="*/ 10440 w 10602"/>
              <a:gd name="connsiteY1" fmla="*/ 3459 h 10167"/>
              <a:gd name="connsiteX2" fmla="*/ 5503 w 10602"/>
              <a:gd name="connsiteY2" fmla="*/ 167 h 10167"/>
              <a:gd name="connsiteX3" fmla="*/ 414 w 10602"/>
              <a:gd name="connsiteY3" fmla="*/ 2527 h 10167"/>
              <a:gd name="connsiteX4" fmla="*/ 318 w 10602"/>
              <a:gd name="connsiteY4" fmla="*/ 3650 h 10167"/>
              <a:gd name="connsiteX5" fmla="*/ 3007 w 10602"/>
              <a:gd name="connsiteY5" fmla="*/ 5897 h 10167"/>
              <a:gd name="connsiteX6" fmla="*/ 3007 w 10602"/>
              <a:gd name="connsiteY6" fmla="*/ 7358 h 10167"/>
              <a:gd name="connsiteX7" fmla="*/ 8000 w 10602"/>
              <a:gd name="connsiteY7" fmla="*/ 7358 h 10167"/>
              <a:gd name="connsiteX8" fmla="*/ 8000 w 10602"/>
              <a:gd name="connsiteY8" fmla="*/ 8987 h 10167"/>
              <a:gd name="connsiteX9" fmla="*/ 7905 w 10602"/>
              <a:gd name="connsiteY9" fmla="*/ 9212 h 10167"/>
              <a:gd name="connsiteX10" fmla="*/ 7808 w 10602"/>
              <a:gd name="connsiteY10" fmla="*/ 9324 h 10167"/>
              <a:gd name="connsiteX11" fmla="*/ 7424 w 10602"/>
              <a:gd name="connsiteY11" fmla="*/ 9549 h 10167"/>
              <a:gd name="connsiteX12" fmla="*/ 6944 w 10602"/>
              <a:gd name="connsiteY12" fmla="*/ 9661 h 10167"/>
              <a:gd name="connsiteX13" fmla="*/ 6848 w 10602"/>
              <a:gd name="connsiteY13" fmla="*/ 9886 h 10167"/>
              <a:gd name="connsiteX14" fmla="*/ 6464 w 10602"/>
              <a:gd name="connsiteY14" fmla="*/ 9998 h 10167"/>
              <a:gd name="connsiteX15" fmla="*/ 6175 w 10602"/>
              <a:gd name="connsiteY15" fmla="*/ 10167 h 10167"/>
              <a:gd name="connsiteX16" fmla="*/ 5503 w 10602"/>
              <a:gd name="connsiteY16" fmla="*/ 10167 h 10167"/>
              <a:gd name="connsiteX17" fmla="*/ 4928 w 10602"/>
              <a:gd name="connsiteY17" fmla="*/ 10167 h 10167"/>
              <a:gd name="connsiteX18" fmla="*/ 4447 w 10602"/>
              <a:gd name="connsiteY18" fmla="*/ 9998 h 10167"/>
              <a:gd name="connsiteX19" fmla="*/ 4160 w 10602"/>
              <a:gd name="connsiteY19" fmla="*/ 9886 h 10167"/>
              <a:gd name="connsiteX20" fmla="*/ 4063 w 10602"/>
              <a:gd name="connsiteY20" fmla="*/ 9661 h 10167"/>
              <a:gd name="connsiteX21" fmla="*/ 3679 w 10602"/>
              <a:gd name="connsiteY21" fmla="*/ 9549 h 10167"/>
              <a:gd name="connsiteX22" fmla="*/ 3295 w 10602"/>
              <a:gd name="connsiteY22" fmla="*/ 9324 h 10167"/>
              <a:gd name="connsiteX23" fmla="*/ 3103 w 10602"/>
              <a:gd name="connsiteY23" fmla="*/ 9212 h 10167"/>
              <a:gd name="connsiteX24" fmla="*/ 3007 w 10602"/>
              <a:gd name="connsiteY24" fmla="*/ 8987 h 10167"/>
              <a:gd name="connsiteX25" fmla="*/ 3007 w 10602"/>
              <a:gd name="connsiteY25" fmla="*/ 8369 h 10167"/>
              <a:gd name="connsiteX0" fmla="*/ 8000 w 10642"/>
              <a:gd name="connsiteY0" fmla="*/ 5731 h 10001"/>
              <a:gd name="connsiteX1" fmla="*/ 10440 w 10642"/>
              <a:gd name="connsiteY1" fmla="*/ 3293 h 10001"/>
              <a:gd name="connsiteX2" fmla="*/ 5503 w 10642"/>
              <a:gd name="connsiteY2" fmla="*/ 1 h 10001"/>
              <a:gd name="connsiteX3" fmla="*/ 414 w 10642"/>
              <a:gd name="connsiteY3" fmla="*/ 2361 h 10001"/>
              <a:gd name="connsiteX4" fmla="*/ 318 w 10642"/>
              <a:gd name="connsiteY4" fmla="*/ 3484 h 10001"/>
              <a:gd name="connsiteX5" fmla="*/ 3007 w 10642"/>
              <a:gd name="connsiteY5" fmla="*/ 5731 h 10001"/>
              <a:gd name="connsiteX6" fmla="*/ 3007 w 10642"/>
              <a:gd name="connsiteY6" fmla="*/ 7192 h 10001"/>
              <a:gd name="connsiteX7" fmla="*/ 8000 w 10642"/>
              <a:gd name="connsiteY7" fmla="*/ 7192 h 10001"/>
              <a:gd name="connsiteX8" fmla="*/ 8000 w 10642"/>
              <a:gd name="connsiteY8" fmla="*/ 8821 h 10001"/>
              <a:gd name="connsiteX9" fmla="*/ 7905 w 10642"/>
              <a:gd name="connsiteY9" fmla="*/ 9046 h 10001"/>
              <a:gd name="connsiteX10" fmla="*/ 7808 w 10642"/>
              <a:gd name="connsiteY10" fmla="*/ 9158 h 10001"/>
              <a:gd name="connsiteX11" fmla="*/ 7424 w 10642"/>
              <a:gd name="connsiteY11" fmla="*/ 9383 h 10001"/>
              <a:gd name="connsiteX12" fmla="*/ 6944 w 10642"/>
              <a:gd name="connsiteY12" fmla="*/ 9495 h 10001"/>
              <a:gd name="connsiteX13" fmla="*/ 6848 w 10642"/>
              <a:gd name="connsiteY13" fmla="*/ 9720 h 10001"/>
              <a:gd name="connsiteX14" fmla="*/ 6464 w 10642"/>
              <a:gd name="connsiteY14" fmla="*/ 9832 h 10001"/>
              <a:gd name="connsiteX15" fmla="*/ 6175 w 10642"/>
              <a:gd name="connsiteY15" fmla="*/ 10001 h 10001"/>
              <a:gd name="connsiteX16" fmla="*/ 5503 w 10642"/>
              <a:gd name="connsiteY16" fmla="*/ 10001 h 10001"/>
              <a:gd name="connsiteX17" fmla="*/ 4928 w 10642"/>
              <a:gd name="connsiteY17" fmla="*/ 10001 h 10001"/>
              <a:gd name="connsiteX18" fmla="*/ 4447 w 10642"/>
              <a:gd name="connsiteY18" fmla="*/ 9832 h 10001"/>
              <a:gd name="connsiteX19" fmla="*/ 4160 w 10642"/>
              <a:gd name="connsiteY19" fmla="*/ 9720 h 10001"/>
              <a:gd name="connsiteX20" fmla="*/ 4063 w 10642"/>
              <a:gd name="connsiteY20" fmla="*/ 9495 h 10001"/>
              <a:gd name="connsiteX21" fmla="*/ 3679 w 10642"/>
              <a:gd name="connsiteY21" fmla="*/ 9383 h 10001"/>
              <a:gd name="connsiteX22" fmla="*/ 3295 w 10642"/>
              <a:gd name="connsiteY22" fmla="*/ 9158 h 10001"/>
              <a:gd name="connsiteX23" fmla="*/ 3103 w 10642"/>
              <a:gd name="connsiteY23" fmla="*/ 9046 h 10001"/>
              <a:gd name="connsiteX24" fmla="*/ 3007 w 10642"/>
              <a:gd name="connsiteY24" fmla="*/ 8821 h 10001"/>
              <a:gd name="connsiteX25" fmla="*/ 3007 w 10642"/>
              <a:gd name="connsiteY25" fmla="*/ 8203 h 10001"/>
              <a:gd name="connsiteX0" fmla="*/ 7682 w 10284"/>
              <a:gd name="connsiteY0" fmla="*/ 5731 h 10001"/>
              <a:gd name="connsiteX1" fmla="*/ 10122 w 10284"/>
              <a:gd name="connsiteY1" fmla="*/ 3293 h 10001"/>
              <a:gd name="connsiteX2" fmla="*/ 5185 w 10284"/>
              <a:gd name="connsiteY2" fmla="*/ 1 h 10001"/>
              <a:gd name="connsiteX3" fmla="*/ 0 w 10284"/>
              <a:gd name="connsiteY3" fmla="*/ 3484 h 10001"/>
              <a:gd name="connsiteX4" fmla="*/ 2689 w 10284"/>
              <a:gd name="connsiteY4" fmla="*/ 5731 h 10001"/>
              <a:gd name="connsiteX5" fmla="*/ 2689 w 10284"/>
              <a:gd name="connsiteY5" fmla="*/ 7192 h 10001"/>
              <a:gd name="connsiteX6" fmla="*/ 7682 w 10284"/>
              <a:gd name="connsiteY6" fmla="*/ 7192 h 10001"/>
              <a:gd name="connsiteX7" fmla="*/ 7682 w 10284"/>
              <a:gd name="connsiteY7" fmla="*/ 8821 h 10001"/>
              <a:gd name="connsiteX8" fmla="*/ 7587 w 10284"/>
              <a:gd name="connsiteY8" fmla="*/ 9046 h 10001"/>
              <a:gd name="connsiteX9" fmla="*/ 7490 w 10284"/>
              <a:gd name="connsiteY9" fmla="*/ 9158 h 10001"/>
              <a:gd name="connsiteX10" fmla="*/ 7106 w 10284"/>
              <a:gd name="connsiteY10" fmla="*/ 9383 h 10001"/>
              <a:gd name="connsiteX11" fmla="*/ 6626 w 10284"/>
              <a:gd name="connsiteY11" fmla="*/ 9495 h 10001"/>
              <a:gd name="connsiteX12" fmla="*/ 6530 w 10284"/>
              <a:gd name="connsiteY12" fmla="*/ 9720 h 10001"/>
              <a:gd name="connsiteX13" fmla="*/ 6146 w 10284"/>
              <a:gd name="connsiteY13" fmla="*/ 9832 h 10001"/>
              <a:gd name="connsiteX14" fmla="*/ 5857 w 10284"/>
              <a:gd name="connsiteY14" fmla="*/ 10001 h 10001"/>
              <a:gd name="connsiteX15" fmla="*/ 5185 w 10284"/>
              <a:gd name="connsiteY15" fmla="*/ 10001 h 10001"/>
              <a:gd name="connsiteX16" fmla="*/ 4610 w 10284"/>
              <a:gd name="connsiteY16" fmla="*/ 10001 h 10001"/>
              <a:gd name="connsiteX17" fmla="*/ 4129 w 10284"/>
              <a:gd name="connsiteY17" fmla="*/ 9832 h 10001"/>
              <a:gd name="connsiteX18" fmla="*/ 3842 w 10284"/>
              <a:gd name="connsiteY18" fmla="*/ 9720 h 10001"/>
              <a:gd name="connsiteX19" fmla="*/ 3745 w 10284"/>
              <a:gd name="connsiteY19" fmla="*/ 9495 h 10001"/>
              <a:gd name="connsiteX20" fmla="*/ 3361 w 10284"/>
              <a:gd name="connsiteY20" fmla="*/ 9383 h 10001"/>
              <a:gd name="connsiteX21" fmla="*/ 2977 w 10284"/>
              <a:gd name="connsiteY21" fmla="*/ 9158 h 10001"/>
              <a:gd name="connsiteX22" fmla="*/ 2785 w 10284"/>
              <a:gd name="connsiteY22" fmla="*/ 9046 h 10001"/>
              <a:gd name="connsiteX23" fmla="*/ 2689 w 10284"/>
              <a:gd name="connsiteY23" fmla="*/ 8821 h 10001"/>
              <a:gd name="connsiteX24" fmla="*/ 2689 w 10284"/>
              <a:gd name="connsiteY24" fmla="*/ 8203 h 10001"/>
              <a:gd name="connsiteX0" fmla="*/ 7389 w 9989"/>
              <a:gd name="connsiteY0" fmla="*/ 5731 h 10001"/>
              <a:gd name="connsiteX1" fmla="*/ 9829 w 9989"/>
              <a:gd name="connsiteY1" fmla="*/ 3293 h 10001"/>
              <a:gd name="connsiteX2" fmla="*/ 4892 w 9989"/>
              <a:gd name="connsiteY2" fmla="*/ 1 h 10001"/>
              <a:gd name="connsiteX3" fmla="*/ 0 w 9989"/>
              <a:gd name="connsiteY3" fmla="*/ 3078 h 10001"/>
              <a:gd name="connsiteX4" fmla="*/ 2396 w 9989"/>
              <a:gd name="connsiteY4" fmla="*/ 5731 h 10001"/>
              <a:gd name="connsiteX5" fmla="*/ 2396 w 9989"/>
              <a:gd name="connsiteY5" fmla="*/ 7192 h 10001"/>
              <a:gd name="connsiteX6" fmla="*/ 7389 w 9989"/>
              <a:gd name="connsiteY6" fmla="*/ 7192 h 10001"/>
              <a:gd name="connsiteX7" fmla="*/ 7389 w 9989"/>
              <a:gd name="connsiteY7" fmla="*/ 8821 h 10001"/>
              <a:gd name="connsiteX8" fmla="*/ 7294 w 9989"/>
              <a:gd name="connsiteY8" fmla="*/ 9046 h 10001"/>
              <a:gd name="connsiteX9" fmla="*/ 7197 w 9989"/>
              <a:gd name="connsiteY9" fmla="*/ 9158 h 10001"/>
              <a:gd name="connsiteX10" fmla="*/ 6813 w 9989"/>
              <a:gd name="connsiteY10" fmla="*/ 9383 h 10001"/>
              <a:gd name="connsiteX11" fmla="*/ 6333 w 9989"/>
              <a:gd name="connsiteY11" fmla="*/ 9495 h 10001"/>
              <a:gd name="connsiteX12" fmla="*/ 6237 w 9989"/>
              <a:gd name="connsiteY12" fmla="*/ 9720 h 10001"/>
              <a:gd name="connsiteX13" fmla="*/ 5853 w 9989"/>
              <a:gd name="connsiteY13" fmla="*/ 9832 h 10001"/>
              <a:gd name="connsiteX14" fmla="*/ 5564 w 9989"/>
              <a:gd name="connsiteY14" fmla="*/ 10001 h 10001"/>
              <a:gd name="connsiteX15" fmla="*/ 4892 w 9989"/>
              <a:gd name="connsiteY15" fmla="*/ 10001 h 10001"/>
              <a:gd name="connsiteX16" fmla="*/ 4317 w 9989"/>
              <a:gd name="connsiteY16" fmla="*/ 10001 h 10001"/>
              <a:gd name="connsiteX17" fmla="*/ 3836 w 9989"/>
              <a:gd name="connsiteY17" fmla="*/ 9832 h 10001"/>
              <a:gd name="connsiteX18" fmla="*/ 3549 w 9989"/>
              <a:gd name="connsiteY18" fmla="*/ 9720 h 10001"/>
              <a:gd name="connsiteX19" fmla="*/ 3452 w 9989"/>
              <a:gd name="connsiteY19" fmla="*/ 9495 h 10001"/>
              <a:gd name="connsiteX20" fmla="*/ 3068 w 9989"/>
              <a:gd name="connsiteY20" fmla="*/ 9383 h 10001"/>
              <a:gd name="connsiteX21" fmla="*/ 2684 w 9989"/>
              <a:gd name="connsiteY21" fmla="*/ 9158 h 10001"/>
              <a:gd name="connsiteX22" fmla="*/ 2492 w 9989"/>
              <a:gd name="connsiteY22" fmla="*/ 9046 h 10001"/>
              <a:gd name="connsiteX23" fmla="*/ 2396 w 9989"/>
              <a:gd name="connsiteY23" fmla="*/ 8821 h 10001"/>
              <a:gd name="connsiteX24" fmla="*/ 2396 w 9989"/>
              <a:gd name="connsiteY24" fmla="*/ 8203 h 10001"/>
              <a:gd name="connsiteX0" fmla="*/ 7397 w 10000"/>
              <a:gd name="connsiteY0" fmla="*/ 5730 h 10000"/>
              <a:gd name="connsiteX1" fmla="*/ 9840 w 10000"/>
              <a:gd name="connsiteY1" fmla="*/ 3293 h 10000"/>
              <a:gd name="connsiteX2" fmla="*/ 4897 w 10000"/>
              <a:gd name="connsiteY2" fmla="*/ 1 h 10000"/>
              <a:gd name="connsiteX3" fmla="*/ 0 w 10000"/>
              <a:gd name="connsiteY3" fmla="*/ 3078 h 10000"/>
              <a:gd name="connsiteX4" fmla="*/ 2399 w 10000"/>
              <a:gd name="connsiteY4" fmla="*/ 5730 h 10000"/>
              <a:gd name="connsiteX5" fmla="*/ 2399 w 10000"/>
              <a:gd name="connsiteY5" fmla="*/ 7191 h 10000"/>
              <a:gd name="connsiteX6" fmla="*/ 7397 w 10000"/>
              <a:gd name="connsiteY6" fmla="*/ 7191 h 10000"/>
              <a:gd name="connsiteX7" fmla="*/ 7397 w 10000"/>
              <a:gd name="connsiteY7" fmla="*/ 8820 h 10000"/>
              <a:gd name="connsiteX8" fmla="*/ 7302 w 10000"/>
              <a:gd name="connsiteY8" fmla="*/ 9045 h 10000"/>
              <a:gd name="connsiteX9" fmla="*/ 7205 w 10000"/>
              <a:gd name="connsiteY9" fmla="*/ 9157 h 10000"/>
              <a:gd name="connsiteX10" fmla="*/ 6821 w 10000"/>
              <a:gd name="connsiteY10" fmla="*/ 9382 h 10000"/>
              <a:gd name="connsiteX11" fmla="*/ 6340 w 10000"/>
              <a:gd name="connsiteY11" fmla="*/ 9494 h 10000"/>
              <a:gd name="connsiteX12" fmla="*/ 6244 w 10000"/>
              <a:gd name="connsiteY12" fmla="*/ 9719 h 10000"/>
              <a:gd name="connsiteX13" fmla="*/ 5859 w 10000"/>
              <a:gd name="connsiteY13" fmla="*/ 9831 h 10000"/>
              <a:gd name="connsiteX14" fmla="*/ 5570 w 10000"/>
              <a:gd name="connsiteY14" fmla="*/ 10000 h 10000"/>
              <a:gd name="connsiteX15" fmla="*/ 4897 w 10000"/>
              <a:gd name="connsiteY15" fmla="*/ 10000 h 10000"/>
              <a:gd name="connsiteX16" fmla="*/ 4322 w 10000"/>
              <a:gd name="connsiteY16" fmla="*/ 10000 h 10000"/>
              <a:gd name="connsiteX17" fmla="*/ 3840 w 10000"/>
              <a:gd name="connsiteY17" fmla="*/ 9831 h 10000"/>
              <a:gd name="connsiteX18" fmla="*/ 3553 w 10000"/>
              <a:gd name="connsiteY18" fmla="*/ 9719 h 10000"/>
              <a:gd name="connsiteX19" fmla="*/ 3456 w 10000"/>
              <a:gd name="connsiteY19" fmla="*/ 9494 h 10000"/>
              <a:gd name="connsiteX20" fmla="*/ 3071 w 10000"/>
              <a:gd name="connsiteY20" fmla="*/ 9382 h 10000"/>
              <a:gd name="connsiteX21" fmla="*/ 2687 w 10000"/>
              <a:gd name="connsiteY21" fmla="*/ 9157 h 10000"/>
              <a:gd name="connsiteX22" fmla="*/ 2495 w 10000"/>
              <a:gd name="connsiteY22" fmla="*/ 9045 h 10000"/>
              <a:gd name="connsiteX23" fmla="*/ 2399 w 10000"/>
              <a:gd name="connsiteY23" fmla="*/ 8820 h 10000"/>
              <a:gd name="connsiteX24" fmla="*/ 2399 w 10000"/>
              <a:gd name="connsiteY24" fmla="*/ 8202 h 10000"/>
              <a:gd name="connsiteX0" fmla="*/ 7397 w 10000"/>
              <a:gd name="connsiteY0" fmla="*/ 5730 h 10000"/>
              <a:gd name="connsiteX1" fmla="*/ 9840 w 10000"/>
              <a:gd name="connsiteY1" fmla="*/ 3293 h 10000"/>
              <a:gd name="connsiteX2" fmla="*/ 4897 w 10000"/>
              <a:gd name="connsiteY2" fmla="*/ 1 h 10000"/>
              <a:gd name="connsiteX3" fmla="*/ 0 w 10000"/>
              <a:gd name="connsiteY3" fmla="*/ 3078 h 10000"/>
              <a:gd name="connsiteX4" fmla="*/ 2399 w 10000"/>
              <a:gd name="connsiteY4" fmla="*/ 5730 h 10000"/>
              <a:gd name="connsiteX5" fmla="*/ 2399 w 10000"/>
              <a:gd name="connsiteY5" fmla="*/ 7191 h 10000"/>
              <a:gd name="connsiteX6" fmla="*/ 7397 w 10000"/>
              <a:gd name="connsiteY6" fmla="*/ 7191 h 10000"/>
              <a:gd name="connsiteX7" fmla="*/ 7397 w 10000"/>
              <a:gd name="connsiteY7" fmla="*/ 8820 h 10000"/>
              <a:gd name="connsiteX8" fmla="*/ 7302 w 10000"/>
              <a:gd name="connsiteY8" fmla="*/ 9045 h 10000"/>
              <a:gd name="connsiteX9" fmla="*/ 7205 w 10000"/>
              <a:gd name="connsiteY9" fmla="*/ 9157 h 10000"/>
              <a:gd name="connsiteX10" fmla="*/ 6821 w 10000"/>
              <a:gd name="connsiteY10" fmla="*/ 9382 h 10000"/>
              <a:gd name="connsiteX11" fmla="*/ 6340 w 10000"/>
              <a:gd name="connsiteY11" fmla="*/ 9494 h 10000"/>
              <a:gd name="connsiteX12" fmla="*/ 6244 w 10000"/>
              <a:gd name="connsiteY12" fmla="*/ 9719 h 10000"/>
              <a:gd name="connsiteX13" fmla="*/ 5859 w 10000"/>
              <a:gd name="connsiteY13" fmla="*/ 9831 h 10000"/>
              <a:gd name="connsiteX14" fmla="*/ 5570 w 10000"/>
              <a:gd name="connsiteY14" fmla="*/ 10000 h 10000"/>
              <a:gd name="connsiteX15" fmla="*/ 4897 w 10000"/>
              <a:gd name="connsiteY15" fmla="*/ 10000 h 10000"/>
              <a:gd name="connsiteX16" fmla="*/ 4322 w 10000"/>
              <a:gd name="connsiteY16" fmla="*/ 10000 h 10000"/>
              <a:gd name="connsiteX17" fmla="*/ 3840 w 10000"/>
              <a:gd name="connsiteY17" fmla="*/ 9831 h 10000"/>
              <a:gd name="connsiteX18" fmla="*/ 3553 w 10000"/>
              <a:gd name="connsiteY18" fmla="*/ 9719 h 10000"/>
              <a:gd name="connsiteX19" fmla="*/ 3456 w 10000"/>
              <a:gd name="connsiteY19" fmla="*/ 9494 h 10000"/>
              <a:gd name="connsiteX20" fmla="*/ 3071 w 10000"/>
              <a:gd name="connsiteY20" fmla="*/ 9382 h 10000"/>
              <a:gd name="connsiteX21" fmla="*/ 2687 w 10000"/>
              <a:gd name="connsiteY21" fmla="*/ 9157 h 10000"/>
              <a:gd name="connsiteX22" fmla="*/ 2495 w 10000"/>
              <a:gd name="connsiteY22" fmla="*/ 9045 h 10000"/>
              <a:gd name="connsiteX23" fmla="*/ 2399 w 10000"/>
              <a:gd name="connsiteY23" fmla="*/ 8820 h 10000"/>
              <a:gd name="connsiteX24" fmla="*/ 2399 w 10000"/>
              <a:gd name="connsiteY24" fmla="*/ 8202 h 10000"/>
              <a:gd name="connsiteX0" fmla="*/ 7500 w 10103"/>
              <a:gd name="connsiteY0" fmla="*/ 5730 h 10000"/>
              <a:gd name="connsiteX1" fmla="*/ 9943 w 10103"/>
              <a:gd name="connsiteY1" fmla="*/ 3293 h 10000"/>
              <a:gd name="connsiteX2" fmla="*/ 5000 w 10103"/>
              <a:gd name="connsiteY2" fmla="*/ 1 h 10000"/>
              <a:gd name="connsiteX3" fmla="*/ 103 w 10103"/>
              <a:gd name="connsiteY3" fmla="*/ 3078 h 10000"/>
              <a:gd name="connsiteX4" fmla="*/ 2502 w 10103"/>
              <a:gd name="connsiteY4" fmla="*/ 5730 h 10000"/>
              <a:gd name="connsiteX5" fmla="*/ 2502 w 10103"/>
              <a:gd name="connsiteY5" fmla="*/ 7191 h 10000"/>
              <a:gd name="connsiteX6" fmla="*/ 7500 w 10103"/>
              <a:gd name="connsiteY6" fmla="*/ 7191 h 10000"/>
              <a:gd name="connsiteX7" fmla="*/ 7500 w 10103"/>
              <a:gd name="connsiteY7" fmla="*/ 8820 h 10000"/>
              <a:gd name="connsiteX8" fmla="*/ 7405 w 10103"/>
              <a:gd name="connsiteY8" fmla="*/ 9045 h 10000"/>
              <a:gd name="connsiteX9" fmla="*/ 7308 w 10103"/>
              <a:gd name="connsiteY9" fmla="*/ 9157 h 10000"/>
              <a:gd name="connsiteX10" fmla="*/ 6924 w 10103"/>
              <a:gd name="connsiteY10" fmla="*/ 9382 h 10000"/>
              <a:gd name="connsiteX11" fmla="*/ 6443 w 10103"/>
              <a:gd name="connsiteY11" fmla="*/ 9494 h 10000"/>
              <a:gd name="connsiteX12" fmla="*/ 6347 w 10103"/>
              <a:gd name="connsiteY12" fmla="*/ 9719 h 10000"/>
              <a:gd name="connsiteX13" fmla="*/ 5962 w 10103"/>
              <a:gd name="connsiteY13" fmla="*/ 9831 h 10000"/>
              <a:gd name="connsiteX14" fmla="*/ 5673 w 10103"/>
              <a:gd name="connsiteY14" fmla="*/ 10000 h 10000"/>
              <a:gd name="connsiteX15" fmla="*/ 5000 w 10103"/>
              <a:gd name="connsiteY15" fmla="*/ 10000 h 10000"/>
              <a:gd name="connsiteX16" fmla="*/ 4425 w 10103"/>
              <a:gd name="connsiteY16" fmla="*/ 10000 h 10000"/>
              <a:gd name="connsiteX17" fmla="*/ 3943 w 10103"/>
              <a:gd name="connsiteY17" fmla="*/ 9831 h 10000"/>
              <a:gd name="connsiteX18" fmla="*/ 3656 w 10103"/>
              <a:gd name="connsiteY18" fmla="*/ 9719 h 10000"/>
              <a:gd name="connsiteX19" fmla="*/ 3559 w 10103"/>
              <a:gd name="connsiteY19" fmla="*/ 9494 h 10000"/>
              <a:gd name="connsiteX20" fmla="*/ 3174 w 10103"/>
              <a:gd name="connsiteY20" fmla="*/ 9382 h 10000"/>
              <a:gd name="connsiteX21" fmla="*/ 2790 w 10103"/>
              <a:gd name="connsiteY21" fmla="*/ 9157 h 10000"/>
              <a:gd name="connsiteX22" fmla="*/ 2598 w 10103"/>
              <a:gd name="connsiteY22" fmla="*/ 9045 h 10000"/>
              <a:gd name="connsiteX23" fmla="*/ 2502 w 10103"/>
              <a:gd name="connsiteY23" fmla="*/ 8820 h 10000"/>
              <a:gd name="connsiteX24" fmla="*/ 2502 w 10103"/>
              <a:gd name="connsiteY24" fmla="*/ 8202 h 10000"/>
              <a:gd name="connsiteX0" fmla="*/ 7407 w 10010"/>
              <a:gd name="connsiteY0" fmla="*/ 5730 h 10000"/>
              <a:gd name="connsiteX1" fmla="*/ 9850 w 10010"/>
              <a:gd name="connsiteY1" fmla="*/ 3293 h 10000"/>
              <a:gd name="connsiteX2" fmla="*/ 4907 w 10010"/>
              <a:gd name="connsiteY2" fmla="*/ 1 h 10000"/>
              <a:gd name="connsiteX3" fmla="*/ 10 w 10010"/>
              <a:gd name="connsiteY3" fmla="*/ 3078 h 10000"/>
              <a:gd name="connsiteX4" fmla="*/ 2409 w 10010"/>
              <a:gd name="connsiteY4" fmla="*/ 5730 h 10000"/>
              <a:gd name="connsiteX5" fmla="*/ 2409 w 10010"/>
              <a:gd name="connsiteY5" fmla="*/ 7191 h 10000"/>
              <a:gd name="connsiteX6" fmla="*/ 7407 w 10010"/>
              <a:gd name="connsiteY6" fmla="*/ 7191 h 10000"/>
              <a:gd name="connsiteX7" fmla="*/ 7407 w 10010"/>
              <a:gd name="connsiteY7" fmla="*/ 8820 h 10000"/>
              <a:gd name="connsiteX8" fmla="*/ 7312 w 10010"/>
              <a:gd name="connsiteY8" fmla="*/ 9045 h 10000"/>
              <a:gd name="connsiteX9" fmla="*/ 7215 w 10010"/>
              <a:gd name="connsiteY9" fmla="*/ 9157 h 10000"/>
              <a:gd name="connsiteX10" fmla="*/ 6831 w 10010"/>
              <a:gd name="connsiteY10" fmla="*/ 9382 h 10000"/>
              <a:gd name="connsiteX11" fmla="*/ 6350 w 10010"/>
              <a:gd name="connsiteY11" fmla="*/ 9494 h 10000"/>
              <a:gd name="connsiteX12" fmla="*/ 6254 w 10010"/>
              <a:gd name="connsiteY12" fmla="*/ 9719 h 10000"/>
              <a:gd name="connsiteX13" fmla="*/ 5869 w 10010"/>
              <a:gd name="connsiteY13" fmla="*/ 9831 h 10000"/>
              <a:gd name="connsiteX14" fmla="*/ 5580 w 10010"/>
              <a:gd name="connsiteY14" fmla="*/ 10000 h 10000"/>
              <a:gd name="connsiteX15" fmla="*/ 4907 w 10010"/>
              <a:gd name="connsiteY15" fmla="*/ 10000 h 10000"/>
              <a:gd name="connsiteX16" fmla="*/ 4332 w 10010"/>
              <a:gd name="connsiteY16" fmla="*/ 10000 h 10000"/>
              <a:gd name="connsiteX17" fmla="*/ 3850 w 10010"/>
              <a:gd name="connsiteY17" fmla="*/ 9831 h 10000"/>
              <a:gd name="connsiteX18" fmla="*/ 3563 w 10010"/>
              <a:gd name="connsiteY18" fmla="*/ 9719 h 10000"/>
              <a:gd name="connsiteX19" fmla="*/ 3466 w 10010"/>
              <a:gd name="connsiteY19" fmla="*/ 9494 h 10000"/>
              <a:gd name="connsiteX20" fmla="*/ 3081 w 10010"/>
              <a:gd name="connsiteY20" fmla="*/ 9382 h 10000"/>
              <a:gd name="connsiteX21" fmla="*/ 2697 w 10010"/>
              <a:gd name="connsiteY21" fmla="*/ 9157 h 10000"/>
              <a:gd name="connsiteX22" fmla="*/ 2505 w 10010"/>
              <a:gd name="connsiteY22" fmla="*/ 9045 h 10000"/>
              <a:gd name="connsiteX23" fmla="*/ 2409 w 10010"/>
              <a:gd name="connsiteY23" fmla="*/ 8820 h 10000"/>
              <a:gd name="connsiteX24" fmla="*/ 2409 w 10010"/>
              <a:gd name="connsiteY24" fmla="*/ 8202 h 10000"/>
              <a:gd name="connsiteX0" fmla="*/ 7698 w 10303"/>
              <a:gd name="connsiteY0" fmla="*/ 5735 h 10005"/>
              <a:gd name="connsiteX1" fmla="*/ 10141 w 10303"/>
              <a:gd name="connsiteY1" fmla="*/ 3298 h 10005"/>
              <a:gd name="connsiteX2" fmla="*/ 5198 w 10303"/>
              <a:gd name="connsiteY2" fmla="*/ 6 h 10005"/>
              <a:gd name="connsiteX3" fmla="*/ 8 w 10303"/>
              <a:gd name="connsiteY3" fmla="*/ 2619 h 10005"/>
              <a:gd name="connsiteX4" fmla="*/ 2700 w 10303"/>
              <a:gd name="connsiteY4" fmla="*/ 5735 h 10005"/>
              <a:gd name="connsiteX5" fmla="*/ 2700 w 10303"/>
              <a:gd name="connsiteY5" fmla="*/ 7196 h 10005"/>
              <a:gd name="connsiteX6" fmla="*/ 7698 w 10303"/>
              <a:gd name="connsiteY6" fmla="*/ 7196 h 10005"/>
              <a:gd name="connsiteX7" fmla="*/ 7698 w 10303"/>
              <a:gd name="connsiteY7" fmla="*/ 8825 h 10005"/>
              <a:gd name="connsiteX8" fmla="*/ 7603 w 10303"/>
              <a:gd name="connsiteY8" fmla="*/ 9050 h 10005"/>
              <a:gd name="connsiteX9" fmla="*/ 7506 w 10303"/>
              <a:gd name="connsiteY9" fmla="*/ 9162 h 10005"/>
              <a:gd name="connsiteX10" fmla="*/ 7122 w 10303"/>
              <a:gd name="connsiteY10" fmla="*/ 9387 h 10005"/>
              <a:gd name="connsiteX11" fmla="*/ 6641 w 10303"/>
              <a:gd name="connsiteY11" fmla="*/ 9499 h 10005"/>
              <a:gd name="connsiteX12" fmla="*/ 6545 w 10303"/>
              <a:gd name="connsiteY12" fmla="*/ 9724 h 10005"/>
              <a:gd name="connsiteX13" fmla="*/ 6160 w 10303"/>
              <a:gd name="connsiteY13" fmla="*/ 9836 h 10005"/>
              <a:gd name="connsiteX14" fmla="*/ 5871 w 10303"/>
              <a:gd name="connsiteY14" fmla="*/ 10005 h 10005"/>
              <a:gd name="connsiteX15" fmla="*/ 5198 w 10303"/>
              <a:gd name="connsiteY15" fmla="*/ 10005 h 10005"/>
              <a:gd name="connsiteX16" fmla="*/ 4623 w 10303"/>
              <a:gd name="connsiteY16" fmla="*/ 10005 h 10005"/>
              <a:gd name="connsiteX17" fmla="*/ 4141 w 10303"/>
              <a:gd name="connsiteY17" fmla="*/ 9836 h 10005"/>
              <a:gd name="connsiteX18" fmla="*/ 3854 w 10303"/>
              <a:gd name="connsiteY18" fmla="*/ 9724 h 10005"/>
              <a:gd name="connsiteX19" fmla="*/ 3757 w 10303"/>
              <a:gd name="connsiteY19" fmla="*/ 9499 h 10005"/>
              <a:gd name="connsiteX20" fmla="*/ 3372 w 10303"/>
              <a:gd name="connsiteY20" fmla="*/ 9387 h 10005"/>
              <a:gd name="connsiteX21" fmla="*/ 2988 w 10303"/>
              <a:gd name="connsiteY21" fmla="*/ 9162 h 10005"/>
              <a:gd name="connsiteX22" fmla="*/ 2796 w 10303"/>
              <a:gd name="connsiteY22" fmla="*/ 9050 h 10005"/>
              <a:gd name="connsiteX23" fmla="*/ 2700 w 10303"/>
              <a:gd name="connsiteY23" fmla="*/ 8825 h 10005"/>
              <a:gd name="connsiteX24" fmla="*/ 2700 w 10303"/>
              <a:gd name="connsiteY24" fmla="*/ 8207 h 10005"/>
              <a:gd name="connsiteX0" fmla="*/ 7693 w 10298"/>
              <a:gd name="connsiteY0" fmla="*/ 5735 h 10005"/>
              <a:gd name="connsiteX1" fmla="*/ 10136 w 10298"/>
              <a:gd name="connsiteY1" fmla="*/ 3298 h 10005"/>
              <a:gd name="connsiteX2" fmla="*/ 5193 w 10298"/>
              <a:gd name="connsiteY2" fmla="*/ 6 h 10005"/>
              <a:gd name="connsiteX3" fmla="*/ 3 w 10298"/>
              <a:gd name="connsiteY3" fmla="*/ 2619 h 10005"/>
              <a:gd name="connsiteX4" fmla="*/ 2695 w 10298"/>
              <a:gd name="connsiteY4" fmla="*/ 5735 h 10005"/>
              <a:gd name="connsiteX5" fmla="*/ 2695 w 10298"/>
              <a:gd name="connsiteY5" fmla="*/ 7196 h 10005"/>
              <a:gd name="connsiteX6" fmla="*/ 7693 w 10298"/>
              <a:gd name="connsiteY6" fmla="*/ 7196 h 10005"/>
              <a:gd name="connsiteX7" fmla="*/ 7693 w 10298"/>
              <a:gd name="connsiteY7" fmla="*/ 8825 h 10005"/>
              <a:gd name="connsiteX8" fmla="*/ 7598 w 10298"/>
              <a:gd name="connsiteY8" fmla="*/ 9050 h 10005"/>
              <a:gd name="connsiteX9" fmla="*/ 7501 w 10298"/>
              <a:gd name="connsiteY9" fmla="*/ 9162 h 10005"/>
              <a:gd name="connsiteX10" fmla="*/ 7117 w 10298"/>
              <a:gd name="connsiteY10" fmla="*/ 9387 h 10005"/>
              <a:gd name="connsiteX11" fmla="*/ 6636 w 10298"/>
              <a:gd name="connsiteY11" fmla="*/ 9499 h 10005"/>
              <a:gd name="connsiteX12" fmla="*/ 6540 w 10298"/>
              <a:gd name="connsiteY12" fmla="*/ 9724 h 10005"/>
              <a:gd name="connsiteX13" fmla="*/ 6155 w 10298"/>
              <a:gd name="connsiteY13" fmla="*/ 9836 h 10005"/>
              <a:gd name="connsiteX14" fmla="*/ 5866 w 10298"/>
              <a:gd name="connsiteY14" fmla="*/ 10005 h 10005"/>
              <a:gd name="connsiteX15" fmla="*/ 5193 w 10298"/>
              <a:gd name="connsiteY15" fmla="*/ 10005 h 10005"/>
              <a:gd name="connsiteX16" fmla="*/ 4618 w 10298"/>
              <a:gd name="connsiteY16" fmla="*/ 10005 h 10005"/>
              <a:gd name="connsiteX17" fmla="*/ 4136 w 10298"/>
              <a:gd name="connsiteY17" fmla="*/ 9836 h 10005"/>
              <a:gd name="connsiteX18" fmla="*/ 3849 w 10298"/>
              <a:gd name="connsiteY18" fmla="*/ 9724 h 10005"/>
              <a:gd name="connsiteX19" fmla="*/ 3752 w 10298"/>
              <a:gd name="connsiteY19" fmla="*/ 9499 h 10005"/>
              <a:gd name="connsiteX20" fmla="*/ 3367 w 10298"/>
              <a:gd name="connsiteY20" fmla="*/ 9387 h 10005"/>
              <a:gd name="connsiteX21" fmla="*/ 2983 w 10298"/>
              <a:gd name="connsiteY21" fmla="*/ 9162 h 10005"/>
              <a:gd name="connsiteX22" fmla="*/ 2791 w 10298"/>
              <a:gd name="connsiteY22" fmla="*/ 9050 h 10005"/>
              <a:gd name="connsiteX23" fmla="*/ 2695 w 10298"/>
              <a:gd name="connsiteY23" fmla="*/ 8825 h 10005"/>
              <a:gd name="connsiteX24" fmla="*/ 2695 w 10298"/>
              <a:gd name="connsiteY24" fmla="*/ 8207 h 10005"/>
              <a:gd name="connsiteX0" fmla="*/ 7205 w 9807"/>
              <a:gd name="connsiteY0" fmla="*/ 5735 h 10005"/>
              <a:gd name="connsiteX1" fmla="*/ 9648 w 9807"/>
              <a:gd name="connsiteY1" fmla="*/ 3298 h 10005"/>
              <a:gd name="connsiteX2" fmla="*/ 4705 w 9807"/>
              <a:gd name="connsiteY2" fmla="*/ 6 h 10005"/>
              <a:gd name="connsiteX3" fmla="*/ 4 w 9807"/>
              <a:gd name="connsiteY3" fmla="*/ 2619 h 10005"/>
              <a:gd name="connsiteX4" fmla="*/ 2207 w 9807"/>
              <a:gd name="connsiteY4" fmla="*/ 5735 h 10005"/>
              <a:gd name="connsiteX5" fmla="*/ 2207 w 9807"/>
              <a:gd name="connsiteY5" fmla="*/ 7196 h 10005"/>
              <a:gd name="connsiteX6" fmla="*/ 7205 w 9807"/>
              <a:gd name="connsiteY6" fmla="*/ 7196 h 10005"/>
              <a:gd name="connsiteX7" fmla="*/ 7205 w 9807"/>
              <a:gd name="connsiteY7" fmla="*/ 8825 h 10005"/>
              <a:gd name="connsiteX8" fmla="*/ 7110 w 9807"/>
              <a:gd name="connsiteY8" fmla="*/ 9050 h 10005"/>
              <a:gd name="connsiteX9" fmla="*/ 7013 w 9807"/>
              <a:gd name="connsiteY9" fmla="*/ 9162 h 10005"/>
              <a:gd name="connsiteX10" fmla="*/ 6629 w 9807"/>
              <a:gd name="connsiteY10" fmla="*/ 9387 h 10005"/>
              <a:gd name="connsiteX11" fmla="*/ 6148 w 9807"/>
              <a:gd name="connsiteY11" fmla="*/ 9499 h 10005"/>
              <a:gd name="connsiteX12" fmla="*/ 6052 w 9807"/>
              <a:gd name="connsiteY12" fmla="*/ 9724 h 10005"/>
              <a:gd name="connsiteX13" fmla="*/ 5667 w 9807"/>
              <a:gd name="connsiteY13" fmla="*/ 9836 h 10005"/>
              <a:gd name="connsiteX14" fmla="*/ 5378 w 9807"/>
              <a:gd name="connsiteY14" fmla="*/ 10005 h 10005"/>
              <a:gd name="connsiteX15" fmla="*/ 4705 w 9807"/>
              <a:gd name="connsiteY15" fmla="*/ 10005 h 10005"/>
              <a:gd name="connsiteX16" fmla="*/ 4130 w 9807"/>
              <a:gd name="connsiteY16" fmla="*/ 10005 h 10005"/>
              <a:gd name="connsiteX17" fmla="*/ 3648 w 9807"/>
              <a:gd name="connsiteY17" fmla="*/ 9836 h 10005"/>
              <a:gd name="connsiteX18" fmla="*/ 3361 w 9807"/>
              <a:gd name="connsiteY18" fmla="*/ 9724 h 10005"/>
              <a:gd name="connsiteX19" fmla="*/ 3264 w 9807"/>
              <a:gd name="connsiteY19" fmla="*/ 9499 h 10005"/>
              <a:gd name="connsiteX20" fmla="*/ 2879 w 9807"/>
              <a:gd name="connsiteY20" fmla="*/ 9387 h 10005"/>
              <a:gd name="connsiteX21" fmla="*/ 2495 w 9807"/>
              <a:gd name="connsiteY21" fmla="*/ 9162 h 10005"/>
              <a:gd name="connsiteX22" fmla="*/ 2303 w 9807"/>
              <a:gd name="connsiteY22" fmla="*/ 9050 h 10005"/>
              <a:gd name="connsiteX23" fmla="*/ 2207 w 9807"/>
              <a:gd name="connsiteY23" fmla="*/ 8825 h 10005"/>
              <a:gd name="connsiteX24" fmla="*/ 2207 w 9807"/>
              <a:gd name="connsiteY24" fmla="*/ 8207 h 10005"/>
              <a:gd name="connsiteX0" fmla="*/ 7347 w 10000"/>
              <a:gd name="connsiteY0" fmla="*/ 5734 h 10002"/>
              <a:gd name="connsiteX1" fmla="*/ 9838 w 10000"/>
              <a:gd name="connsiteY1" fmla="*/ 3298 h 10002"/>
              <a:gd name="connsiteX2" fmla="*/ 4798 w 10000"/>
              <a:gd name="connsiteY2" fmla="*/ 8 h 10002"/>
              <a:gd name="connsiteX3" fmla="*/ 4 w 10000"/>
              <a:gd name="connsiteY3" fmla="*/ 2620 h 10002"/>
              <a:gd name="connsiteX4" fmla="*/ 2250 w 10000"/>
              <a:gd name="connsiteY4" fmla="*/ 5734 h 10002"/>
              <a:gd name="connsiteX5" fmla="*/ 2250 w 10000"/>
              <a:gd name="connsiteY5" fmla="*/ 7194 h 10002"/>
              <a:gd name="connsiteX6" fmla="*/ 7347 w 10000"/>
              <a:gd name="connsiteY6" fmla="*/ 7194 h 10002"/>
              <a:gd name="connsiteX7" fmla="*/ 7347 w 10000"/>
              <a:gd name="connsiteY7" fmla="*/ 8823 h 10002"/>
              <a:gd name="connsiteX8" fmla="*/ 7250 w 10000"/>
              <a:gd name="connsiteY8" fmla="*/ 9047 h 10002"/>
              <a:gd name="connsiteX9" fmla="*/ 7151 w 10000"/>
              <a:gd name="connsiteY9" fmla="*/ 9159 h 10002"/>
              <a:gd name="connsiteX10" fmla="*/ 6759 w 10000"/>
              <a:gd name="connsiteY10" fmla="*/ 9384 h 10002"/>
              <a:gd name="connsiteX11" fmla="*/ 6269 w 10000"/>
              <a:gd name="connsiteY11" fmla="*/ 9496 h 10002"/>
              <a:gd name="connsiteX12" fmla="*/ 6171 w 10000"/>
              <a:gd name="connsiteY12" fmla="*/ 9721 h 10002"/>
              <a:gd name="connsiteX13" fmla="*/ 5779 w 10000"/>
              <a:gd name="connsiteY13" fmla="*/ 9833 h 10002"/>
              <a:gd name="connsiteX14" fmla="*/ 5484 w 10000"/>
              <a:gd name="connsiteY14" fmla="*/ 10002 h 10002"/>
              <a:gd name="connsiteX15" fmla="*/ 4798 w 10000"/>
              <a:gd name="connsiteY15" fmla="*/ 10002 h 10002"/>
              <a:gd name="connsiteX16" fmla="*/ 4211 w 10000"/>
              <a:gd name="connsiteY16" fmla="*/ 10002 h 10002"/>
              <a:gd name="connsiteX17" fmla="*/ 3720 w 10000"/>
              <a:gd name="connsiteY17" fmla="*/ 9833 h 10002"/>
              <a:gd name="connsiteX18" fmla="*/ 3427 w 10000"/>
              <a:gd name="connsiteY18" fmla="*/ 9721 h 10002"/>
              <a:gd name="connsiteX19" fmla="*/ 3328 w 10000"/>
              <a:gd name="connsiteY19" fmla="*/ 9496 h 10002"/>
              <a:gd name="connsiteX20" fmla="*/ 2936 w 10000"/>
              <a:gd name="connsiteY20" fmla="*/ 9384 h 10002"/>
              <a:gd name="connsiteX21" fmla="*/ 2544 w 10000"/>
              <a:gd name="connsiteY21" fmla="*/ 9159 h 10002"/>
              <a:gd name="connsiteX22" fmla="*/ 2348 w 10000"/>
              <a:gd name="connsiteY22" fmla="*/ 9047 h 10002"/>
              <a:gd name="connsiteX23" fmla="*/ 2250 w 10000"/>
              <a:gd name="connsiteY23" fmla="*/ 8823 h 10002"/>
              <a:gd name="connsiteX24" fmla="*/ 2250 w 10000"/>
              <a:gd name="connsiteY24" fmla="*/ 8205 h 10002"/>
              <a:gd name="connsiteX0" fmla="*/ 7347 w 9807"/>
              <a:gd name="connsiteY0" fmla="*/ 5727 h 9995"/>
              <a:gd name="connsiteX1" fmla="*/ 9639 w 9807"/>
              <a:gd name="connsiteY1" fmla="*/ 2827 h 9995"/>
              <a:gd name="connsiteX2" fmla="*/ 4798 w 9807"/>
              <a:gd name="connsiteY2" fmla="*/ 1 h 9995"/>
              <a:gd name="connsiteX3" fmla="*/ 4 w 9807"/>
              <a:gd name="connsiteY3" fmla="*/ 2613 h 9995"/>
              <a:gd name="connsiteX4" fmla="*/ 2250 w 9807"/>
              <a:gd name="connsiteY4" fmla="*/ 5727 h 9995"/>
              <a:gd name="connsiteX5" fmla="*/ 2250 w 9807"/>
              <a:gd name="connsiteY5" fmla="*/ 7187 h 9995"/>
              <a:gd name="connsiteX6" fmla="*/ 7347 w 9807"/>
              <a:gd name="connsiteY6" fmla="*/ 7187 h 9995"/>
              <a:gd name="connsiteX7" fmla="*/ 7347 w 9807"/>
              <a:gd name="connsiteY7" fmla="*/ 8816 h 9995"/>
              <a:gd name="connsiteX8" fmla="*/ 7250 w 9807"/>
              <a:gd name="connsiteY8" fmla="*/ 9040 h 9995"/>
              <a:gd name="connsiteX9" fmla="*/ 7151 w 9807"/>
              <a:gd name="connsiteY9" fmla="*/ 9152 h 9995"/>
              <a:gd name="connsiteX10" fmla="*/ 6759 w 9807"/>
              <a:gd name="connsiteY10" fmla="*/ 9377 h 9995"/>
              <a:gd name="connsiteX11" fmla="*/ 6269 w 9807"/>
              <a:gd name="connsiteY11" fmla="*/ 9489 h 9995"/>
              <a:gd name="connsiteX12" fmla="*/ 6171 w 9807"/>
              <a:gd name="connsiteY12" fmla="*/ 9714 h 9995"/>
              <a:gd name="connsiteX13" fmla="*/ 5779 w 9807"/>
              <a:gd name="connsiteY13" fmla="*/ 9826 h 9995"/>
              <a:gd name="connsiteX14" fmla="*/ 5484 w 9807"/>
              <a:gd name="connsiteY14" fmla="*/ 9995 h 9995"/>
              <a:gd name="connsiteX15" fmla="*/ 4798 w 9807"/>
              <a:gd name="connsiteY15" fmla="*/ 9995 h 9995"/>
              <a:gd name="connsiteX16" fmla="*/ 4211 w 9807"/>
              <a:gd name="connsiteY16" fmla="*/ 9995 h 9995"/>
              <a:gd name="connsiteX17" fmla="*/ 3720 w 9807"/>
              <a:gd name="connsiteY17" fmla="*/ 9826 h 9995"/>
              <a:gd name="connsiteX18" fmla="*/ 3427 w 9807"/>
              <a:gd name="connsiteY18" fmla="*/ 9714 h 9995"/>
              <a:gd name="connsiteX19" fmla="*/ 3328 w 9807"/>
              <a:gd name="connsiteY19" fmla="*/ 9489 h 9995"/>
              <a:gd name="connsiteX20" fmla="*/ 2936 w 9807"/>
              <a:gd name="connsiteY20" fmla="*/ 9377 h 9995"/>
              <a:gd name="connsiteX21" fmla="*/ 2544 w 9807"/>
              <a:gd name="connsiteY21" fmla="*/ 9152 h 9995"/>
              <a:gd name="connsiteX22" fmla="*/ 2348 w 9807"/>
              <a:gd name="connsiteY22" fmla="*/ 9040 h 9995"/>
              <a:gd name="connsiteX23" fmla="*/ 2250 w 9807"/>
              <a:gd name="connsiteY23" fmla="*/ 8816 h 9995"/>
              <a:gd name="connsiteX24" fmla="*/ 2250 w 9807"/>
              <a:gd name="connsiteY24" fmla="*/ 8198 h 9995"/>
              <a:gd name="connsiteX0" fmla="*/ 7492 w 9835"/>
              <a:gd name="connsiteY0" fmla="*/ 5730 h 10000"/>
              <a:gd name="connsiteX1" fmla="*/ 9829 w 9835"/>
              <a:gd name="connsiteY1" fmla="*/ 2828 h 10000"/>
              <a:gd name="connsiteX2" fmla="*/ 4892 w 9835"/>
              <a:gd name="connsiteY2" fmla="*/ 1 h 10000"/>
              <a:gd name="connsiteX3" fmla="*/ 4 w 9835"/>
              <a:gd name="connsiteY3" fmla="*/ 2614 h 10000"/>
              <a:gd name="connsiteX4" fmla="*/ 2294 w 9835"/>
              <a:gd name="connsiteY4" fmla="*/ 5730 h 10000"/>
              <a:gd name="connsiteX5" fmla="*/ 2294 w 9835"/>
              <a:gd name="connsiteY5" fmla="*/ 7191 h 10000"/>
              <a:gd name="connsiteX6" fmla="*/ 7492 w 9835"/>
              <a:gd name="connsiteY6" fmla="*/ 7191 h 10000"/>
              <a:gd name="connsiteX7" fmla="*/ 7492 w 9835"/>
              <a:gd name="connsiteY7" fmla="*/ 8820 h 10000"/>
              <a:gd name="connsiteX8" fmla="*/ 7393 w 9835"/>
              <a:gd name="connsiteY8" fmla="*/ 9045 h 10000"/>
              <a:gd name="connsiteX9" fmla="*/ 7292 w 9835"/>
              <a:gd name="connsiteY9" fmla="*/ 9157 h 10000"/>
              <a:gd name="connsiteX10" fmla="*/ 6892 w 9835"/>
              <a:gd name="connsiteY10" fmla="*/ 9382 h 10000"/>
              <a:gd name="connsiteX11" fmla="*/ 6392 w 9835"/>
              <a:gd name="connsiteY11" fmla="*/ 9494 h 10000"/>
              <a:gd name="connsiteX12" fmla="*/ 6292 w 9835"/>
              <a:gd name="connsiteY12" fmla="*/ 9719 h 10000"/>
              <a:gd name="connsiteX13" fmla="*/ 5893 w 9835"/>
              <a:gd name="connsiteY13" fmla="*/ 9831 h 10000"/>
              <a:gd name="connsiteX14" fmla="*/ 5592 w 9835"/>
              <a:gd name="connsiteY14" fmla="*/ 10000 h 10000"/>
              <a:gd name="connsiteX15" fmla="*/ 4892 w 9835"/>
              <a:gd name="connsiteY15" fmla="*/ 10000 h 10000"/>
              <a:gd name="connsiteX16" fmla="*/ 4294 w 9835"/>
              <a:gd name="connsiteY16" fmla="*/ 10000 h 10000"/>
              <a:gd name="connsiteX17" fmla="*/ 3793 w 9835"/>
              <a:gd name="connsiteY17" fmla="*/ 9831 h 10000"/>
              <a:gd name="connsiteX18" fmla="*/ 3494 w 9835"/>
              <a:gd name="connsiteY18" fmla="*/ 9719 h 10000"/>
              <a:gd name="connsiteX19" fmla="*/ 3393 w 9835"/>
              <a:gd name="connsiteY19" fmla="*/ 9494 h 10000"/>
              <a:gd name="connsiteX20" fmla="*/ 2994 w 9835"/>
              <a:gd name="connsiteY20" fmla="*/ 9382 h 10000"/>
              <a:gd name="connsiteX21" fmla="*/ 2594 w 9835"/>
              <a:gd name="connsiteY21" fmla="*/ 9157 h 10000"/>
              <a:gd name="connsiteX22" fmla="*/ 2394 w 9835"/>
              <a:gd name="connsiteY22" fmla="*/ 9045 h 10000"/>
              <a:gd name="connsiteX23" fmla="*/ 2294 w 9835"/>
              <a:gd name="connsiteY23" fmla="*/ 8820 h 10000"/>
              <a:gd name="connsiteX24" fmla="*/ 2294 w 9835"/>
              <a:gd name="connsiteY24" fmla="*/ 8202 h 10000"/>
              <a:gd name="connsiteX0" fmla="*/ 7618 w 10000"/>
              <a:gd name="connsiteY0" fmla="*/ 5730 h 10000"/>
              <a:gd name="connsiteX1" fmla="*/ 9994 w 10000"/>
              <a:gd name="connsiteY1" fmla="*/ 2828 h 10000"/>
              <a:gd name="connsiteX2" fmla="*/ 4974 w 10000"/>
              <a:gd name="connsiteY2" fmla="*/ 1 h 10000"/>
              <a:gd name="connsiteX3" fmla="*/ 4 w 10000"/>
              <a:gd name="connsiteY3" fmla="*/ 2614 h 10000"/>
              <a:gd name="connsiteX4" fmla="*/ 2332 w 10000"/>
              <a:gd name="connsiteY4" fmla="*/ 5730 h 10000"/>
              <a:gd name="connsiteX5" fmla="*/ 2332 w 10000"/>
              <a:gd name="connsiteY5" fmla="*/ 7191 h 10000"/>
              <a:gd name="connsiteX6" fmla="*/ 7618 w 10000"/>
              <a:gd name="connsiteY6" fmla="*/ 7191 h 10000"/>
              <a:gd name="connsiteX7" fmla="*/ 7618 w 10000"/>
              <a:gd name="connsiteY7" fmla="*/ 8820 h 10000"/>
              <a:gd name="connsiteX8" fmla="*/ 7517 w 10000"/>
              <a:gd name="connsiteY8" fmla="*/ 9045 h 10000"/>
              <a:gd name="connsiteX9" fmla="*/ 7414 w 10000"/>
              <a:gd name="connsiteY9" fmla="*/ 9157 h 10000"/>
              <a:gd name="connsiteX10" fmla="*/ 7008 w 10000"/>
              <a:gd name="connsiteY10" fmla="*/ 9382 h 10000"/>
              <a:gd name="connsiteX11" fmla="*/ 6499 w 10000"/>
              <a:gd name="connsiteY11" fmla="*/ 9494 h 10000"/>
              <a:gd name="connsiteX12" fmla="*/ 6398 w 10000"/>
              <a:gd name="connsiteY12" fmla="*/ 9719 h 10000"/>
              <a:gd name="connsiteX13" fmla="*/ 5992 w 10000"/>
              <a:gd name="connsiteY13" fmla="*/ 9831 h 10000"/>
              <a:gd name="connsiteX14" fmla="*/ 5686 w 10000"/>
              <a:gd name="connsiteY14" fmla="*/ 10000 h 10000"/>
              <a:gd name="connsiteX15" fmla="*/ 4974 w 10000"/>
              <a:gd name="connsiteY15" fmla="*/ 10000 h 10000"/>
              <a:gd name="connsiteX16" fmla="*/ 4366 w 10000"/>
              <a:gd name="connsiteY16" fmla="*/ 10000 h 10000"/>
              <a:gd name="connsiteX17" fmla="*/ 3857 w 10000"/>
              <a:gd name="connsiteY17" fmla="*/ 9831 h 10000"/>
              <a:gd name="connsiteX18" fmla="*/ 3553 w 10000"/>
              <a:gd name="connsiteY18" fmla="*/ 9719 h 10000"/>
              <a:gd name="connsiteX19" fmla="*/ 3450 w 10000"/>
              <a:gd name="connsiteY19" fmla="*/ 9494 h 10000"/>
              <a:gd name="connsiteX20" fmla="*/ 3044 w 10000"/>
              <a:gd name="connsiteY20" fmla="*/ 9382 h 10000"/>
              <a:gd name="connsiteX21" fmla="*/ 2638 w 10000"/>
              <a:gd name="connsiteY21" fmla="*/ 9157 h 10000"/>
              <a:gd name="connsiteX22" fmla="*/ 2434 w 10000"/>
              <a:gd name="connsiteY22" fmla="*/ 9045 h 10000"/>
              <a:gd name="connsiteX23" fmla="*/ 2332 w 10000"/>
              <a:gd name="connsiteY23" fmla="*/ 8820 h 10000"/>
              <a:gd name="connsiteX24" fmla="*/ 2332 w 10000"/>
              <a:gd name="connsiteY24" fmla="*/ 8202 h 10000"/>
              <a:gd name="connsiteX0" fmla="*/ 7678 w 10060"/>
              <a:gd name="connsiteY0" fmla="*/ 5730 h 10000"/>
              <a:gd name="connsiteX1" fmla="*/ 10054 w 10060"/>
              <a:gd name="connsiteY1" fmla="*/ 2828 h 10000"/>
              <a:gd name="connsiteX2" fmla="*/ 5034 w 10060"/>
              <a:gd name="connsiteY2" fmla="*/ 1 h 10000"/>
              <a:gd name="connsiteX3" fmla="*/ 64 w 10060"/>
              <a:gd name="connsiteY3" fmla="*/ 2614 h 10000"/>
              <a:gd name="connsiteX4" fmla="*/ 2392 w 10060"/>
              <a:gd name="connsiteY4" fmla="*/ 5730 h 10000"/>
              <a:gd name="connsiteX5" fmla="*/ 2392 w 10060"/>
              <a:gd name="connsiteY5" fmla="*/ 7191 h 10000"/>
              <a:gd name="connsiteX6" fmla="*/ 7678 w 10060"/>
              <a:gd name="connsiteY6" fmla="*/ 7191 h 10000"/>
              <a:gd name="connsiteX7" fmla="*/ 7678 w 10060"/>
              <a:gd name="connsiteY7" fmla="*/ 8820 h 10000"/>
              <a:gd name="connsiteX8" fmla="*/ 7577 w 10060"/>
              <a:gd name="connsiteY8" fmla="*/ 9045 h 10000"/>
              <a:gd name="connsiteX9" fmla="*/ 7474 w 10060"/>
              <a:gd name="connsiteY9" fmla="*/ 9157 h 10000"/>
              <a:gd name="connsiteX10" fmla="*/ 7068 w 10060"/>
              <a:gd name="connsiteY10" fmla="*/ 9382 h 10000"/>
              <a:gd name="connsiteX11" fmla="*/ 6559 w 10060"/>
              <a:gd name="connsiteY11" fmla="*/ 9494 h 10000"/>
              <a:gd name="connsiteX12" fmla="*/ 6458 w 10060"/>
              <a:gd name="connsiteY12" fmla="*/ 9719 h 10000"/>
              <a:gd name="connsiteX13" fmla="*/ 6052 w 10060"/>
              <a:gd name="connsiteY13" fmla="*/ 9831 h 10000"/>
              <a:gd name="connsiteX14" fmla="*/ 5746 w 10060"/>
              <a:gd name="connsiteY14" fmla="*/ 10000 h 10000"/>
              <a:gd name="connsiteX15" fmla="*/ 5034 w 10060"/>
              <a:gd name="connsiteY15" fmla="*/ 10000 h 10000"/>
              <a:gd name="connsiteX16" fmla="*/ 4426 w 10060"/>
              <a:gd name="connsiteY16" fmla="*/ 10000 h 10000"/>
              <a:gd name="connsiteX17" fmla="*/ 3917 w 10060"/>
              <a:gd name="connsiteY17" fmla="*/ 9831 h 10000"/>
              <a:gd name="connsiteX18" fmla="*/ 3613 w 10060"/>
              <a:gd name="connsiteY18" fmla="*/ 9719 h 10000"/>
              <a:gd name="connsiteX19" fmla="*/ 3510 w 10060"/>
              <a:gd name="connsiteY19" fmla="*/ 9494 h 10000"/>
              <a:gd name="connsiteX20" fmla="*/ 3104 w 10060"/>
              <a:gd name="connsiteY20" fmla="*/ 9382 h 10000"/>
              <a:gd name="connsiteX21" fmla="*/ 2698 w 10060"/>
              <a:gd name="connsiteY21" fmla="*/ 9157 h 10000"/>
              <a:gd name="connsiteX22" fmla="*/ 2494 w 10060"/>
              <a:gd name="connsiteY22" fmla="*/ 9045 h 10000"/>
              <a:gd name="connsiteX23" fmla="*/ 2392 w 10060"/>
              <a:gd name="connsiteY23" fmla="*/ 8820 h 10000"/>
              <a:gd name="connsiteX24" fmla="*/ 2392 w 10060"/>
              <a:gd name="connsiteY24" fmla="*/ 8202 h 10000"/>
              <a:gd name="connsiteX0" fmla="*/ 7662 w 10044"/>
              <a:gd name="connsiteY0" fmla="*/ 5730 h 10000"/>
              <a:gd name="connsiteX1" fmla="*/ 10038 w 10044"/>
              <a:gd name="connsiteY1" fmla="*/ 2828 h 10000"/>
              <a:gd name="connsiteX2" fmla="*/ 5018 w 10044"/>
              <a:gd name="connsiteY2" fmla="*/ 1 h 10000"/>
              <a:gd name="connsiteX3" fmla="*/ 48 w 10044"/>
              <a:gd name="connsiteY3" fmla="*/ 2614 h 10000"/>
              <a:gd name="connsiteX4" fmla="*/ 2376 w 10044"/>
              <a:gd name="connsiteY4" fmla="*/ 5730 h 10000"/>
              <a:gd name="connsiteX5" fmla="*/ 2376 w 10044"/>
              <a:gd name="connsiteY5" fmla="*/ 7191 h 10000"/>
              <a:gd name="connsiteX6" fmla="*/ 7662 w 10044"/>
              <a:gd name="connsiteY6" fmla="*/ 7191 h 10000"/>
              <a:gd name="connsiteX7" fmla="*/ 7662 w 10044"/>
              <a:gd name="connsiteY7" fmla="*/ 8820 h 10000"/>
              <a:gd name="connsiteX8" fmla="*/ 7561 w 10044"/>
              <a:gd name="connsiteY8" fmla="*/ 9045 h 10000"/>
              <a:gd name="connsiteX9" fmla="*/ 7458 w 10044"/>
              <a:gd name="connsiteY9" fmla="*/ 9157 h 10000"/>
              <a:gd name="connsiteX10" fmla="*/ 7052 w 10044"/>
              <a:gd name="connsiteY10" fmla="*/ 9382 h 10000"/>
              <a:gd name="connsiteX11" fmla="*/ 6543 w 10044"/>
              <a:gd name="connsiteY11" fmla="*/ 9494 h 10000"/>
              <a:gd name="connsiteX12" fmla="*/ 6442 w 10044"/>
              <a:gd name="connsiteY12" fmla="*/ 9719 h 10000"/>
              <a:gd name="connsiteX13" fmla="*/ 6036 w 10044"/>
              <a:gd name="connsiteY13" fmla="*/ 9831 h 10000"/>
              <a:gd name="connsiteX14" fmla="*/ 5730 w 10044"/>
              <a:gd name="connsiteY14" fmla="*/ 10000 h 10000"/>
              <a:gd name="connsiteX15" fmla="*/ 5018 w 10044"/>
              <a:gd name="connsiteY15" fmla="*/ 10000 h 10000"/>
              <a:gd name="connsiteX16" fmla="*/ 4410 w 10044"/>
              <a:gd name="connsiteY16" fmla="*/ 10000 h 10000"/>
              <a:gd name="connsiteX17" fmla="*/ 3901 w 10044"/>
              <a:gd name="connsiteY17" fmla="*/ 9831 h 10000"/>
              <a:gd name="connsiteX18" fmla="*/ 3597 w 10044"/>
              <a:gd name="connsiteY18" fmla="*/ 9719 h 10000"/>
              <a:gd name="connsiteX19" fmla="*/ 3494 w 10044"/>
              <a:gd name="connsiteY19" fmla="*/ 9494 h 10000"/>
              <a:gd name="connsiteX20" fmla="*/ 3088 w 10044"/>
              <a:gd name="connsiteY20" fmla="*/ 9382 h 10000"/>
              <a:gd name="connsiteX21" fmla="*/ 2682 w 10044"/>
              <a:gd name="connsiteY21" fmla="*/ 9157 h 10000"/>
              <a:gd name="connsiteX22" fmla="*/ 2478 w 10044"/>
              <a:gd name="connsiteY22" fmla="*/ 9045 h 10000"/>
              <a:gd name="connsiteX23" fmla="*/ 2376 w 10044"/>
              <a:gd name="connsiteY23" fmla="*/ 8820 h 10000"/>
              <a:gd name="connsiteX24" fmla="*/ 2376 w 10044"/>
              <a:gd name="connsiteY24" fmla="*/ 8202 h 10000"/>
              <a:gd name="connsiteX0" fmla="*/ 7617 w 9999"/>
              <a:gd name="connsiteY0" fmla="*/ 5730 h 10000"/>
              <a:gd name="connsiteX1" fmla="*/ 9993 w 9999"/>
              <a:gd name="connsiteY1" fmla="*/ 2828 h 10000"/>
              <a:gd name="connsiteX2" fmla="*/ 4973 w 9999"/>
              <a:gd name="connsiteY2" fmla="*/ 1 h 10000"/>
              <a:gd name="connsiteX3" fmla="*/ 3 w 9999"/>
              <a:gd name="connsiteY3" fmla="*/ 2614 h 10000"/>
              <a:gd name="connsiteX4" fmla="*/ 2331 w 9999"/>
              <a:gd name="connsiteY4" fmla="*/ 5730 h 10000"/>
              <a:gd name="connsiteX5" fmla="*/ 2331 w 9999"/>
              <a:gd name="connsiteY5" fmla="*/ 7191 h 10000"/>
              <a:gd name="connsiteX6" fmla="*/ 7617 w 9999"/>
              <a:gd name="connsiteY6" fmla="*/ 7191 h 10000"/>
              <a:gd name="connsiteX7" fmla="*/ 7617 w 9999"/>
              <a:gd name="connsiteY7" fmla="*/ 8820 h 10000"/>
              <a:gd name="connsiteX8" fmla="*/ 7516 w 9999"/>
              <a:gd name="connsiteY8" fmla="*/ 9045 h 10000"/>
              <a:gd name="connsiteX9" fmla="*/ 7413 w 9999"/>
              <a:gd name="connsiteY9" fmla="*/ 9157 h 10000"/>
              <a:gd name="connsiteX10" fmla="*/ 7007 w 9999"/>
              <a:gd name="connsiteY10" fmla="*/ 9382 h 10000"/>
              <a:gd name="connsiteX11" fmla="*/ 6498 w 9999"/>
              <a:gd name="connsiteY11" fmla="*/ 9494 h 10000"/>
              <a:gd name="connsiteX12" fmla="*/ 6397 w 9999"/>
              <a:gd name="connsiteY12" fmla="*/ 9719 h 10000"/>
              <a:gd name="connsiteX13" fmla="*/ 5991 w 9999"/>
              <a:gd name="connsiteY13" fmla="*/ 9831 h 10000"/>
              <a:gd name="connsiteX14" fmla="*/ 5685 w 9999"/>
              <a:gd name="connsiteY14" fmla="*/ 10000 h 10000"/>
              <a:gd name="connsiteX15" fmla="*/ 4973 w 9999"/>
              <a:gd name="connsiteY15" fmla="*/ 10000 h 10000"/>
              <a:gd name="connsiteX16" fmla="*/ 4365 w 9999"/>
              <a:gd name="connsiteY16" fmla="*/ 10000 h 10000"/>
              <a:gd name="connsiteX17" fmla="*/ 3856 w 9999"/>
              <a:gd name="connsiteY17" fmla="*/ 9831 h 10000"/>
              <a:gd name="connsiteX18" fmla="*/ 3552 w 9999"/>
              <a:gd name="connsiteY18" fmla="*/ 9719 h 10000"/>
              <a:gd name="connsiteX19" fmla="*/ 3449 w 9999"/>
              <a:gd name="connsiteY19" fmla="*/ 9494 h 10000"/>
              <a:gd name="connsiteX20" fmla="*/ 3043 w 9999"/>
              <a:gd name="connsiteY20" fmla="*/ 9382 h 10000"/>
              <a:gd name="connsiteX21" fmla="*/ 2637 w 9999"/>
              <a:gd name="connsiteY21" fmla="*/ 9157 h 10000"/>
              <a:gd name="connsiteX22" fmla="*/ 2433 w 9999"/>
              <a:gd name="connsiteY22" fmla="*/ 9045 h 10000"/>
              <a:gd name="connsiteX23" fmla="*/ 2331 w 9999"/>
              <a:gd name="connsiteY23" fmla="*/ 8820 h 10000"/>
              <a:gd name="connsiteX24" fmla="*/ 2331 w 9999"/>
              <a:gd name="connsiteY24" fmla="*/ 8202 h 10000"/>
              <a:gd name="connsiteX0" fmla="*/ 7616 w 9998"/>
              <a:gd name="connsiteY0" fmla="*/ 5730 h 10000"/>
              <a:gd name="connsiteX1" fmla="*/ 9992 w 9998"/>
              <a:gd name="connsiteY1" fmla="*/ 2828 h 10000"/>
              <a:gd name="connsiteX2" fmla="*/ 4971 w 9998"/>
              <a:gd name="connsiteY2" fmla="*/ 1 h 10000"/>
              <a:gd name="connsiteX3" fmla="*/ 1 w 9998"/>
              <a:gd name="connsiteY3" fmla="*/ 2614 h 10000"/>
              <a:gd name="connsiteX4" fmla="*/ 2329 w 9998"/>
              <a:gd name="connsiteY4" fmla="*/ 5730 h 10000"/>
              <a:gd name="connsiteX5" fmla="*/ 2329 w 9998"/>
              <a:gd name="connsiteY5" fmla="*/ 7191 h 10000"/>
              <a:gd name="connsiteX6" fmla="*/ 7616 w 9998"/>
              <a:gd name="connsiteY6" fmla="*/ 7191 h 10000"/>
              <a:gd name="connsiteX7" fmla="*/ 7616 w 9998"/>
              <a:gd name="connsiteY7" fmla="*/ 8820 h 10000"/>
              <a:gd name="connsiteX8" fmla="*/ 7515 w 9998"/>
              <a:gd name="connsiteY8" fmla="*/ 9045 h 10000"/>
              <a:gd name="connsiteX9" fmla="*/ 7412 w 9998"/>
              <a:gd name="connsiteY9" fmla="*/ 9157 h 10000"/>
              <a:gd name="connsiteX10" fmla="*/ 7006 w 9998"/>
              <a:gd name="connsiteY10" fmla="*/ 9382 h 10000"/>
              <a:gd name="connsiteX11" fmla="*/ 6497 w 9998"/>
              <a:gd name="connsiteY11" fmla="*/ 9494 h 10000"/>
              <a:gd name="connsiteX12" fmla="*/ 6396 w 9998"/>
              <a:gd name="connsiteY12" fmla="*/ 9719 h 10000"/>
              <a:gd name="connsiteX13" fmla="*/ 5990 w 9998"/>
              <a:gd name="connsiteY13" fmla="*/ 9831 h 10000"/>
              <a:gd name="connsiteX14" fmla="*/ 5684 w 9998"/>
              <a:gd name="connsiteY14" fmla="*/ 10000 h 10000"/>
              <a:gd name="connsiteX15" fmla="*/ 4971 w 9998"/>
              <a:gd name="connsiteY15" fmla="*/ 10000 h 10000"/>
              <a:gd name="connsiteX16" fmla="*/ 4363 w 9998"/>
              <a:gd name="connsiteY16" fmla="*/ 10000 h 10000"/>
              <a:gd name="connsiteX17" fmla="*/ 3854 w 9998"/>
              <a:gd name="connsiteY17" fmla="*/ 9831 h 10000"/>
              <a:gd name="connsiteX18" fmla="*/ 3550 w 9998"/>
              <a:gd name="connsiteY18" fmla="*/ 9719 h 10000"/>
              <a:gd name="connsiteX19" fmla="*/ 3447 w 9998"/>
              <a:gd name="connsiteY19" fmla="*/ 9494 h 10000"/>
              <a:gd name="connsiteX20" fmla="*/ 3041 w 9998"/>
              <a:gd name="connsiteY20" fmla="*/ 9382 h 10000"/>
              <a:gd name="connsiteX21" fmla="*/ 2635 w 9998"/>
              <a:gd name="connsiteY21" fmla="*/ 9157 h 10000"/>
              <a:gd name="connsiteX22" fmla="*/ 2431 w 9998"/>
              <a:gd name="connsiteY22" fmla="*/ 9045 h 10000"/>
              <a:gd name="connsiteX23" fmla="*/ 2329 w 9998"/>
              <a:gd name="connsiteY23" fmla="*/ 8820 h 10000"/>
              <a:gd name="connsiteX24" fmla="*/ 2329 w 9998"/>
              <a:gd name="connsiteY24" fmla="*/ 8202 h 10000"/>
              <a:gd name="connsiteX0" fmla="*/ 7618 w 10000"/>
              <a:gd name="connsiteY0" fmla="*/ 5730 h 10000"/>
              <a:gd name="connsiteX1" fmla="*/ 9994 w 10000"/>
              <a:gd name="connsiteY1" fmla="*/ 2828 h 10000"/>
              <a:gd name="connsiteX2" fmla="*/ 4972 w 10000"/>
              <a:gd name="connsiteY2" fmla="*/ 1 h 10000"/>
              <a:gd name="connsiteX3" fmla="*/ 1 w 10000"/>
              <a:gd name="connsiteY3" fmla="*/ 2614 h 10000"/>
              <a:gd name="connsiteX4" fmla="*/ 2329 w 10000"/>
              <a:gd name="connsiteY4" fmla="*/ 5730 h 10000"/>
              <a:gd name="connsiteX5" fmla="*/ 2329 w 10000"/>
              <a:gd name="connsiteY5" fmla="*/ 7191 h 10000"/>
              <a:gd name="connsiteX6" fmla="*/ 7618 w 10000"/>
              <a:gd name="connsiteY6" fmla="*/ 7191 h 10000"/>
              <a:gd name="connsiteX7" fmla="*/ 7618 w 10000"/>
              <a:gd name="connsiteY7" fmla="*/ 8820 h 10000"/>
              <a:gd name="connsiteX8" fmla="*/ 7517 w 10000"/>
              <a:gd name="connsiteY8" fmla="*/ 9045 h 10000"/>
              <a:gd name="connsiteX9" fmla="*/ 7413 w 10000"/>
              <a:gd name="connsiteY9" fmla="*/ 9157 h 10000"/>
              <a:gd name="connsiteX10" fmla="*/ 7007 w 10000"/>
              <a:gd name="connsiteY10" fmla="*/ 9382 h 10000"/>
              <a:gd name="connsiteX11" fmla="*/ 6498 w 10000"/>
              <a:gd name="connsiteY11" fmla="*/ 9494 h 10000"/>
              <a:gd name="connsiteX12" fmla="*/ 6397 w 10000"/>
              <a:gd name="connsiteY12" fmla="*/ 9719 h 10000"/>
              <a:gd name="connsiteX13" fmla="*/ 5991 w 10000"/>
              <a:gd name="connsiteY13" fmla="*/ 9831 h 10000"/>
              <a:gd name="connsiteX14" fmla="*/ 5685 w 10000"/>
              <a:gd name="connsiteY14" fmla="*/ 10000 h 10000"/>
              <a:gd name="connsiteX15" fmla="*/ 4972 w 10000"/>
              <a:gd name="connsiteY15" fmla="*/ 10000 h 10000"/>
              <a:gd name="connsiteX16" fmla="*/ 4364 w 10000"/>
              <a:gd name="connsiteY16" fmla="*/ 10000 h 10000"/>
              <a:gd name="connsiteX17" fmla="*/ 3855 w 10000"/>
              <a:gd name="connsiteY17" fmla="*/ 9831 h 10000"/>
              <a:gd name="connsiteX18" fmla="*/ 3551 w 10000"/>
              <a:gd name="connsiteY18" fmla="*/ 9719 h 10000"/>
              <a:gd name="connsiteX19" fmla="*/ 3448 w 10000"/>
              <a:gd name="connsiteY19" fmla="*/ 9494 h 10000"/>
              <a:gd name="connsiteX20" fmla="*/ 3042 w 10000"/>
              <a:gd name="connsiteY20" fmla="*/ 9382 h 10000"/>
              <a:gd name="connsiteX21" fmla="*/ 2636 w 10000"/>
              <a:gd name="connsiteY21" fmla="*/ 9157 h 10000"/>
              <a:gd name="connsiteX22" fmla="*/ 2431 w 10000"/>
              <a:gd name="connsiteY22" fmla="*/ 9045 h 10000"/>
              <a:gd name="connsiteX23" fmla="*/ 2329 w 10000"/>
              <a:gd name="connsiteY23" fmla="*/ 8820 h 10000"/>
              <a:gd name="connsiteX24" fmla="*/ 2329 w 10000"/>
              <a:gd name="connsiteY24" fmla="*/ 8202 h 10000"/>
              <a:gd name="connsiteX0" fmla="*/ 7618 w 9967"/>
              <a:gd name="connsiteY0" fmla="*/ 5730 h 10000"/>
              <a:gd name="connsiteX1" fmla="*/ 9961 w 9967"/>
              <a:gd name="connsiteY1" fmla="*/ 2622 h 10000"/>
              <a:gd name="connsiteX2" fmla="*/ 4972 w 9967"/>
              <a:gd name="connsiteY2" fmla="*/ 1 h 10000"/>
              <a:gd name="connsiteX3" fmla="*/ 1 w 9967"/>
              <a:gd name="connsiteY3" fmla="*/ 2614 h 10000"/>
              <a:gd name="connsiteX4" fmla="*/ 2329 w 9967"/>
              <a:gd name="connsiteY4" fmla="*/ 5730 h 10000"/>
              <a:gd name="connsiteX5" fmla="*/ 2329 w 9967"/>
              <a:gd name="connsiteY5" fmla="*/ 7191 h 10000"/>
              <a:gd name="connsiteX6" fmla="*/ 7618 w 9967"/>
              <a:gd name="connsiteY6" fmla="*/ 7191 h 10000"/>
              <a:gd name="connsiteX7" fmla="*/ 7618 w 9967"/>
              <a:gd name="connsiteY7" fmla="*/ 8820 h 10000"/>
              <a:gd name="connsiteX8" fmla="*/ 7517 w 9967"/>
              <a:gd name="connsiteY8" fmla="*/ 9045 h 10000"/>
              <a:gd name="connsiteX9" fmla="*/ 7413 w 9967"/>
              <a:gd name="connsiteY9" fmla="*/ 9157 h 10000"/>
              <a:gd name="connsiteX10" fmla="*/ 7007 w 9967"/>
              <a:gd name="connsiteY10" fmla="*/ 9382 h 10000"/>
              <a:gd name="connsiteX11" fmla="*/ 6498 w 9967"/>
              <a:gd name="connsiteY11" fmla="*/ 9494 h 10000"/>
              <a:gd name="connsiteX12" fmla="*/ 6397 w 9967"/>
              <a:gd name="connsiteY12" fmla="*/ 9719 h 10000"/>
              <a:gd name="connsiteX13" fmla="*/ 5991 w 9967"/>
              <a:gd name="connsiteY13" fmla="*/ 9831 h 10000"/>
              <a:gd name="connsiteX14" fmla="*/ 5685 w 9967"/>
              <a:gd name="connsiteY14" fmla="*/ 10000 h 10000"/>
              <a:gd name="connsiteX15" fmla="*/ 4972 w 9967"/>
              <a:gd name="connsiteY15" fmla="*/ 10000 h 10000"/>
              <a:gd name="connsiteX16" fmla="*/ 4364 w 9967"/>
              <a:gd name="connsiteY16" fmla="*/ 10000 h 10000"/>
              <a:gd name="connsiteX17" fmla="*/ 3855 w 9967"/>
              <a:gd name="connsiteY17" fmla="*/ 9831 h 10000"/>
              <a:gd name="connsiteX18" fmla="*/ 3551 w 9967"/>
              <a:gd name="connsiteY18" fmla="*/ 9719 h 10000"/>
              <a:gd name="connsiteX19" fmla="*/ 3448 w 9967"/>
              <a:gd name="connsiteY19" fmla="*/ 9494 h 10000"/>
              <a:gd name="connsiteX20" fmla="*/ 3042 w 9967"/>
              <a:gd name="connsiteY20" fmla="*/ 9382 h 10000"/>
              <a:gd name="connsiteX21" fmla="*/ 2636 w 9967"/>
              <a:gd name="connsiteY21" fmla="*/ 9157 h 10000"/>
              <a:gd name="connsiteX22" fmla="*/ 2431 w 9967"/>
              <a:gd name="connsiteY22" fmla="*/ 9045 h 10000"/>
              <a:gd name="connsiteX23" fmla="*/ 2329 w 9967"/>
              <a:gd name="connsiteY23" fmla="*/ 8820 h 10000"/>
              <a:gd name="connsiteX24" fmla="*/ 2329 w 9967"/>
              <a:gd name="connsiteY24" fmla="*/ 8202 h 10000"/>
              <a:gd name="connsiteX0" fmla="*/ 7643 w 9994"/>
              <a:gd name="connsiteY0" fmla="*/ 5730 h 10000"/>
              <a:gd name="connsiteX1" fmla="*/ 9994 w 9994"/>
              <a:gd name="connsiteY1" fmla="*/ 2622 h 10000"/>
              <a:gd name="connsiteX2" fmla="*/ 4988 w 9994"/>
              <a:gd name="connsiteY2" fmla="*/ 1 h 10000"/>
              <a:gd name="connsiteX3" fmla="*/ 1 w 9994"/>
              <a:gd name="connsiteY3" fmla="*/ 2614 h 10000"/>
              <a:gd name="connsiteX4" fmla="*/ 2337 w 9994"/>
              <a:gd name="connsiteY4" fmla="*/ 5730 h 10000"/>
              <a:gd name="connsiteX5" fmla="*/ 2337 w 9994"/>
              <a:gd name="connsiteY5" fmla="*/ 7191 h 10000"/>
              <a:gd name="connsiteX6" fmla="*/ 7643 w 9994"/>
              <a:gd name="connsiteY6" fmla="*/ 7191 h 10000"/>
              <a:gd name="connsiteX7" fmla="*/ 7643 w 9994"/>
              <a:gd name="connsiteY7" fmla="*/ 8820 h 10000"/>
              <a:gd name="connsiteX8" fmla="*/ 7542 w 9994"/>
              <a:gd name="connsiteY8" fmla="*/ 9045 h 10000"/>
              <a:gd name="connsiteX9" fmla="*/ 7438 w 9994"/>
              <a:gd name="connsiteY9" fmla="*/ 9157 h 10000"/>
              <a:gd name="connsiteX10" fmla="*/ 7030 w 9994"/>
              <a:gd name="connsiteY10" fmla="*/ 9382 h 10000"/>
              <a:gd name="connsiteX11" fmla="*/ 6520 w 9994"/>
              <a:gd name="connsiteY11" fmla="*/ 9494 h 10000"/>
              <a:gd name="connsiteX12" fmla="*/ 6418 w 9994"/>
              <a:gd name="connsiteY12" fmla="*/ 9719 h 10000"/>
              <a:gd name="connsiteX13" fmla="*/ 6011 w 9994"/>
              <a:gd name="connsiteY13" fmla="*/ 9831 h 10000"/>
              <a:gd name="connsiteX14" fmla="*/ 5704 w 9994"/>
              <a:gd name="connsiteY14" fmla="*/ 10000 h 10000"/>
              <a:gd name="connsiteX15" fmla="*/ 4988 w 9994"/>
              <a:gd name="connsiteY15" fmla="*/ 10000 h 10000"/>
              <a:gd name="connsiteX16" fmla="*/ 4378 w 9994"/>
              <a:gd name="connsiteY16" fmla="*/ 10000 h 10000"/>
              <a:gd name="connsiteX17" fmla="*/ 3868 w 9994"/>
              <a:gd name="connsiteY17" fmla="*/ 9831 h 10000"/>
              <a:gd name="connsiteX18" fmla="*/ 3563 w 9994"/>
              <a:gd name="connsiteY18" fmla="*/ 9719 h 10000"/>
              <a:gd name="connsiteX19" fmla="*/ 3459 w 9994"/>
              <a:gd name="connsiteY19" fmla="*/ 9494 h 10000"/>
              <a:gd name="connsiteX20" fmla="*/ 3052 w 9994"/>
              <a:gd name="connsiteY20" fmla="*/ 9382 h 10000"/>
              <a:gd name="connsiteX21" fmla="*/ 2645 w 9994"/>
              <a:gd name="connsiteY21" fmla="*/ 9157 h 10000"/>
              <a:gd name="connsiteX22" fmla="*/ 2439 w 9994"/>
              <a:gd name="connsiteY22" fmla="*/ 9045 h 10000"/>
              <a:gd name="connsiteX23" fmla="*/ 2337 w 9994"/>
              <a:gd name="connsiteY23" fmla="*/ 8820 h 10000"/>
              <a:gd name="connsiteX24" fmla="*/ 2337 w 9994"/>
              <a:gd name="connsiteY24" fmla="*/ 820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94" h="10000">
                <a:moveTo>
                  <a:pt x="7643" y="5730"/>
                </a:moveTo>
                <a:cubicBezTo>
                  <a:pt x="7589" y="4431"/>
                  <a:pt x="10049" y="4661"/>
                  <a:pt x="9994" y="2622"/>
                </a:cubicBezTo>
                <a:cubicBezTo>
                  <a:pt x="9939" y="583"/>
                  <a:pt x="6654" y="2"/>
                  <a:pt x="4988" y="1"/>
                </a:cubicBezTo>
                <a:cubicBezTo>
                  <a:pt x="3323" y="0"/>
                  <a:pt x="-43" y="693"/>
                  <a:pt x="1" y="2614"/>
                </a:cubicBezTo>
                <a:cubicBezTo>
                  <a:pt x="45" y="4535"/>
                  <a:pt x="2344" y="4799"/>
                  <a:pt x="2337" y="5730"/>
                </a:cubicBezTo>
                <a:lnTo>
                  <a:pt x="2337" y="7191"/>
                </a:lnTo>
                <a:lnTo>
                  <a:pt x="7643" y="7191"/>
                </a:lnTo>
                <a:lnTo>
                  <a:pt x="7643" y="8820"/>
                </a:lnTo>
                <a:cubicBezTo>
                  <a:pt x="7608" y="8895"/>
                  <a:pt x="7575" y="8970"/>
                  <a:pt x="7542" y="9045"/>
                </a:cubicBezTo>
                <a:cubicBezTo>
                  <a:pt x="7505" y="9082"/>
                  <a:pt x="7473" y="9120"/>
                  <a:pt x="7438" y="9157"/>
                </a:cubicBezTo>
                <a:lnTo>
                  <a:pt x="7030" y="9382"/>
                </a:lnTo>
                <a:lnTo>
                  <a:pt x="6520" y="9494"/>
                </a:lnTo>
                <a:lnTo>
                  <a:pt x="6418" y="9719"/>
                </a:lnTo>
                <a:lnTo>
                  <a:pt x="6011" y="9831"/>
                </a:lnTo>
                <a:lnTo>
                  <a:pt x="5704" y="10000"/>
                </a:lnTo>
                <a:lnTo>
                  <a:pt x="4988" y="10000"/>
                </a:lnTo>
                <a:lnTo>
                  <a:pt x="4378" y="10000"/>
                </a:lnTo>
                <a:lnTo>
                  <a:pt x="3868" y="9831"/>
                </a:lnTo>
                <a:lnTo>
                  <a:pt x="3563" y="9719"/>
                </a:lnTo>
                <a:cubicBezTo>
                  <a:pt x="3528" y="9644"/>
                  <a:pt x="3496" y="9569"/>
                  <a:pt x="3459" y="9494"/>
                </a:cubicBezTo>
                <a:lnTo>
                  <a:pt x="3052" y="9382"/>
                </a:lnTo>
                <a:lnTo>
                  <a:pt x="2645" y="9157"/>
                </a:lnTo>
                <a:lnTo>
                  <a:pt x="2439" y="9045"/>
                </a:lnTo>
                <a:cubicBezTo>
                  <a:pt x="2407" y="8970"/>
                  <a:pt x="2373" y="8895"/>
                  <a:pt x="2337" y="8820"/>
                </a:cubicBezTo>
                <a:lnTo>
                  <a:pt x="2337" y="8202"/>
                </a:lnTo>
              </a:path>
            </a:pathLst>
          </a:custGeom>
          <a:solidFill>
            <a:srgbClr val="FBBA00"/>
          </a:solidFill>
          <a:ln w="19050" cmpd="sng">
            <a:solidFill>
              <a:schemeClr val="bg1"/>
            </a:solidFill>
            <a:prstDash val="solid"/>
            <a:round/>
            <a:headEnd/>
            <a:tailEnd/>
          </a:ln>
        </p:spPr>
        <p:txBody>
          <a:bodyPr/>
          <a:lstStyle/>
          <a:p>
            <a:endParaRPr lang="de-DE" dirty="0"/>
          </a:p>
        </p:txBody>
      </p:sp>
      <p:sp>
        <p:nvSpPr>
          <p:cNvPr id="16" name="Line 1242">
            <a:extLst>
              <a:ext uri="{FF2B5EF4-FFF2-40B4-BE49-F238E27FC236}">
                <a16:creationId xmlns:a16="http://schemas.microsoft.com/office/drawing/2014/main" id="{62A280C1-B0D1-2712-7553-CF6CCE734DE5}"/>
              </a:ext>
            </a:extLst>
          </p:cNvPr>
          <p:cNvSpPr>
            <a:spLocks noChangeShapeType="1"/>
          </p:cNvSpPr>
          <p:nvPr/>
        </p:nvSpPr>
        <p:spPr bwMode="auto">
          <a:xfrm flipH="1" flipV="1">
            <a:off x="4836660" y="5408478"/>
            <a:ext cx="0" cy="55964"/>
          </a:xfrm>
          <a:prstGeom prst="line">
            <a:avLst/>
          </a:prstGeom>
          <a:solidFill>
            <a:srgbClr val="FBBA00"/>
          </a:solidFill>
          <a:ln w="19050" cmpd="sng">
            <a:solidFill>
              <a:schemeClr val="bg1"/>
            </a:solidFill>
            <a:round/>
            <a:headEnd/>
            <a:tailEnd/>
          </a:ln>
        </p:spPr>
        <p:txBody>
          <a:bodyPr/>
          <a:lstStyle/>
          <a:p>
            <a:endParaRPr lang="de-DE" dirty="0"/>
          </a:p>
        </p:txBody>
      </p:sp>
      <p:sp>
        <p:nvSpPr>
          <p:cNvPr id="17" name="Line 1243">
            <a:extLst>
              <a:ext uri="{FF2B5EF4-FFF2-40B4-BE49-F238E27FC236}">
                <a16:creationId xmlns:a16="http://schemas.microsoft.com/office/drawing/2014/main" id="{C773D66B-E5AE-E8F8-F0CB-D355F37E4D37}"/>
              </a:ext>
            </a:extLst>
          </p:cNvPr>
          <p:cNvSpPr>
            <a:spLocks noChangeShapeType="1"/>
          </p:cNvSpPr>
          <p:nvPr/>
        </p:nvSpPr>
        <p:spPr bwMode="auto">
          <a:xfrm flipV="1">
            <a:off x="4920938" y="5486830"/>
            <a:ext cx="47922" cy="27982"/>
          </a:xfrm>
          <a:prstGeom prst="line">
            <a:avLst/>
          </a:prstGeom>
          <a:solidFill>
            <a:srgbClr val="FBBA00"/>
          </a:solidFill>
          <a:ln w="19050" cmpd="sng">
            <a:solidFill>
              <a:schemeClr val="bg1"/>
            </a:solidFill>
            <a:round/>
            <a:headEnd/>
            <a:tailEnd/>
          </a:ln>
        </p:spPr>
        <p:txBody>
          <a:bodyPr/>
          <a:lstStyle/>
          <a:p>
            <a:endParaRPr lang="de-DE" dirty="0"/>
          </a:p>
        </p:txBody>
      </p:sp>
      <p:sp>
        <p:nvSpPr>
          <p:cNvPr id="18" name="Line 1244">
            <a:extLst>
              <a:ext uri="{FF2B5EF4-FFF2-40B4-BE49-F238E27FC236}">
                <a16:creationId xmlns:a16="http://schemas.microsoft.com/office/drawing/2014/main" id="{EDFC2C49-B215-C208-8321-5318AFB03762}"/>
              </a:ext>
            </a:extLst>
          </p:cNvPr>
          <p:cNvSpPr>
            <a:spLocks noChangeShapeType="1"/>
          </p:cNvSpPr>
          <p:nvPr/>
        </p:nvSpPr>
        <p:spPr bwMode="auto">
          <a:xfrm>
            <a:off x="4923757" y="5618345"/>
            <a:ext cx="50740" cy="27982"/>
          </a:xfrm>
          <a:prstGeom prst="line">
            <a:avLst/>
          </a:prstGeom>
          <a:solidFill>
            <a:srgbClr val="FBBA00"/>
          </a:solidFill>
          <a:ln w="19050" cmpd="sng">
            <a:solidFill>
              <a:schemeClr val="bg1"/>
            </a:solidFill>
            <a:round/>
            <a:headEnd/>
            <a:tailEnd/>
          </a:ln>
        </p:spPr>
        <p:txBody>
          <a:bodyPr/>
          <a:lstStyle/>
          <a:p>
            <a:endParaRPr lang="de-DE" dirty="0"/>
          </a:p>
        </p:txBody>
      </p:sp>
      <p:sp>
        <p:nvSpPr>
          <p:cNvPr id="19" name="Line 1245">
            <a:extLst>
              <a:ext uri="{FF2B5EF4-FFF2-40B4-BE49-F238E27FC236}">
                <a16:creationId xmlns:a16="http://schemas.microsoft.com/office/drawing/2014/main" id="{79FB8149-FD73-C760-A9DB-32C4EDBE815F}"/>
              </a:ext>
            </a:extLst>
          </p:cNvPr>
          <p:cNvSpPr>
            <a:spLocks noChangeShapeType="1"/>
          </p:cNvSpPr>
          <p:nvPr/>
        </p:nvSpPr>
        <p:spPr bwMode="auto">
          <a:xfrm flipH="1">
            <a:off x="4692605" y="5623942"/>
            <a:ext cx="47922" cy="27982"/>
          </a:xfrm>
          <a:prstGeom prst="line">
            <a:avLst/>
          </a:prstGeom>
          <a:solidFill>
            <a:srgbClr val="FBBA00"/>
          </a:solidFill>
          <a:ln w="19050" cmpd="sng">
            <a:solidFill>
              <a:schemeClr val="bg1"/>
            </a:solidFill>
            <a:round/>
            <a:headEnd/>
            <a:tailEnd/>
          </a:ln>
        </p:spPr>
        <p:txBody>
          <a:bodyPr/>
          <a:lstStyle/>
          <a:p>
            <a:endParaRPr lang="de-DE" dirty="0"/>
          </a:p>
        </p:txBody>
      </p:sp>
      <p:sp>
        <p:nvSpPr>
          <p:cNvPr id="20" name="Line 1246">
            <a:extLst>
              <a:ext uri="{FF2B5EF4-FFF2-40B4-BE49-F238E27FC236}">
                <a16:creationId xmlns:a16="http://schemas.microsoft.com/office/drawing/2014/main" id="{D88B4F57-7A97-ECCE-F2D7-B06AFF84E085}"/>
              </a:ext>
            </a:extLst>
          </p:cNvPr>
          <p:cNvSpPr>
            <a:spLocks noChangeShapeType="1"/>
          </p:cNvSpPr>
          <p:nvPr/>
        </p:nvSpPr>
        <p:spPr bwMode="auto">
          <a:xfrm flipH="1" flipV="1">
            <a:off x="4689789" y="5492424"/>
            <a:ext cx="50740" cy="25185"/>
          </a:xfrm>
          <a:prstGeom prst="line">
            <a:avLst/>
          </a:prstGeom>
          <a:solidFill>
            <a:srgbClr val="FBBA00"/>
          </a:solidFill>
          <a:ln w="19050" cmpd="sng">
            <a:solidFill>
              <a:schemeClr val="bg1"/>
            </a:solidFill>
            <a:round/>
            <a:headEnd/>
            <a:tailEnd/>
          </a:ln>
        </p:spPr>
        <p:txBody>
          <a:bodyPr/>
          <a:lstStyle/>
          <a:p>
            <a:endParaRPr lang="de-DE" dirty="0"/>
          </a:p>
        </p:txBody>
      </p:sp>
    </p:spTree>
    <p:extLst>
      <p:ext uri="{BB962C8B-B14F-4D97-AF65-F5344CB8AC3E}">
        <p14:creationId xmlns:p14="http://schemas.microsoft.com/office/powerpoint/2010/main" val="1117442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A1676B-8F18-CF2A-81A1-55DA58AF320E}"/>
            </a:ext>
          </a:extLst>
        </p:cNvPr>
        <p:cNvGrpSpPr/>
        <p:nvPr/>
      </p:nvGrpSpPr>
      <p:grpSpPr>
        <a:xfrm>
          <a:off x="0" y="0"/>
          <a:ext cx="0" cy="0"/>
          <a:chOff x="0" y="0"/>
          <a:chExt cx="0" cy="0"/>
        </a:xfrm>
      </p:grpSpPr>
      <p:sp>
        <p:nvSpPr>
          <p:cNvPr id="55" name="Slide Number Placeholder 5">
            <a:extLst>
              <a:ext uri="{FF2B5EF4-FFF2-40B4-BE49-F238E27FC236}">
                <a16:creationId xmlns:a16="http://schemas.microsoft.com/office/drawing/2014/main" id="{1F8C078A-2F0E-7B64-654C-43855AD62226}"/>
              </a:ext>
            </a:extLst>
          </p:cNvPr>
          <p:cNvSpPr txBox="1">
            <a:spLocks/>
          </p:cNvSpPr>
          <p:nvPr>
            <p:custDataLst>
              <p:tags r:id="rId1"/>
            </p:custDataLst>
          </p:nvPr>
        </p:nvSpPr>
        <p:spPr>
          <a:xfrm>
            <a:off x="896416" y="7855507"/>
            <a:ext cx="283900" cy="151200"/>
          </a:xfrm>
          <a:prstGeom prst="rect">
            <a:avLst/>
          </a:prstGeom>
        </p:spPr>
        <p:txBody>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lang="en-GB" dirty="0"/>
          </a:p>
        </p:txBody>
      </p:sp>
      <p:sp>
        <p:nvSpPr>
          <p:cNvPr id="5" name="TextBox 1">
            <a:extLst>
              <a:ext uri="{FF2B5EF4-FFF2-40B4-BE49-F238E27FC236}">
                <a16:creationId xmlns:a16="http://schemas.microsoft.com/office/drawing/2014/main" id="{86E92156-7D21-F94D-DC27-BE4BBA3ED193}"/>
              </a:ext>
            </a:extLst>
          </p:cNvPr>
          <p:cNvSpPr txBox="1"/>
          <p:nvPr/>
        </p:nvSpPr>
        <p:spPr>
          <a:xfrm>
            <a:off x="1670424" y="1084321"/>
            <a:ext cx="9324678"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Abfind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Pensionszusage</a:t>
            </a:r>
            <a:endPar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endParaRPr>
          </a:p>
        </p:txBody>
      </p:sp>
      <p:sp>
        <p:nvSpPr>
          <p:cNvPr id="21" name="Oval 205">
            <a:extLst>
              <a:ext uri="{FF2B5EF4-FFF2-40B4-BE49-F238E27FC236}">
                <a16:creationId xmlns:a16="http://schemas.microsoft.com/office/drawing/2014/main" id="{5F9FB4DF-99CC-435E-07BA-D3C95F23E471}"/>
              </a:ext>
            </a:extLst>
          </p:cNvPr>
          <p:cNvSpPr/>
          <p:nvPr/>
        </p:nvSpPr>
        <p:spPr>
          <a:xfrm>
            <a:off x="1077559" y="2372792"/>
            <a:ext cx="506575" cy="506575"/>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sp>
        <p:nvSpPr>
          <p:cNvPr id="22" name="Freeform 1240">
            <a:extLst>
              <a:ext uri="{FF2B5EF4-FFF2-40B4-BE49-F238E27FC236}">
                <a16:creationId xmlns:a16="http://schemas.microsoft.com/office/drawing/2014/main" id="{5EDB3C9F-23FD-5299-2250-846E1F7FC7CC}"/>
              </a:ext>
            </a:extLst>
          </p:cNvPr>
          <p:cNvSpPr>
            <a:spLocks/>
          </p:cNvSpPr>
          <p:nvPr/>
        </p:nvSpPr>
        <p:spPr bwMode="auto">
          <a:xfrm rot="10800000" flipV="1">
            <a:off x="1259881" y="2515364"/>
            <a:ext cx="145365" cy="259772"/>
          </a:xfrm>
          <a:custGeom>
            <a:avLst/>
            <a:gdLst>
              <a:gd name="T0" fmla="*/ 135563 w 109"/>
              <a:gd name="T1" fmla="*/ 171269 h 178"/>
              <a:gd name="T2" fmla="*/ 155898 w 109"/>
              <a:gd name="T3" fmla="*/ 157836 h 178"/>
              <a:gd name="T4" fmla="*/ 171149 w 109"/>
              <a:gd name="T5" fmla="*/ 139366 h 178"/>
              <a:gd name="T6" fmla="*/ 181316 w 109"/>
              <a:gd name="T7" fmla="*/ 115858 h 178"/>
              <a:gd name="T8" fmla="*/ 184705 w 109"/>
              <a:gd name="T9" fmla="*/ 88993 h 178"/>
              <a:gd name="T10" fmla="*/ 183010 w 109"/>
              <a:gd name="T11" fmla="*/ 70522 h 178"/>
              <a:gd name="T12" fmla="*/ 169454 w 109"/>
              <a:gd name="T13" fmla="*/ 38619 h 178"/>
              <a:gd name="T14" fmla="*/ 144036 w 109"/>
              <a:gd name="T15" fmla="*/ 13433 h 178"/>
              <a:gd name="T16" fmla="*/ 110145 w 109"/>
              <a:gd name="T17" fmla="*/ 0 h 178"/>
              <a:gd name="T18" fmla="*/ 91505 w 109"/>
              <a:gd name="T19" fmla="*/ 0 h 178"/>
              <a:gd name="T20" fmla="*/ 54225 w 109"/>
              <a:gd name="T21" fmla="*/ 5037 h 178"/>
              <a:gd name="T22" fmla="*/ 25418 w 109"/>
              <a:gd name="T23" fmla="*/ 25187 h 178"/>
              <a:gd name="T24" fmla="*/ 5084 w 109"/>
              <a:gd name="T25" fmla="*/ 55411 h 178"/>
              <a:gd name="T26" fmla="*/ 0 w 109"/>
              <a:gd name="T27" fmla="*/ 88993 h 178"/>
              <a:gd name="T28" fmla="*/ 0 w 109"/>
              <a:gd name="T29" fmla="*/ 104105 h 178"/>
              <a:gd name="T30" fmla="*/ 6778 w 109"/>
              <a:gd name="T31" fmla="*/ 125933 h 178"/>
              <a:gd name="T32" fmla="*/ 20334 w 109"/>
              <a:gd name="T33" fmla="*/ 146082 h 178"/>
              <a:gd name="T34" fmla="*/ 35585 w 109"/>
              <a:gd name="T35" fmla="*/ 164552 h 178"/>
              <a:gd name="T36" fmla="*/ 47447 w 109"/>
              <a:gd name="T37" fmla="*/ 214926 h 178"/>
              <a:gd name="T38" fmla="*/ 135563 w 109"/>
              <a:gd name="T39" fmla="*/ 263620 h 178"/>
              <a:gd name="T40" fmla="*/ 133869 w 109"/>
              <a:gd name="T41" fmla="*/ 270336 h 178"/>
              <a:gd name="T42" fmla="*/ 125396 w 109"/>
              <a:gd name="T43" fmla="*/ 280411 h 178"/>
              <a:gd name="T44" fmla="*/ 116923 w 109"/>
              <a:gd name="T45" fmla="*/ 283769 h 178"/>
              <a:gd name="T46" fmla="*/ 116923 w 109"/>
              <a:gd name="T47" fmla="*/ 283769 h 178"/>
              <a:gd name="T48" fmla="*/ 108451 w 109"/>
              <a:gd name="T49" fmla="*/ 293844 h 178"/>
              <a:gd name="T50" fmla="*/ 91505 w 109"/>
              <a:gd name="T51" fmla="*/ 298881 h 178"/>
              <a:gd name="T52" fmla="*/ 81338 w 109"/>
              <a:gd name="T53" fmla="*/ 298881 h 178"/>
              <a:gd name="T54" fmla="*/ 67782 w 109"/>
              <a:gd name="T55" fmla="*/ 290485 h 178"/>
              <a:gd name="T56" fmla="*/ 66087 w 109"/>
              <a:gd name="T57" fmla="*/ 283769 h 178"/>
              <a:gd name="T58" fmla="*/ 66087 w 109"/>
              <a:gd name="T59" fmla="*/ 283769 h 178"/>
              <a:gd name="T60" fmla="*/ 52531 w 109"/>
              <a:gd name="T61" fmla="*/ 273694 h 178"/>
              <a:gd name="T62" fmla="*/ 47447 w 109"/>
              <a:gd name="T63" fmla="*/ 263620 h 17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9"/>
              <a:gd name="T97" fmla="*/ 0 h 178"/>
              <a:gd name="T98" fmla="*/ 109 w 109"/>
              <a:gd name="T99" fmla="*/ 178 h 178"/>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9266 w 10000"/>
              <a:gd name="connsiteY5" fmla="*/ 4663 h 10000"/>
              <a:gd name="connsiteX6" fmla="*/ 9541 w 10000"/>
              <a:gd name="connsiteY6" fmla="*/ 4213 h 10000"/>
              <a:gd name="connsiteX7" fmla="*/ 9817 w 10000"/>
              <a:gd name="connsiteY7" fmla="*/ 3876 h 10000"/>
              <a:gd name="connsiteX8" fmla="*/ 9908 w 10000"/>
              <a:gd name="connsiteY8" fmla="*/ 3483 h 10000"/>
              <a:gd name="connsiteX9" fmla="*/ 10000 w 10000"/>
              <a:gd name="connsiteY9" fmla="*/ 2978 h 10000"/>
              <a:gd name="connsiteX10" fmla="*/ 9908 w 10000"/>
              <a:gd name="connsiteY10" fmla="*/ 2360 h 10000"/>
              <a:gd name="connsiteX11" fmla="*/ 9541 w 10000"/>
              <a:gd name="connsiteY11" fmla="*/ 1854 h 10000"/>
              <a:gd name="connsiteX12" fmla="*/ 9174 w 10000"/>
              <a:gd name="connsiteY12" fmla="*/ 1292 h 10000"/>
              <a:gd name="connsiteX13" fmla="*/ 8440 w 10000"/>
              <a:gd name="connsiteY13" fmla="*/ 843 h 10000"/>
              <a:gd name="connsiteX14" fmla="*/ 7798 w 10000"/>
              <a:gd name="connsiteY14" fmla="*/ 449 h 10000"/>
              <a:gd name="connsiteX15" fmla="*/ 6881 w 10000"/>
              <a:gd name="connsiteY15" fmla="*/ 169 h 10000"/>
              <a:gd name="connsiteX16" fmla="*/ 5963 w 10000"/>
              <a:gd name="connsiteY16" fmla="*/ 0 h 10000"/>
              <a:gd name="connsiteX17" fmla="*/ 4954 w 10000"/>
              <a:gd name="connsiteY17" fmla="*/ 0 h 10000"/>
              <a:gd name="connsiteX18" fmla="*/ 3945 w 10000"/>
              <a:gd name="connsiteY18" fmla="*/ 0 h 10000"/>
              <a:gd name="connsiteX19" fmla="*/ 2936 w 10000"/>
              <a:gd name="connsiteY19" fmla="*/ 169 h 10000"/>
              <a:gd name="connsiteX20" fmla="*/ 2202 w 10000"/>
              <a:gd name="connsiteY20" fmla="*/ 449 h 10000"/>
              <a:gd name="connsiteX21" fmla="*/ 1376 w 10000"/>
              <a:gd name="connsiteY21" fmla="*/ 843 h 10000"/>
              <a:gd name="connsiteX22" fmla="*/ 826 w 10000"/>
              <a:gd name="connsiteY22" fmla="*/ 1292 h 10000"/>
              <a:gd name="connsiteX23" fmla="*/ 275 w 10000"/>
              <a:gd name="connsiteY23" fmla="*/ 1854 h 10000"/>
              <a:gd name="connsiteX24" fmla="*/ 92 w 10000"/>
              <a:gd name="connsiteY24" fmla="*/ 2360 h 10000"/>
              <a:gd name="connsiteX25" fmla="*/ 0 w 10000"/>
              <a:gd name="connsiteY25" fmla="*/ 2978 h 10000"/>
              <a:gd name="connsiteX26" fmla="*/ 0 w 10000"/>
              <a:gd name="connsiteY26" fmla="*/ 3483 h 10000"/>
              <a:gd name="connsiteX27" fmla="*/ 183 w 10000"/>
              <a:gd name="connsiteY27" fmla="*/ 3876 h 10000"/>
              <a:gd name="connsiteX28" fmla="*/ 367 w 10000"/>
              <a:gd name="connsiteY28" fmla="*/ 4213 h 10000"/>
              <a:gd name="connsiteX29" fmla="*/ 642 w 10000"/>
              <a:gd name="connsiteY29" fmla="*/ 4663 h 10000"/>
              <a:gd name="connsiteX30" fmla="*/ 1101 w 10000"/>
              <a:gd name="connsiteY30" fmla="*/ 4888 h 10000"/>
              <a:gd name="connsiteX31" fmla="*/ 1560 w 10000"/>
              <a:gd name="connsiteY31" fmla="*/ 5281 h 10000"/>
              <a:gd name="connsiteX32" fmla="*/ 1927 w 10000"/>
              <a:gd name="connsiteY32" fmla="*/ 5506 h 10000"/>
              <a:gd name="connsiteX33" fmla="*/ 2569 w 10000"/>
              <a:gd name="connsiteY33" fmla="*/ 5730 h 10000"/>
              <a:gd name="connsiteX34" fmla="*/ 2569 w 10000"/>
              <a:gd name="connsiteY34" fmla="*/ 7191 h 10000"/>
              <a:gd name="connsiteX35" fmla="*/ 7339 w 10000"/>
              <a:gd name="connsiteY35" fmla="*/ 7191 h 10000"/>
              <a:gd name="connsiteX36" fmla="*/ 7339 w 10000"/>
              <a:gd name="connsiteY36" fmla="*/ 8820 h 10000"/>
              <a:gd name="connsiteX37" fmla="*/ 7248 w 10000"/>
              <a:gd name="connsiteY37" fmla="*/ 9045 h 10000"/>
              <a:gd name="connsiteX38" fmla="*/ 7156 w 10000"/>
              <a:gd name="connsiteY38" fmla="*/ 9157 h 10000"/>
              <a:gd name="connsiteX39" fmla="*/ 6789 w 10000"/>
              <a:gd name="connsiteY39" fmla="*/ 9382 h 10000"/>
              <a:gd name="connsiteX40" fmla="*/ 6330 w 10000"/>
              <a:gd name="connsiteY40" fmla="*/ 9494 h 10000"/>
              <a:gd name="connsiteX41" fmla="*/ 6239 w 10000"/>
              <a:gd name="connsiteY41" fmla="*/ 9719 h 10000"/>
              <a:gd name="connsiteX42" fmla="*/ 5872 w 10000"/>
              <a:gd name="connsiteY42" fmla="*/ 9831 h 10000"/>
              <a:gd name="connsiteX43" fmla="*/ 5596 w 10000"/>
              <a:gd name="connsiteY43" fmla="*/ 10000 h 10000"/>
              <a:gd name="connsiteX44" fmla="*/ 4954 w 10000"/>
              <a:gd name="connsiteY44" fmla="*/ 10000 h 10000"/>
              <a:gd name="connsiteX45" fmla="*/ 4404 w 10000"/>
              <a:gd name="connsiteY45" fmla="*/ 10000 h 10000"/>
              <a:gd name="connsiteX46" fmla="*/ 3945 w 10000"/>
              <a:gd name="connsiteY46" fmla="*/ 9831 h 10000"/>
              <a:gd name="connsiteX47" fmla="*/ 3670 w 10000"/>
              <a:gd name="connsiteY47" fmla="*/ 9719 h 10000"/>
              <a:gd name="connsiteX48" fmla="*/ 3578 w 10000"/>
              <a:gd name="connsiteY48" fmla="*/ 9494 h 10000"/>
              <a:gd name="connsiteX49" fmla="*/ 3211 w 10000"/>
              <a:gd name="connsiteY49" fmla="*/ 9382 h 10000"/>
              <a:gd name="connsiteX50" fmla="*/ 2844 w 10000"/>
              <a:gd name="connsiteY50" fmla="*/ 9157 h 10000"/>
              <a:gd name="connsiteX51" fmla="*/ 2661 w 10000"/>
              <a:gd name="connsiteY51" fmla="*/ 9045 h 10000"/>
              <a:gd name="connsiteX52" fmla="*/ 2569 w 10000"/>
              <a:gd name="connsiteY52" fmla="*/ 8820 h 10000"/>
              <a:gd name="connsiteX53" fmla="*/ 2569 w 10000"/>
              <a:gd name="connsiteY53"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9266 w 10000"/>
              <a:gd name="connsiteY5" fmla="*/ 4663 h 10000"/>
              <a:gd name="connsiteX6" fmla="*/ 9541 w 10000"/>
              <a:gd name="connsiteY6" fmla="*/ 4213 h 10000"/>
              <a:gd name="connsiteX7" fmla="*/ 9817 w 10000"/>
              <a:gd name="connsiteY7" fmla="*/ 3876 h 10000"/>
              <a:gd name="connsiteX8" fmla="*/ 10000 w 10000"/>
              <a:gd name="connsiteY8" fmla="*/ 2978 h 10000"/>
              <a:gd name="connsiteX9" fmla="*/ 9908 w 10000"/>
              <a:gd name="connsiteY9" fmla="*/ 2360 h 10000"/>
              <a:gd name="connsiteX10" fmla="*/ 9541 w 10000"/>
              <a:gd name="connsiteY10" fmla="*/ 1854 h 10000"/>
              <a:gd name="connsiteX11" fmla="*/ 9174 w 10000"/>
              <a:gd name="connsiteY11" fmla="*/ 1292 h 10000"/>
              <a:gd name="connsiteX12" fmla="*/ 8440 w 10000"/>
              <a:gd name="connsiteY12" fmla="*/ 843 h 10000"/>
              <a:gd name="connsiteX13" fmla="*/ 7798 w 10000"/>
              <a:gd name="connsiteY13" fmla="*/ 449 h 10000"/>
              <a:gd name="connsiteX14" fmla="*/ 6881 w 10000"/>
              <a:gd name="connsiteY14" fmla="*/ 169 h 10000"/>
              <a:gd name="connsiteX15" fmla="*/ 5963 w 10000"/>
              <a:gd name="connsiteY15" fmla="*/ 0 h 10000"/>
              <a:gd name="connsiteX16" fmla="*/ 4954 w 10000"/>
              <a:gd name="connsiteY16" fmla="*/ 0 h 10000"/>
              <a:gd name="connsiteX17" fmla="*/ 3945 w 10000"/>
              <a:gd name="connsiteY17" fmla="*/ 0 h 10000"/>
              <a:gd name="connsiteX18" fmla="*/ 2936 w 10000"/>
              <a:gd name="connsiteY18" fmla="*/ 169 h 10000"/>
              <a:gd name="connsiteX19" fmla="*/ 2202 w 10000"/>
              <a:gd name="connsiteY19" fmla="*/ 449 h 10000"/>
              <a:gd name="connsiteX20" fmla="*/ 1376 w 10000"/>
              <a:gd name="connsiteY20" fmla="*/ 843 h 10000"/>
              <a:gd name="connsiteX21" fmla="*/ 826 w 10000"/>
              <a:gd name="connsiteY21" fmla="*/ 1292 h 10000"/>
              <a:gd name="connsiteX22" fmla="*/ 275 w 10000"/>
              <a:gd name="connsiteY22" fmla="*/ 1854 h 10000"/>
              <a:gd name="connsiteX23" fmla="*/ 92 w 10000"/>
              <a:gd name="connsiteY23" fmla="*/ 2360 h 10000"/>
              <a:gd name="connsiteX24" fmla="*/ 0 w 10000"/>
              <a:gd name="connsiteY24" fmla="*/ 2978 h 10000"/>
              <a:gd name="connsiteX25" fmla="*/ 0 w 10000"/>
              <a:gd name="connsiteY25" fmla="*/ 3483 h 10000"/>
              <a:gd name="connsiteX26" fmla="*/ 183 w 10000"/>
              <a:gd name="connsiteY26" fmla="*/ 3876 h 10000"/>
              <a:gd name="connsiteX27" fmla="*/ 367 w 10000"/>
              <a:gd name="connsiteY27" fmla="*/ 4213 h 10000"/>
              <a:gd name="connsiteX28" fmla="*/ 642 w 10000"/>
              <a:gd name="connsiteY28" fmla="*/ 4663 h 10000"/>
              <a:gd name="connsiteX29" fmla="*/ 1101 w 10000"/>
              <a:gd name="connsiteY29" fmla="*/ 4888 h 10000"/>
              <a:gd name="connsiteX30" fmla="*/ 1560 w 10000"/>
              <a:gd name="connsiteY30" fmla="*/ 5281 h 10000"/>
              <a:gd name="connsiteX31" fmla="*/ 1927 w 10000"/>
              <a:gd name="connsiteY31" fmla="*/ 5506 h 10000"/>
              <a:gd name="connsiteX32" fmla="*/ 2569 w 10000"/>
              <a:gd name="connsiteY32" fmla="*/ 5730 h 10000"/>
              <a:gd name="connsiteX33" fmla="*/ 2569 w 10000"/>
              <a:gd name="connsiteY33" fmla="*/ 7191 h 10000"/>
              <a:gd name="connsiteX34" fmla="*/ 7339 w 10000"/>
              <a:gd name="connsiteY34" fmla="*/ 7191 h 10000"/>
              <a:gd name="connsiteX35" fmla="*/ 7339 w 10000"/>
              <a:gd name="connsiteY35" fmla="*/ 8820 h 10000"/>
              <a:gd name="connsiteX36" fmla="*/ 7248 w 10000"/>
              <a:gd name="connsiteY36" fmla="*/ 9045 h 10000"/>
              <a:gd name="connsiteX37" fmla="*/ 7156 w 10000"/>
              <a:gd name="connsiteY37" fmla="*/ 9157 h 10000"/>
              <a:gd name="connsiteX38" fmla="*/ 6789 w 10000"/>
              <a:gd name="connsiteY38" fmla="*/ 9382 h 10000"/>
              <a:gd name="connsiteX39" fmla="*/ 6330 w 10000"/>
              <a:gd name="connsiteY39" fmla="*/ 9494 h 10000"/>
              <a:gd name="connsiteX40" fmla="*/ 6239 w 10000"/>
              <a:gd name="connsiteY40" fmla="*/ 9719 h 10000"/>
              <a:gd name="connsiteX41" fmla="*/ 5872 w 10000"/>
              <a:gd name="connsiteY41" fmla="*/ 9831 h 10000"/>
              <a:gd name="connsiteX42" fmla="*/ 5596 w 10000"/>
              <a:gd name="connsiteY42" fmla="*/ 10000 h 10000"/>
              <a:gd name="connsiteX43" fmla="*/ 4954 w 10000"/>
              <a:gd name="connsiteY43" fmla="*/ 10000 h 10000"/>
              <a:gd name="connsiteX44" fmla="*/ 4404 w 10000"/>
              <a:gd name="connsiteY44" fmla="*/ 10000 h 10000"/>
              <a:gd name="connsiteX45" fmla="*/ 3945 w 10000"/>
              <a:gd name="connsiteY45" fmla="*/ 9831 h 10000"/>
              <a:gd name="connsiteX46" fmla="*/ 3670 w 10000"/>
              <a:gd name="connsiteY46" fmla="*/ 9719 h 10000"/>
              <a:gd name="connsiteX47" fmla="*/ 3578 w 10000"/>
              <a:gd name="connsiteY47" fmla="*/ 9494 h 10000"/>
              <a:gd name="connsiteX48" fmla="*/ 3211 w 10000"/>
              <a:gd name="connsiteY48" fmla="*/ 9382 h 10000"/>
              <a:gd name="connsiteX49" fmla="*/ 2844 w 10000"/>
              <a:gd name="connsiteY49" fmla="*/ 9157 h 10000"/>
              <a:gd name="connsiteX50" fmla="*/ 2661 w 10000"/>
              <a:gd name="connsiteY50" fmla="*/ 9045 h 10000"/>
              <a:gd name="connsiteX51" fmla="*/ 2569 w 10000"/>
              <a:gd name="connsiteY51" fmla="*/ 8820 h 10000"/>
              <a:gd name="connsiteX52" fmla="*/ 2569 w 10000"/>
              <a:gd name="connsiteY52"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9266 w 10000"/>
              <a:gd name="connsiteY5" fmla="*/ 4663 h 10000"/>
              <a:gd name="connsiteX6" fmla="*/ 9541 w 10000"/>
              <a:gd name="connsiteY6" fmla="*/ 4213 h 10000"/>
              <a:gd name="connsiteX7" fmla="*/ 10000 w 10000"/>
              <a:gd name="connsiteY7" fmla="*/ 2978 h 10000"/>
              <a:gd name="connsiteX8" fmla="*/ 9908 w 10000"/>
              <a:gd name="connsiteY8" fmla="*/ 2360 h 10000"/>
              <a:gd name="connsiteX9" fmla="*/ 9541 w 10000"/>
              <a:gd name="connsiteY9" fmla="*/ 1854 h 10000"/>
              <a:gd name="connsiteX10" fmla="*/ 9174 w 10000"/>
              <a:gd name="connsiteY10" fmla="*/ 1292 h 10000"/>
              <a:gd name="connsiteX11" fmla="*/ 8440 w 10000"/>
              <a:gd name="connsiteY11" fmla="*/ 843 h 10000"/>
              <a:gd name="connsiteX12" fmla="*/ 7798 w 10000"/>
              <a:gd name="connsiteY12" fmla="*/ 449 h 10000"/>
              <a:gd name="connsiteX13" fmla="*/ 6881 w 10000"/>
              <a:gd name="connsiteY13" fmla="*/ 169 h 10000"/>
              <a:gd name="connsiteX14" fmla="*/ 5963 w 10000"/>
              <a:gd name="connsiteY14" fmla="*/ 0 h 10000"/>
              <a:gd name="connsiteX15" fmla="*/ 4954 w 10000"/>
              <a:gd name="connsiteY15" fmla="*/ 0 h 10000"/>
              <a:gd name="connsiteX16" fmla="*/ 3945 w 10000"/>
              <a:gd name="connsiteY16" fmla="*/ 0 h 10000"/>
              <a:gd name="connsiteX17" fmla="*/ 2936 w 10000"/>
              <a:gd name="connsiteY17" fmla="*/ 169 h 10000"/>
              <a:gd name="connsiteX18" fmla="*/ 2202 w 10000"/>
              <a:gd name="connsiteY18" fmla="*/ 449 h 10000"/>
              <a:gd name="connsiteX19" fmla="*/ 1376 w 10000"/>
              <a:gd name="connsiteY19" fmla="*/ 843 h 10000"/>
              <a:gd name="connsiteX20" fmla="*/ 826 w 10000"/>
              <a:gd name="connsiteY20" fmla="*/ 1292 h 10000"/>
              <a:gd name="connsiteX21" fmla="*/ 275 w 10000"/>
              <a:gd name="connsiteY21" fmla="*/ 1854 h 10000"/>
              <a:gd name="connsiteX22" fmla="*/ 92 w 10000"/>
              <a:gd name="connsiteY22" fmla="*/ 2360 h 10000"/>
              <a:gd name="connsiteX23" fmla="*/ 0 w 10000"/>
              <a:gd name="connsiteY23" fmla="*/ 2978 h 10000"/>
              <a:gd name="connsiteX24" fmla="*/ 0 w 10000"/>
              <a:gd name="connsiteY24" fmla="*/ 3483 h 10000"/>
              <a:gd name="connsiteX25" fmla="*/ 183 w 10000"/>
              <a:gd name="connsiteY25" fmla="*/ 3876 h 10000"/>
              <a:gd name="connsiteX26" fmla="*/ 367 w 10000"/>
              <a:gd name="connsiteY26" fmla="*/ 4213 h 10000"/>
              <a:gd name="connsiteX27" fmla="*/ 642 w 10000"/>
              <a:gd name="connsiteY27" fmla="*/ 4663 h 10000"/>
              <a:gd name="connsiteX28" fmla="*/ 1101 w 10000"/>
              <a:gd name="connsiteY28" fmla="*/ 4888 h 10000"/>
              <a:gd name="connsiteX29" fmla="*/ 1560 w 10000"/>
              <a:gd name="connsiteY29" fmla="*/ 5281 h 10000"/>
              <a:gd name="connsiteX30" fmla="*/ 1927 w 10000"/>
              <a:gd name="connsiteY30" fmla="*/ 5506 h 10000"/>
              <a:gd name="connsiteX31" fmla="*/ 2569 w 10000"/>
              <a:gd name="connsiteY31" fmla="*/ 5730 h 10000"/>
              <a:gd name="connsiteX32" fmla="*/ 2569 w 10000"/>
              <a:gd name="connsiteY32" fmla="*/ 7191 h 10000"/>
              <a:gd name="connsiteX33" fmla="*/ 7339 w 10000"/>
              <a:gd name="connsiteY33" fmla="*/ 7191 h 10000"/>
              <a:gd name="connsiteX34" fmla="*/ 7339 w 10000"/>
              <a:gd name="connsiteY34" fmla="*/ 8820 h 10000"/>
              <a:gd name="connsiteX35" fmla="*/ 7248 w 10000"/>
              <a:gd name="connsiteY35" fmla="*/ 9045 h 10000"/>
              <a:gd name="connsiteX36" fmla="*/ 7156 w 10000"/>
              <a:gd name="connsiteY36" fmla="*/ 9157 h 10000"/>
              <a:gd name="connsiteX37" fmla="*/ 6789 w 10000"/>
              <a:gd name="connsiteY37" fmla="*/ 9382 h 10000"/>
              <a:gd name="connsiteX38" fmla="*/ 6330 w 10000"/>
              <a:gd name="connsiteY38" fmla="*/ 9494 h 10000"/>
              <a:gd name="connsiteX39" fmla="*/ 6239 w 10000"/>
              <a:gd name="connsiteY39" fmla="*/ 9719 h 10000"/>
              <a:gd name="connsiteX40" fmla="*/ 5872 w 10000"/>
              <a:gd name="connsiteY40" fmla="*/ 9831 h 10000"/>
              <a:gd name="connsiteX41" fmla="*/ 5596 w 10000"/>
              <a:gd name="connsiteY41" fmla="*/ 10000 h 10000"/>
              <a:gd name="connsiteX42" fmla="*/ 4954 w 10000"/>
              <a:gd name="connsiteY42" fmla="*/ 10000 h 10000"/>
              <a:gd name="connsiteX43" fmla="*/ 4404 w 10000"/>
              <a:gd name="connsiteY43" fmla="*/ 10000 h 10000"/>
              <a:gd name="connsiteX44" fmla="*/ 3945 w 10000"/>
              <a:gd name="connsiteY44" fmla="*/ 9831 h 10000"/>
              <a:gd name="connsiteX45" fmla="*/ 3670 w 10000"/>
              <a:gd name="connsiteY45" fmla="*/ 9719 h 10000"/>
              <a:gd name="connsiteX46" fmla="*/ 3578 w 10000"/>
              <a:gd name="connsiteY46" fmla="*/ 9494 h 10000"/>
              <a:gd name="connsiteX47" fmla="*/ 3211 w 10000"/>
              <a:gd name="connsiteY47" fmla="*/ 9382 h 10000"/>
              <a:gd name="connsiteX48" fmla="*/ 2844 w 10000"/>
              <a:gd name="connsiteY48" fmla="*/ 9157 h 10000"/>
              <a:gd name="connsiteX49" fmla="*/ 2661 w 10000"/>
              <a:gd name="connsiteY49" fmla="*/ 9045 h 10000"/>
              <a:gd name="connsiteX50" fmla="*/ 2569 w 10000"/>
              <a:gd name="connsiteY50" fmla="*/ 8820 h 10000"/>
              <a:gd name="connsiteX51" fmla="*/ 2569 w 10000"/>
              <a:gd name="connsiteY51"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9266 w 10000"/>
              <a:gd name="connsiteY5" fmla="*/ 4663 h 10000"/>
              <a:gd name="connsiteX6" fmla="*/ 10000 w 10000"/>
              <a:gd name="connsiteY6" fmla="*/ 2978 h 10000"/>
              <a:gd name="connsiteX7" fmla="*/ 9908 w 10000"/>
              <a:gd name="connsiteY7" fmla="*/ 2360 h 10000"/>
              <a:gd name="connsiteX8" fmla="*/ 9541 w 10000"/>
              <a:gd name="connsiteY8" fmla="*/ 1854 h 10000"/>
              <a:gd name="connsiteX9" fmla="*/ 9174 w 10000"/>
              <a:gd name="connsiteY9" fmla="*/ 1292 h 10000"/>
              <a:gd name="connsiteX10" fmla="*/ 8440 w 10000"/>
              <a:gd name="connsiteY10" fmla="*/ 843 h 10000"/>
              <a:gd name="connsiteX11" fmla="*/ 7798 w 10000"/>
              <a:gd name="connsiteY11" fmla="*/ 449 h 10000"/>
              <a:gd name="connsiteX12" fmla="*/ 6881 w 10000"/>
              <a:gd name="connsiteY12" fmla="*/ 169 h 10000"/>
              <a:gd name="connsiteX13" fmla="*/ 5963 w 10000"/>
              <a:gd name="connsiteY13" fmla="*/ 0 h 10000"/>
              <a:gd name="connsiteX14" fmla="*/ 4954 w 10000"/>
              <a:gd name="connsiteY14" fmla="*/ 0 h 10000"/>
              <a:gd name="connsiteX15" fmla="*/ 3945 w 10000"/>
              <a:gd name="connsiteY15" fmla="*/ 0 h 10000"/>
              <a:gd name="connsiteX16" fmla="*/ 2936 w 10000"/>
              <a:gd name="connsiteY16" fmla="*/ 169 h 10000"/>
              <a:gd name="connsiteX17" fmla="*/ 2202 w 10000"/>
              <a:gd name="connsiteY17" fmla="*/ 449 h 10000"/>
              <a:gd name="connsiteX18" fmla="*/ 1376 w 10000"/>
              <a:gd name="connsiteY18" fmla="*/ 843 h 10000"/>
              <a:gd name="connsiteX19" fmla="*/ 826 w 10000"/>
              <a:gd name="connsiteY19" fmla="*/ 1292 h 10000"/>
              <a:gd name="connsiteX20" fmla="*/ 275 w 10000"/>
              <a:gd name="connsiteY20" fmla="*/ 1854 h 10000"/>
              <a:gd name="connsiteX21" fmla="*/ 92 w 10000"/>
              <a:gd name="connsiteY21" fmla="*/ 2360 h 10000"/>
              <a:gd name="connsiteX22" fmla="*/ 0 w 10000"/>
              <a:gd name="connsiteY22" fmla="*/ 2978 h 10000"/>
              <a:gd name="connsiteX23" fmla="*/ 0 w 10000"/>
              <a:gd name="connsiteY23" fmla="*/ 3483 h 10000"/>
              <a:gd name="connsiteX24" fmla="*/ 183 w 10000"/>
              <a:gd name="connsiteY24" fmla="*/ 3876 h 10000"/>
              <a:gd name="connsiteX25" fmla="*/ 367 w 10000"/>
              <a:gd name="connsiteY25" fmla="*/ 4213 h 10000"/>
              <a:gd name="connsiteX26" fmla="*/ 642 w 10000"/>
              <a:gd name="connsiteY26" fmla="*/ 4663 h 10000"/>
              <a:gd name="connsiteX27" fmla="*/ 1101 w 10000"/>
              <a:gd name="connsiteY27" fmla="*/ 4888 h 10000"/>
              <a:gd name="connsiteX28" fmla="*/ 1560 w 10000"/>
              <a:gd name="connsiteY28" fmla="*/ 5281 h 10000"/>
              <a:gd name="connsiteX29" fmla="*/ 1927 w 10000"/>
              <a:gd name="connsiteY29" fmla="*/ 5506 h 10000"/>
              <a:gd name="connsiteX30" fmla="*/ 2569 w 10000"/>
              <a:gd name="connsiteY30" fmla="*/ 5730 h 10000"/>
              <a:gd name="connsiteX31" fmla="*/ 2569 w 10000"/>
              <a:gd name="connsiteY31" fmla="*/ 7191 h 10000"/>
              <a:gd name="connsiteX32" fmla="*/ 7339 w 10000"/>
              <a:gd name="connsiteY32" fmla="*/ 7191 h 10000"/>
              <a:gd name="connsiteX33" fmla="*/ 7339 w 10000"/>
              <a:gd name="connsiteY33" fmla="*/ 8820 h 10000"/>
              <a:gd name="connsiteX34" fmla="*/ 7248 w 10000"/>
              <a:gd name="connsiteY34" fmla="*/ 9045 h 10000"/>
              <a:gd name="connsiteX35" fmla="*/ 7156 w 10000"/>
              <a:gd name="connsiteY35" fmla="*/ 9157 h 10000"/>
              <a:gd name="connsiteX36" fmla="*/ 6789 w 10000"/>
              <a:gd name="connsiteY36" fmla="*/ 9382 h 10000"/>
              <a:gd name="connsiteX37" fmla="*/ 6330 w 10000"/>
              <a:gd name="connsiteY37" fmla="*/ 9494 h 10000"/>
              <a:gd name="connsiteX38" fmla="*/ 6239 w 10000"/>
              <a:gd name="connsiteY38" fmla="*/ 9719 h 10000"/>
              <a:gd name="connsiteX39" fmla="*/ 5872 w 10000"/>
              <a:gd name="connsiteY39" fmla="*/ 9831 h 10000"/>
              <a:gd name="connsiteX40" fmla="*/ 5596 w 10000"/>
              <a:gd name="connsiteY40" fmla="*/ 10000 h 10000"/>
              <a:gd name="connsiteX41" fmla="*/ 4954 w 10000"/>
              <a:gd name="connsiteY41" fmla="*/ 10000 h 10000"/>
              <a:gd name="connsiteX42" fmla="*/ 4404 w 10000"/>
              <a:gd name="connsiteY42" fmla="*/ 10000 h 10000"/>
              <a:gd name="connsiteX43" fmla="*/ 3945 w 10000"/>
              <a:gd name="connsiteY43" fmla="*/ 9831 h 10000"/>
              <a:gd name="connsiteX44" fmla="*/ 3670 w 10000"/>
              <a:gd name="connsiteY44" fmla="*/ 9719 h 10000"/>
              <a:gd name="connsiteX45" fmla="*/ 3578 w 10000"/>
              <a:gd name="connsiteY45" fmla="*/ 9494 h 10000"/>
              <a:gd name="connsiteX46" fmla="*/ 3211 w 10000"/>
              <a:gd name="connsiteY46" fmla="*/ 9382 h 10000"/>
              <a:gd name="connsiteX47" fmla="*/ 2844 w 10000"/>
              <a:gd name="connsiteY47" fmla="*/ 9157 h 10000"/>
              <a:gd name="connsiteX48" fmla="*/ 2661 w 10000"/>
              <a:gd name="connsiteY48" fmla="*/ 9045 h 10000"/>
              <a:gd name="connsiteX49" fmla="*/ 2569 w 10000"/>
              <a:gd name="connsiteY49" fmla="*/ 8820 h 10000"/>
              <a:gd name="connsiteX50" fmla="*/ 2569 w 10000"/>
              <a:gd name="connsiteY50"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10000 w 10000"/>
              <a:gd name="connsiteY5" fmla="*/ 2978 h 10000"/>
              <a:gd name="connsiteX6" fmla="*/ 9908 w 10000"/>
              <a:gd name="connsiteY6" fmla="*/ 2360 h 10000"/>
              <a:gd name="connsiteX7" fmla="*/ 9541 w 10000"/>
              <a:gd name="connsiteY7" fmla="*/ 1854 h 10000"/>
              <a:gd name="connsiteX8" fmla="*/ 9174 w 10000"/>
              <a:gd name="connsiteY8" fmla="*/ 1292 h 10000"/>
              <a:gd name="connsiteX9" fmla="*/ 8440 w 10000"/>
              <a:gd name="connsiteY9" fmla="*/ 843 h 10000"/>
              <a:gd name="connsiteX10" fmla="*/ 7798 w 10000"/>
              <a:gd name="connsiteY10" fmla="*/ 449 h 10000"/>
              <a:gd name="connsiteX11" fmla="*/ 6881 w 10000"/>
              <a:gd name="connsiteY11" fmla="*/ 169 h 10000"/>
              <a:gd name="connsiteX12" fmla="*/ 5963 w 10000"/>
              <a:gd name="connsiteY12" fmla="*/ 0 h 10000"/>
              <a:gd name="connsiteX13" fmla="*/ 4954 w 10000"/>
              <a:gd name="connsiteY13" fmla="*/ 0 h 10000"/>
              <a:gd name="connsiteX14" fmla="*/ 3945 w 10000"/>
              <a:gd name="connsiteY14" fmla="*/ 0 h 10000"/>
              <a:gd name="connsiteX15" fmla="*/ 2936 w 10000"/>
              <a:gd name="connsiteY15" fmla="*/ 169 h 10000"/>
              <a:gd name="connsiteX16" fmla="*/ 2202 w 10000"/>
              <a:gd name="connsiteY16" fmla="*/ 449 h 10000"/>
              <a:gd name="connsiteX17" fmla="*/ 1376 w 10000"/>
              <a:gd name="connsiteY17" fmla="*/ 843 h 10000"/>
              <a:gd name="connsiteX18" fmla="*/ 826 w 10000"/>
              <a:gd name="connsiteY18" fmla="*/ 1292 h 10000"/>
              <a:gd name="connsiteX19" fmla="*/ 275 w 10000"/>
              <a:gd name="connsiteY19" fmla="*/ 1854 h 10000"/>
              <a:gd name="connsiteX20" fmla="*/ 92 w 10000"/>
              <a:gd name="connsiteY20" fmla="*/ 2360 h 10000"/>
              <a:gd name="connsiteX21" fmla="*/ 0 w 10000"/>
              <a:gd name="connsiteY21" fmla="*/ 2978 h 10000"/>
              <a:gd name="connsiteX22" fmla="*/ 0 w 10000"/>
              <a:gd name="connsiteY22" fmla="*/ 3483 h 10000"/>
              <a:gd name="connsiteX23" fmla="*/ 183 w 10000"/>
              <a:gd name="connsiteY23" fmla="*/ 3876 h 10000"/>
              <a:gd name="connsiteX24" fmla="*/ 367 w 10000"/>
              <a:gd name="connsiteY24" fmla="*/ 4213 h 10000"/>
              <a:gd name="connsiteX25" fmla="*/ 642 w 10000"/>
              <a:gd name="connsiteY25" fmla="*/ 4663 h 10000"/>
              <a:gd name="connsiteX26" fmla="*/ 1101 w 10000"/>
              <a:gd name="connsiteY26" fmla="*/ 4888 h 10000"/>
              <a:gd name="connsiteX27" fmla="*/ 1560 w 10000"/>
              <a:gd name="connsiteY27" fmla="*/ 5281 h 10000"/>
              <a:gd name="connsiteX28" fmla="*/ 1927 w 10000"/>
              <a:gd name="connsiteY28" fmla="*/ 5506 h 10000"/>
              <a:gd name="connsiteX29" fmla="*/ 2569 w 10000"/>
              <a:gd name="connsiteY29" fmla="*/ 5730 h 10000"/>
              <a:gd name="connsiteX30" fmla="*/ 2569 w 10000"/>
              <a:gd name="connsiteY30" fmla="*/ 7191 h 10000"/>
              <a:gd name="connsiteX31" fmla="*/ 7339 w 10000"/>
              <a:gd name="connsiteY31" fmla="*/ 7191 h 10000"/>
              <a:gd name="connsiteX32" fmla="*/ 7339 w 10000"/>
              <a:gd name="connsiteY32" fmla="*/ 8820 h 10000"/>
              <a:gd name="connsiteX33" fmla="*/ 7248 w 10000"/>
              <a:gd name="connsiteY33" fmla="*/ 9045 h 10000"/>
              <a:gd name="connsiteX34" fmla="*/ 7156 w 10000"/>
              <a:gd name="connsiteY34" fmla="*/ 9157 h 10000"/>
              <a:gd name="connsiteX35" fmla="*/ 6789 w 10000"/>
              <a:gd name="connsiteY35" fmla="*/ 9382 h 10000"/>
              <a:gd name="connsiteX36" fmla="*/ 6330 w 10000"/>
              <a:gd name="connsiteY36" fmla="*/ 9494 h 10000"/>
              <a:gd name="connsiteX37" fmla="*/ 6239 w 10000"/>
              <a:gd name="connsiteY37" fmla="*/ 9719 h 10000"/>
              <a:gd name="connsiteX38" fmla="*/ 5872 w 10000"/>
              <a:gd name="connsiteY38" fmla="*/ 9831 h 10000"/>
              <a:gd name="connsiteX39" fmla="*/ 5596 w 10000"/>
              <a:gd name="connsiteY39" fmla="*/ 10000 h 10000"/>
              <a:gd name="connsiteX40" fmla="*/ 4954 w 10000"/>
              <a:gd name="connsiteY40" fmla="*/ 10000 h 10000"/>
              <a:gd name="connsiteX41" fmla="*/ 4404 w 10000"/>
              <a:gd name="connsiteY41" fmla="*/ 10000 h 10000"/>
              <a:gd name="connsiteX42" fmla="*/ 3945 w 10000"/>
              <a:gd name="connsiteY42" fmla="*/ 9831 h 10000"/>
              <a:gd name="connsiteX43" fmla="*/ 3670 w 10000"/>
              <a:gd name="connsiteY43" fmla="*/ 9719 h 10000"/>
              <a:gd name="connsiteX44" fmla="*/ 3578 w 10000"/>
              <a:gd name="connsiteY44" fmla="*/ 9494 h 10000"/>
              <a:gd name="connsiteX45" fmla="*/ 3211 w 10000"/>
              <a:gd name="connsiteY45" fmla="*/ 9382 h 10000"/>
              <a:gd name="connsiteX46" fmla="*/ 2844 w 10000"/>
              <a:gd name="connsiteY46" fmla="*/ 9157 h 10000"/>
              <a:gd name="connsiteX47" fmla="*/ 2661 w 10000"/>
              <a:gd name="connsiteY47" fmla="*/ 9045 h 10000"/>
              <a:gd name="connsiteX48" fmla="*/ 2569 w 10000"/>
              <a:gd name="connsiteY48" fmla="*/ 8820 h 10000"/>
              <a:gd name="connsiteX49" fmla="*/ 2569 w 10000"/>
              <a:gd name="connsiteY49"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10000 w 10000"/>
              <a:gd name="connsiteY4" fmla="*/ 2978 h 10000"/>
              <a:gd name="connsiteX5" fmla="*/ 9908 w 10000"/>
              <a:gd name="connsiteY5" fmla="*/ 2360 h 10000"/>
              <a:gd name="connsiteX6" fmla="*/ 9541 w 10000"/>
              <a:gd name="connsiteY6" fmla="*/ 1854 h 10000"/>
              <a:gd name="connsiteX7" fmla="*/ 9174 w 10000"/>
              <a:gd name="connsiteY7" fmla="*/ 1292 h 10000"/>
              <a:gd name="connsiteX8" fmla="*/ 8440 w 10000"/>
              <a:gd name="connsiteY8" fmla="*/ 843 h 10000"/>
              <a:gd name="connsiteX9" fmla="*/ 7798 w 10000"/>
              <a:gd name="connsiteY9" fmla="*/ 449 h 10000"/>
              <a:gd name="connsiteX10" fmla="*/ 6881 w 10000"/>
              <a:gd name="connsiteY10" fmla="*/ 169 h 10000"/>
              <a:gd name="connsiteX11" fmla="*/ 5963 w 10000"/>
              <a:gd name="connsiteY11" fmla="*/ 0 h 10000"/>
              <a:gd name="connsiteX12" fmla="*/ 4954 w 10000"/>
              <a:gd name="connsiteY12" fmla="*/ 0 h 10000"/>
              <a:gd name="connsiteX13" fmla="*/ 3945 w 10000"/>
              <a:gd name="connsiteY13" fmla="*/ 0 h 10000"/>
              <a:gd name="connsiteX14" fmla="*/ 2936 w 10000"/>
              <a:gd name="connsiteY14" fmla="*/ 169 h 10000"/>
              <a:gd name="connsiteX15" fmla="*/ 2202 w 10000"/>
              <a:gd name="connsiteY15" fmla="*/ 449 h 10000"/>
              <a:gd name="connsiteX16" fmla="*/ 1376 w 10000"/>
              <a:gd name="connsiteY16" fmla="*/ 843 h 10000"/>
              <a:gd name="connsiteX17" fmla="*/ 826 w 10000"/>
              <a:gd name="connsiteY17" fmla="*/ 1292 h 10000"/>
              <a:gd name="connsiteX18" fmla="*/ 275 w 10000"/>
              <a:gd name="connsiteY18" fmla="*/ 1854 h 10000"/>
              <a:gd name="connsiteX19" fmla="*/ 92 w 10000"/>
              <a:gd name="connsiteY19" fmla="*/ 2360 h 10000"/>
              <a:gd name="connsiteX20" fmla="*/ 0 w 10000"/>
              <a:gd name="connsiteY20" fmla="*/ 2978 h 10000"/>
              <a:gd name="connsiteX21" fmla="*/ 0 w 10000"/>
              <a:gd name="connsiteY21" fmla="*/ 3483 h 10000"/>
              <a:gd name="connsiteX22" fmla="*/ 183 w 10000"/>
              <a:gd name="connsiteY22" fmla="*/ 3876 h 10000"/>
              <a:gd name="connsiteX23" fmla="*/ 367 w 10000"/>
              <a:gd name="connsiteY23" fmla="*/ 4213 h 10000"/>
              <a:gd name="connsiteX24" fmla="*/ 642 w 10000"/>
              <a:gd name="connsiteY24" fmla="*/ 4663 h 10000"/>
              <a:gd name="connsiteX25" fmla="*/ 1101 w 10000"/>
              <a:gd name="connsiteY25" fmla="*/ 4888 h 10000"/>
              <a:gd name="connsiteX26" fmla="*/ 1560 w 10000"/>
              <a:gd name="connsiteY26" fmla="*/ 5281 h 10000"/>
              <a:gd name="connsiteX27" fmla="*/ 1927 w 10000"/>
              <a:gd name="connsiteY27" fmla="*/ 5506 h 10000"/>
              <a:gd name="connsiteX28" fmla="*/ 2569 w 10000"/>
              <a:gd name="connsiteY28" fmla="*/ 5730 h 10000"/>
              <a:gd name="connsiteX29" fmla="*/ 2569 w 10000"/>
              <a:gd name="connsiteY29" fmla="*/ 7191 h 10000"/>
              <a:gd name="connsiteX30" fmla="*/ 7339 w 10000"/>
              <a:gd name="connsiteY30" fmla="*/ 7191 h 10000"/>
              <a:gd name="connsiteX31" fmla="*/ 7339 w 10000"/>
              <a:gd name="connsiteY31" fmla="*/ 8820 h 10000"/>
              <a:gd name="connsiteX32" fmla="*/ 7248 w 10000"/>
              <a:gd name="connsiteY32" fmla="*/ 9045 h 10000"/>
              <a:gd name="connsiteX33" fmla="*/ 7156 w 10000"/>
              <a:gd name="connsiteY33" fmla="*/ 9157 h 10000"/>
              <a:gd name="connsiteX34" fmla="*/ 6789 w 10000"/>
              <a:gd name="connsiteY34" fmla="*/ 9382 h 10000"/>
              <a:gd name="connsiteX35" fmla="*/ 6330 w 10000"/>
              <a:gd name="connsiteY35" fmla="*/ 9494 h 10000"/>
              <a:gd name="connsiteX36" fmla="*/ 6239 w 10000"/>
              <a:gd name="connsiteY36" fmla="*/ 9719 h 10000"/>
              <a:gd name="connsiteX37" fmla="*/ 5872 w 10000"/>
              <a:gd name="connsiteY37" fmla="*/ 9831 h 10000"/>
              <a:gd name="connsiteX38" fmla="*/ 5596 w 10000"/>
              <a:gd name="connsiteY38" fmla="*/ 10000 h 10000"/>
              <a:gd name="connsiteX39" fmla="*/ 4954 w 10000"/>
              <a:gd name="connsiteY39" fmla="*/ 10000 h 10000"/>
              <a:gd name="connsiteX40" fmla="*/ 4404 w 10000"/>
              <a:gd name="connsiteY40" fmla="*/ 10000 h 10000"/>
              <a:gd name="connsiteX41" fmla="*/ 3945 w 10000"/>
              <a:gd name="connsiteY41" fmla="*/ 9831 h 10000"/>
              <a:gd name="connsiteX42" fmla="*/ 3670 w 10000"/>
              <a:gd name="connsiteY42" fmla="*/ 9719 h 10000"/>
              <a:gd name="connsiteX43" fmla="*/ 3578 w 10000"/>
              <a:gd name="connsiteY43" fmla="*/ 9494 h 10000"/>
              <a:gd name="connsiteX44" fmla="*/ 3211 w 10000"/>
              <a:gd name="connsiteY44" fmla="*/ 9382 h 10000"/>
              <a:gd name="connsiteX45" fmla="*/ 2844 w 10000"/>
              <a:gd name="connsiteY45" fmla="*/ 9157 h 10000"/>
              <a:gd name="connsiteX46" fmla="*/ 2661 w 10000"/>
              <a:gd name="connsiteY46" fmla="*/ 9045 h 10000"/>
              <a:gd name="connsiteX47" fmla="*/ 2569 w 10000"/>
              <a:gd name="connsiteY47" fmla="*/ 8820 h 10000"/>
              <a:gd name="connsiteX48" fmla="*/ 2569 w 10000"/>
              <a:gd name="connsiteY48" fmla="*/ 8202 h 10000"/>
              <a:gd name="connsiteX0" fmla="*/ 7339 w 10000"/>
              <a:gd name="connsiteY0" fmla="*/ 5730 h 10000"/>
              <a:gd name="connsiteX1" fmla="*/ 7339 w 10000"/>
              <a:gd name="connsiteY1" fmla="*/ 5730 h 10000"/>
              <a:gd name="connsiteX2" fmla="*/ 7890 w 10000"/>
              <a:gd name="connsiteY2" fmla="*/ 5506 h 10000"/>
              <a:gd name="connsiteX3" fmla="*/ 10000 w 10000"/>
              <a:gd name="connsiteY3" fmla="*/ 2978 h 10000"/>
              <a:gd name="connsiteX4" fmla="*/ 9908 w 10000"/>
              <a:gd name="connsiteY4" fmla="*/ 2360 h 10000"/>
              <a:gd name="connsiteX5" fmla="*/ 9541 w 10000"/>
              <a:gd name="connsiteY5" fmla="*/ 1854 h 10000"/>
              <a:gd name="connsiteX6" fmla="*/ 9174 w 10000"/>
              <a:gd name="connsiteY6" fmla="*/ 1292 h 10000"/>
              <a:gd name="connsiteX7" fmla="*/ 8440 w 10000"/>
              <a:gd name="connsiteY7" fmla="*/ 843 h 10000"/>
              <a:gd name="connsiteX8" fmla="*/ 7798 w 10000"/>
              <a:gd name="connsiteY8" fmla="*/ 449 h 10000"/>
              <a:gd name="connsiteX9" fmla="*/ 6881 w 10000"/>
              <a:gd name="connsiteY9" fmla="*/ 169 h 10000"/>
              <a:gd name="connsiteX10" fmla="*/ 5963 w 10000"/>
              <a:gd name="connsiteY10" fmla="*/ 0 h 10000"/>
              <a:gd name="connsiteX11" fmla="*/ 4954 w 10000"/>
              <a:gd name="connsiteY11" fmla="*/ 0 h 10000"/>
              <a:gd name="connsiteX12" fmla="*/ 3945 w 10000"/>
              <a:gd name="connsiteY12" fmla="*/ 0 h 10000"/>
              <a:gd name="connsiteX13" fmla="*/ 2936 w 10000"/>
              <a:gd name="connsiteY13" fmla="*/ 169 h 10000"/>
              <a:gd name="connsiteX14" fmla="*/ 2202 w 10000"/>
              <a:gd name="connsiteY14" fmla="*/ 449 h 10000"/>
              <a:gd name="connsiteX15" fmla="*/ 1376 w 10000"/>
              <a:gd name="connsiteY15" fmla="*/ 843 h 10000"/>
              <a:gd name="connsiteX16" fmla="*/ 826 w 10000"/>
              <a:gd name="connsiteY16" fmla="*/ 1292 h 10000"/>
              <a:gd name="connsiteX17" fmla="*/ 275 w 10000"/>
              <a:gd name="connsiteY17" fmla="*/ 1854 h 10000"/>
              <a:gd name="connsiteX18" fmla="*/ 92 w 10000"/>
              <a:gd name="connsiteY18" fmla="*/ 2360 h 10000"/>
              <a:gd name="connsiteX19" fmla="*/ 0 w 10000"/>
              <a:gd name="connsiteY19" fmla="*/ 2978 h 10000"/>
              <a:gd name="connsiteX20" fmla="*/ 0 w 10000"/>
              <a:gd name="connsiteY20" fmla="*/ 3483 h 10000"/>
              <a:gd name="connsiteX21" fmla="*/ 183 w 10000"/>
              <a:gd name="connsiteY21" fmla="*/ 3876 h 10000"/>
              <a:gd name="connsiteX22" fmla="*/ 367 w 10000"/>
              <a:gd name="connsiteY22" fmla="*/ 4213 h 10000"/>
              <a:gd name="connsiteX23" fmla="*/ 642 w 10000"/>
              <a:gd name="connsiteY23" fmla="*/ 4663 h 10000"/>
              <a:gd name="connsiteX24" fmla="*/ 1101 w 10000"/>
              <a:gd name="connsiteY24" fmla="*/ 4888 h 10000"/>
              <a:gd name="connsiteX25" fmla="*/ 1560 w 10000"/>
              <a:gd name="connsiteY25" fmla="*/ 5281 h 10000"/>
              <a:gd name="connsiteX26" fmla="*/ 1927 w 10000"/>
              <a:gd name="connsiteY26" fmla="*/ 5506 h 10000"/>
              <a:gd name="connsiteX27" fmla="*/ 2569 w 10000"/>
              <a:gd name="connsiteY27" fmla="*/ 5730 h 10000"/>
              <a:gd name="connsiteX28" fmla="*/ 2569 w 10000"/>
              <a:gd name="connsiteY28" fmla="*/ 7191 h 10000"/>
              <a:gd name="connsiteX29" fmla="*/ 7339 w 10000"/>
              <a:gd name="connsiteY29" fmla="*/ 7191 h 10000"/>
              <a:gd name="connsiteX30" fmla="*/ 7339 w 10000"/>
              <a:gd name="connsiteY30" fmla="*/ 8820 h 10000"/>
              <a:gd name="connsiteX31" fmla="*/ 7248 w 10000"/>
              <a:gd name="connsiteY31" fmla="*/ 9045 h 10000"/>
              <a:gd name="connsiteX32" fmla="*/ 7156 w 10000"/>
              <a:gd name="connsiteY32" fmla="*/ 9157 h 10000"/>
              <a:gd name="connsiteX33" fmla="*/ 6789 w 10000"/>
              <a:gd name="connsiteY33" fmla="*/ 9382 h 10000"/>
              <a:gd name="connsiteX34" fmla="*/ 6330 w 10000"/>
              <a:gd name="connsiteY34" fmla="*/ 9494 h 10000"/>
              <a:gd name="connsiteX35" fmla="*/ 6239 w 10000"/>
              <a:gd name="connsiteY35" fmla="*/ 9719 h 10000"/>
              <a:gd name="connsiteX36" fmla="*/ 5872 w 10000"/>
              <a:gd name="connsiteY36" fmla="*/ 9831 h 10000"/>
              <a:gd name="connsiteX37" fmla="*/ 5596 w 10000"/>
              <a:gd name="connsiteY37" fmla="*/ 10000 h 10000"/>
              <a:gd name="connsiteX38" fmla="*/ 4954 w 10000"/>
              <a:gd name="connsiteY38" fmla="*/ 10000 h 10000"/>
              <a:gd name="connsiteX39" fmla="*/ 4404 w 10000"/>
              <a:gd name="connsiteY39" fmla="*/ 10000 h 10000"/>
              <a:gd name="connsiteX40" fmla="*/ 3945 w 10000"/>
              <a:gd name="connsiteY40" fmla="*/ 9831 h 10000"/>
              <a:gd name="connsiteX41" fmla="*/ 3670 w 10000"/>
              <a:gd name="connsiteY41" fmla="*/ 9719 h 10000"/>
              <a:gd name="connsiteX42" fmla="*/ 3578 w 10000"/>
              <a:gd name="connsiteY42" fmla="*/ 9494 h 10000"/>
              <a:gd name="connsiteX43" fmla="*/ 3211 w 10000"/>
              <a:gd name="connsiteY43" fmla="*/ 9382 h 10000"/>
              <a:gd name="connsiteX44" fmla="*/ 2844 w 10000"/>
              <a:gd name="connsiteY44" fmla="*/ 9157 h 10000"/>
              <a:gd name="connsiteX45" fmla="*/ 2661 w 10000"/>
              <a:gd name="connsiteY45" fmla="*/ 9045 h 10000"/>
              <a:gd name="connsiteX46" fmla="*/ 2569 w 10000"/>
              <a:gd name="connsiteY46" fmla="*/ 8820 h 10000"/>
              <a:gd name="connsiteX47" fmla="*/ 2569 w 10000"/>
              <a:gd name="connsiteY47" fmla="*/ 8202 h 10000"/>
              <a:gd name="connsiteX0" fmla="*/ 7339 w 10000"/>
              <a:gd name="connsiteY0" fmla="*/ 5730 h 10000"/>
              <a:gd name="connsiteX1" fmla="*/ 7339 w 10000"/>
              <a:gd name="connsiteY1" fmla="*/ 5730 h 10000"/>
              <a:gd name="connsiteX2" fmla="*/ 10000 w 10000"/>
              <a:gd name="connsiteY2" fmla="*/ 2978 h 10000"/>
              <a:gd name="connsiteX3" fmla="*/ 9908 w 10000"/>
              <a:gd name="connsiteY3" fmla="*/ 2360 h 10000"/>
              <a:gd name="connsiteX4" fmla="*/ 9541 w 10000"/>
              <a:gd name="connsiteY4" fmla="*/ 1854 h 10000"/>
              <a:gd name="connsiteX5" fmla="*/ 9174 w 10000"/>
              <a:gd name="connsiteY5" fmla="*/ 1292 h 10000"/>
              <a:gd name="connsiteX6" fmla="*/ 8440 w 10000"/>
              <a:gd name="connsiteY6" fmla="*/ 843 h 10000"/>
              <a:gd name="connsiteX7" fmla="*/ 7798 w 10000"/>
              <a:gd name="connsiteY7" fmla="*/ 449 h 10000"/>
              <a:gd name="connsiteX8" fmla="*/ 6881 w 10000"/>
              <a:gd name="connsiteY8" fmla="*/ 169 h 10000"/>
              <a:gd name="connsiteX9" fmla="*/ 5963 w 10000"/>
              <a:gd name="connsiteY9" fmla="*/ 0 h 10000"/>
              <a:gd name="connsiteX10" fmla="*/ 4954 w 10000"/>
              <a:gd name="connsiteY10" fmla="*/ 0 h 10000"/>
              <a:gd name="connsiteX11" fmla="*/ 3945 w 10000"/>
              <a:gd name="connsiteY11" fmla="*/ 0 h 10000"/>
              <a:gd name="connsiteX12" fmla="*/ 2936 w 10000"/>
              <a:gd name="connsiteY12" fmla="*/ 169 h 10000"/>
              <a:gd name="connsiteX13" fmla="*/ 2202 w 10000"/>
              <a:gd name="connsiteY13" fmla="*/ 449 h 10000"/>
              <a:gd name="connsiteX14" fmla="*/ 1376 w 10000"/>
              <a:gd name="connsiteY14" fmla="*/ 843 h 10000"/>
              <a:gd name="connsiteX15" fmla="*/ 826 w 10000"/>
              <a:gd name="connsiteY15" fmla="*/ 1292 h 10000"/>
              <a:gd name="connsiteX16" fmla="*/ 275 w 10000"/>
              <a:gd name="connsiteY16" fmla="*/ 1854 h 10000"/>
              <a:gd name="connsiteX17" fmla="*/ 92 w 10000"/>
              <a:gd name="connsiteY17" fmla="*/ 2360 h 10000"/>
              <a:gd name="connsiteX18" fmla="*/ 0 w 10000"/>
              <a:gd name="connsiteY18" fmla="*/ 2978 h 10000"/>
              <a:gd name="connsiteX19" fmla="*/ 0 w 10000"/>
              <a:gd name="connsiteY19" fmla="*/ 3483 h 10000"/>
              <a:gd name="connsiteX20" fmla="*/ 183 w 10000"/>
              <a:gd name="connsiteY20" fmla="*/ 3876 h 10000"/>
              <a:gd name="connsiteX21" fmla="*/ 367 w 10000"/>
              <a:gd name="connsiteY21" fmla="*/ 4213 h 10000"/>
              <a:gd name="connsiteX22" fmla="*/ 642 w 10000"/>
              <a:gd name="connsiteY22" fmla="*/ 4663 h 10000"/>
              <a:gd name="connsiteX23" fmla="*/ 1101 w 10000"/>
              <a:gd name="connsiteY23" fmla="*/ 4888 h 10000"/>
              <a:gd name="connsiteX24" fmla="*/ 1560 w 10000"/>
              <a:gd name="connsiteY24" fmla="*/ 5281 h 10000"/>
              <a:gd name="connsiteX25" fmla="*/ 1927 w 10000"/>
              <a:gd name="connsiteY25" fmla="*/ 5506 h 10000"/>
              <a:gd name="connsiteX26" fmla="*/ 2569 w 10000"/>
              <a:gd name="connsiteY26" fmla="*/ 5730 h 10000"/>
              <a:gd name="connsiteX27" fmla="*/ 2569 w 10000"/>
              <a:gd name="connsiteY27" fmla="*/ 7191 h 10000"/>
              <a:gd name="connsiteX28" fmla="*/ 7339 w 10000"/>
              <a:gd name="connsiteY28" fmla="*/ 7191 h 10000"/>
              <a:gd name="connsiteX29" fmla="*/ 7339 w 10000"/>
              <a:gd name="connsiteY29" fmla="*/ 8820 h 10000"/>
              <a:gd name="connsiteX30" fmla="*/ 7248 w 10000"/>
              <a:gd name="connsiteY30" fmla="*/ 9045 h 10000"/>
              <a:gd name="connsiteX31" fmla="*/ 7156 w 10000"/>
              <a:gd name="connsiteY31" fmla="*/ 9157 h 10000"/>
              <a:gd name="connsiteX32" fmla="*/ 6789 w 10000"/>
              <a:gd name="connsiteY32" fmla="*/ 9382 h 10000"/>
              <a:gd name="connsiteX33" fmla="*/ 6330 w 10000"/>
              <a:gd name="connsiteY33" fmla="*/ 9494 h 10000"/>
              <a:gd name="connsiteX34" fmla="*/ 6239 w 10000"/>
              <a:gd name="connsiteY34" fmla="*/ 9719 h 10000"/>
              <a:gd name="connsiteX35" fmla="*/ 5872 w 10000"/>
              <a:gd name="connsiteY35" fmla="*/ 9831 h 10000"/>
              <a:gd name="connsiteX36" fmla="*/ 5596 w 10000"/>
              <a:gd name="connsiteY36" fmla="*/ 10000 h 10000"/>
              <a:gd name="connsiteX37" fmla="*/ 4954 w 10000"/>
              <a:gd name="connsiteY37" fmla="*/ 10000 h 10000"/>
              <a:gd name="connsiteX38" fmla="*/ 4404 w 10000"/>
              <a:gd name="connsiteY38" fmla="*/ 10000 h 10000"/>
              <a:gd name="connsiteX39" fmla="*/ 3945 w 10000"/>
              <a:gd name="connsiteY39" fmla="*/ 9831 h 10000"/>
              <a:gd name="connsiteX40" fmla="*/ 3670 w 10000"/>
              <a:gd name="connsiteY40" fmla="*/ 9719 h 10000"/>
              <a:gd name="connsiteX41" fmla="*/ 3578 w 10000"/>
              <a:gd name="connsiteY41" fmla="*/ 9494 h 10000"/>
              <a:gd name="connsiteX42" fmla="*/ 3211 w 10000"/>
              <a:gd name="connsiteY42" fmla="*/ 9382 h 10000"/>
              <a:gd name="connsiteX43" fmla="*/ 2844 w 10000"/>
              <a:gd name="connsiteY43" fmla="*/ 9157 h 10000"/>
              <a:gd name="connsiteX44" fmla="*/ 2661 w 10000"/>
              <a:gd name="connsiteY44" fmla="*/ 9045 h 10000"/>
              <a:gd name="connsiteX45" fmla="*/ 2569 w 10000"/>
              <a:gd name="connsiteY45" fmla="*/ 8820 h 10000"/>
              <a:gd name="connsiteX46" fmla="*/ 2569 w 10000"/>
              <a:gd name="connsiteY46" fmla="*/ 8202 h 10000"/>
              <a:gd name="connsiteX0" fmla="*/ 7339 w 12281"/>
              <a:gd name="connsiteY0" fmla="*/ 5730 h 10000"/>
              <a:gd name="connsiteX1" fmla="*/ 12281 w 12281"/>
              <a:gd name="connsiteY1" fmla="*/ 5033 h 10000"/>
              <a:gd name="connsiteX2" fmla="*/ 10000 w 12281"/>
              <a:gd name="connsiteY2" fmla="*/ 2978 h 10000"/>
              <a:gd name="connsiteX3" fmla="*/ 9908 w 12281"/>
              <a:gd name="connsiteY3" fmla="*/ 2360 h 10000"/>
              <a:gd name="connsiteX4" fmla="*/ 9541 w 12281"/>
              <a:gd name="connsiteY4" fmla="*/ 1854 h 10000"/>
              <a:gd name="connsiteX5" fmla="*/ 9174 w 12281"/>
              <a:gd name="connsiteY5" fmla="*/ 1292 h 10000"/>
              <a:gd name="connsiteX6" fmla="*/ 8440 w 12281"/>
              <a:gd name="connsiteY6" fmla="*/ 843 h 10000"/>
              <a:gd name="connsiteX7" fmla="*/ 7798 w 12281"/>
              <a:gd name="connsiteY7" fmla="*/ 449 h 10000"/>
              <a:gd name="connsiteX8" fmla="*/ 6881 w 12281"/>
              <a:gd name="connsiteY8" fmla="*/ 169 h 10000"/>
              <a:gd name="connsiteX9" fmla="*/ 5963 w 12281"/>
              <a:gd name="connsiteY9" fmla="*/ 0 h 10000"/>
              <a:gd name="connsiteX10" fmla="*/ 4954 w 12281"/>
              <a:gd name="connsiteY10" fmla="*/ 0 h 10000"/>
              <a:gd name="connsiteX11" fmla="*/ 3945 w 12281"/>
              <a:gd name="connsiteY11" fmla="*/ 0 h 10000"/>
              <a:gd name="connsiteX12" fmla="*/ 2936 w 12281"/>
              <a:gd name="connsiteY12" fmla="*/ 169 h 10000"/>
              <a:gd name="connsiteX13" fmla="*/ 2202 w 12281"/>
              <a:gd name="connsiteY13" fmla="*/ 449 h 10000"/>
              <a:gd name="connsiteX14" fmla="*/ 1376 w 12281"/>
              <a:gd name="connsiteY14" fmla="*/ 843 h 10000"/>
              <a:gd name="connsiteX15" fmla="*/ 826 w 12281"/>
              <a:gd name="connsiteY15" fmla="*/ 1292 h 10000"/>
              <a:gd name="connsiteX16" fmla="*/ 275 w 12281"/>
              <a:gd name="connsiteY16" fmla="*/ 1854 h 10000"/>
              <a:gd name="connsiteX17" fmla="*/ 92 w 12281"/>
              <a:gd name="connsiteY17" fmla="*/ 2360 h 10000"/>
              <a:gd name="connsiteX18" fmla="*/ 0 w 12281"/>
              <a:gd name="connsiteY18" fmla="*/ 2978 h 10000"/>
              <a:gd name="connsiteX19" fmla="*/ 0 w 12281"/>
              <a:gd name="connsiteY19" fmla="*/ 3483 h 10000"/>
              <a:gd name="connsiteX20" fmla="*/ 183 w 12281"/>
              <a:gd name="connsiteY20" fmla="*/ 3876 h 10000"/>
              <a:gd name="connsiteX21" fmla="*/ 367 w 12281"/>
              <a:gd name="connsiteY21" fmla="*/ 4213 h 10000"/>
              <a:gd name="connsiteX22" fmla="*/ 642 w 12281"/>
              <a:gd name="connsiteY22" fmla="*/ 4663 h 10000"/>
              <a:gd name="connsiteX23" fmla="*/ 1101 w 12281"/>
              <a:gd name="connsiteY23" fmla="*/ 4888 h 10000"/>
              <a:gd name="connsiteX24" fmla="*/ 1560 w 12281"/>
              <a:gd name="connsiteY24" fmla="*/ 5281 h 10000"/>
              <a:gd name="connsiteX25" fmla="*/ 1927 w 12281"/>
              <a:gd name="connsiteY25" fmla="*/ 5506 h 10000"/>
              <a:gd name="connsiteX26" fmla="*/ 2569 w 12281"/>
              <a:gd name="connsiteY26" fmla="*/ 5730 h 10000"/>
              <a:gd name="connsiteX27" fmla="*/ 2569 w 12281"/>
              <a:gd name="connsiteY27" fmla="*/ 7191 h 10000"/>
              <a:gd name="connsiteX28" fmla="*/ 7339 w 12281"/>
              <a:gd name="connsiteY28" fmla="*/ 7191 h 10000"/>
              <a:gd name="connsiteX29" fmla="*/ 7339 w 12281"/>
              <a:gd name="connsiteY29" fmla="*/ 8820 h 10000"/>
              <a:gd name="connsiteX30" fmla="*/ 7248 w 12281"/>
              <a:gd name="connsiteY30" fmla="*/ 9045 h 10000"/>
              <a:gd name="connsiteX31" fmla="*/ 7156 w 12281"/>
              <a:gd name="connsiteY31" fmla="*/ 9157 h 10000"/>
              <a:gd name="connsiteX32" fmla="*/ 6789 w 12281"/>
              <a:gd name="connsiteY32" fmla="*/ 9382 h 10000"/>
              <a:gd name="connsiteX33" fmla="*/ 6330 w 12281"/>
              <a:gd name="connsiteY33" fmla="*/ 9494 h 10000"/>
              <a:gd name="connsiteX34" fmla="*/ 6239 w 12281"/>
              <a:gd name="connsiteY34" fmla="*/ 9719 h 10000"/>
              <a:gd name="connsiteX35" fmla="*/ 5872 w 12281"/>
              <a:gd name="connsiteY35" fmla="*/ 9831 h 10000"/>
              <a:gd name="connsiteX36" fmla="*/ 5596 w 12281"/>
              <a:gd name="connsiteY36" fmla="*/ 10000 h 10000"/>
              <a:gd name="connsiteX37" fmla="*/ 4954 w 12281"/>
              <a:gd name="connsiteY37" fmla="*/ 10000 h 10000"/>
              <a:gd name="connsiteX38" fmla="*/ 4404 w 12281"/>
              <a:gd name="connsiteY38" fmla="*/ 10000 h 10000"/>
              <a:gd name="connsiteX39" fmla="*/ 3945 w 12281"/>
              <a:gd name="connsiteY39" fmla="*/ 9831 h 10000"/>
              <a:gd name="connsiteX40" fmla="*/ 3670 w 12281"/>
              <a:gd name="connsiteY40" fmla="*/ 9719 h 10000"/>
              <a:gd name="connsiteX41" fmla="*/ 3578 w 12281"/>
              <a:gd name="connsiteY41" fmla="*/ 9494 h 10000"/>
              <a:gd name="connsiteX42" fmla="*/ 3211 w 12281"/>
              <a:gd name="connsiteY42" fmla="*/ 9382 h 10000"/>
              <a:gd name="connsiteX43" fmla="*/ 2844 w 12281"/>
              <a:gd name="connsiteY43" fmla="*/ 9157 h 10000"/>
              <a:gd name="connsiteX44" fmla="*/ 2661 w 12281"/>
              <a:gd name="connsiteY44" fmla="*/ 9045 h 10000"/>
              <a:gd name="connsiteX45" fmla="*/ 2569 w 12281"/>
              <a:gd name="connsiteY45" fmla="*/ 8820 h 10000"/>
              <a:gd name="connsiteX46" fmla="*/ 2569 w 12281"/>
              <a:gd name="connsiteY46" fmla="*/ 8202 h 10000"/>
              <a:gd name="connsiteX0" fmla="*/ 7339 w 12337"/>
              <a:gd name="connsiteY0" fmla="*/ 5730 h 10000"/>
              <a:gd name="connsiteX1" fmla="*/ 12281 w 12337"/>
              <a:gd name="connsiteY1" fmla="*/ 5033 h 10000"/>
              <a:gd name="connsiteX2" fmla="*/ 10000 w 12337"/>
              <a:gd name="connsiteY2" fmla="*/ 2978 h 10000"/>
              <a:gd name="connsiteX3" fmla="*/ 9908 w 12337"/>
              <a:gd name="connsiteY3" fmla="*/ 2360 h 10000"/>
              <a:gd name="connsiteX4" fmla="*/ 9541 w 12337"/>
              <a:gd name="connsiteY4" fmla="*/ 1854 h 10000"/>
              <a:gd name="connsiteX5" fmla="*/ 9174 w 12337"/>
              <a:gd name="connsiteY5" fmla="*/ 1292 h 10000"/>
              <a:gd name="connsiteX6" fmla="*/ 8440 w 12337"/>
              <a:gd name="connsiteY6" fmla="*/ 843 h 10000"/>
              <a:gd name="connsiteX7" fmla="*/ 7798 w 12337"/>
              <a:gd name="connsiteY7" fmla="*/ 449 h 10000"/>
              <a:gd name="connsiteX8" fmla="*/ 6881 w 12337"/>
              <a:gd name="connsiteY8" fmla="*/ 169 h 10000"/>
              <a:gd name="connsiteX9" fmla="*/ 5963 w 12337"/>
              <a:gd name="connsiteY9" fmla="*/ 0 h 10000"/>
              <a:gd name="connsiteX10" fmla="*/ 4954 w 12337"/>
              <a:gd name="connsiteY10" fmla="*/ 0 h 10000"/>
              <a:gd name="connsiteX11" fmla="*/ 3945 w 12337"/>
              <a:gd name="connsiteY11" fmla="*/ 0 h 10000"/>
              <a:gd name="connsiteX12" fmla="*/ 2936 w 12337"/>
              <a:gd name="connsiteY12" fmla="*/ 169 h 10000"/>
              <a:gd name="connsiteX13" fmla="*/ 2202 w 12337"/>
              <a:gd name="connsiteY13" fmla="*/ 449 h 10000"/>
              <a:gd name="connsiteX14" fmla="*/ 1376 w 12337"/>
              <a:gd name="connsiteY14" fmla="*/ 843 h 10000"/>
              <a:gd name="connsiteX15" fmla="*/ 826 w 12337"/>
              <a:gd name="connsiteY15" fmla="*/ 1292 h 10000"/>
              <a:gd name="connsiteX16" fmla="*/ 275 w 12337"/>
              <a:gd name="connsiteY16" fmla="*/ 1854 h 10000"/>
              <a:gd name="connsiteX17" fmla="*/ 92 w 12337"/>
              <a:gd name="connsiteY17" fmla="*/ 2360 h 10000"/>
              <a:gd name="connsiteX18" fmla="*/ 0 w 12337"/>
              <a:gd name="connsiteY18" fmla="*/ 2978 h 10000"/>
              <a:gd name="connsiteX19" fmla="*/ 0 w 12337"/>
              <a:gd name="connsiteY19" fmla="*/ 3483 h 10000"/>
              <a:gd name="connsiteX20" fmla="*/ 183 w 12337"/>
              <a:gd name="connsiteY20" fmla="*/ 3876 h 10000"/>
              <a:gd name="connsiteX21" fmla="*/ 367 w 12337"/>
              <a:gd name="connsiteY21" fmla="*/ 4213 h 10000"/>
              <a:gd name="connsiteX22" fmla="*/ 642 w 12337"/>
              <a:gd name="connsiteY22" fmla="*/ 4663 h 10000"/>
              <a:gd name="connsiteX23" fmla="*/ 1101 w 12337"/>
              <a:gd name="connsiteY23" fmla="*/ 4888 h 10000"/>
              <a:gd name="connsiteX24" fmla="*/ 1560 w 12337"/>
              <a:gd name="connsiteY24" fmla="*/ 5281 h 10000"/>
              <a:gd name="connsiteX25" fmla="*/ 1927 w 12337"/>
              <a:gd name="connsiteY25" fmla="*/ 5506 h 10000"/>
              <a:gd name="connsiteX26" fmla="*/ 2569 w 12337"/>
              <a:gd name="connsiteY26" fmla="*/ 5730 h 10000"/>
              <a:gd name="connsiteX27" fmla="*/ 2569 w 12337"/>
              <a:gd name="connsiteY27" fmla="*/ 7191 h 10000"/>
              <a:gd name="connsiteX28" fmla="*/ 7339 w 12337"/>
              <a:gd name="connsiteY28" fmla="*/ 7191 h 10000"/>
              <a:gd name="connsiteX29" fmla="*/ 7339 w 12337"/>
              <a:gd name="connsiteY29" fmla="*/ 8820 h 10000"/>
              <a:gd name="connsiteX30" fmla="*/ 7248 w 12337"/>
              <a:gd name="connsiteY30" fmla="*/ 9045 h 10000"/>
              <a:gd name="connsiteX31" fmla="*/ 7156 w 12337"/>
              <a:gd name="connsiteY31" fmla="*/ 9157 h 10000"/>
              <a:gd name="connsiteX32" fmla="*/ 6789 w 12337"/>
              <a:gd name="connsiteY32" fmla="*/ 9382 h 10000"/>
              <a:gd name="connsiteX33" fmla="*/ 6330 w 12337"/>
              <a:gd name="connsiteY33" fmla="*/ 9494 h 10000"/>
              <a:gd name="connsiteX34" fmla="*/ 6239 w 12337"/>
              <a:gd name="connsiteY34" fmla="*/ 9719 h 10000"/>
              <a:gd name="connsiteX35" fmla="*/ 5872 w 12337"/>
              <a:gd name="connsiteY35" fmla="*/ 9831 h 10000"/>
              <a:gd name="connsiteX36" fmla="*/ 5596 w 12337"/>
              <a:gd name="connsiteY36" fmla="*/ 10000 h 10000"/>
              <a:gd name="connsiteX37" fmla="*/ 4954 w 12337"/>
              <a:gd name="connsiteY37" fmla="*/ 10000 h 10000"/>
              <a:gd name="connsiteX38" fmla="*/ 4404 w 12337"/>
              <a:gd name="connsiteY38" fmla="*/ 10000 h 10000"/>
              <a:gd name="connsiteX39" fmla="*/ 3945 w 12337"/>
              <a:gd name="connsiteY39" fmla="*/ 9831 h 10000"/>
              <a:gd name="connsiteX40" fmla="*/ 3670 w 12337"/>
              <a:gd name="connsiteY40" fmla="*/ 9719 h 10000"/>
              <a:gd name="connsiteX41" fmla="*/ 3578 w 12337"/>
              <a:gd name="connsiteY41" fmla="*/ 9494 h 10000"/>
              <a:gd name="connsiteX42" fmla="*/ 3211 w 12337"/>
              <a:gd name="connsiteY42" fmla="*/ 9382 h 10000"/>
              <a:gd name="connsiteX43" fmla="*/ 2844 w 12337"/>
              <a:gd name="connsiteY43" fmla="*/ 9157 h 10000"/>
              <a:gd name="connsiteX44" fmla="*/ 2661 w 12337"/>
              <a:gd name="connsiteY44" fmla="*/ 9045 h 10000"/>
              <a:gd name="connsiteX45" fmla="*/ 2569 w 12337"/>
              <a:gd name="connsiteY45" fmla="*/ 8820 h 10000"/>
              <a:gd name="connsiteX46" fmla="*/ 2569 w 12337"/>
              <a:gd name="connsiteY46" fmla="*/ 8202 h 10000"/>
              <a:gd name="connsiteX0" fmla="*/ 7339 w 10083"/>
              <a:gd name="connsiteY0" fmla="*/ 5730 h 10000"/>
              <a:gd name="connsiteX1" fmla="*/ 8831 w 10083"/>
              <a:gd name="connsiteY1" fmla="*/ 4917 h 10000"/>
              <a:gd name="connsiteX2" fmla="*/ 10000 w 10083"/>
              <a:gd name="connsiteY2" fmla="*/ 2978 h 10000"/>
              <a:gd name="connsiteX3" fmla="*/ 9908 w 10083"/>
              <a:gd name="connsiteY3" fmla="*/ 2360 h 10000"/>
              <a:gd name="connsiteX4" fmla="*/ 9541 w 10083"/>
              <a:gd name="connsiteY4" fmla="*/ 1854 h 10000"/>
              <a:gd name="connsiteX5" fmla="*/ 9174 w 10083"/>
              <a:gd name="connsiteY5" fmla="*/ 1292 h 10000"/>
              <a:gd name="connsiteX6" fmla="*/ 8440 w 10083"/>
              <a:gd name="connsiteY6" fmla="*/ 843 h 10000"/>
              <a:gd name="connsiteX7" fmla="*/ 7798 w 10083"/>
              <a:gd name="connsiteY7" fmla="*/ 449 h 10000"/>
              <a:gd name="connsiteX8" fmla="*/ 6881 w 10083"/>
              <a:gd name="connsiteY8" fmla="*/ 169 h 10000"/>
              <a:gd name="connsiteX9" fmla="*/ 5963 w 10083"/>
              <a:gd name="connsiteY9" fmla="*/ 0 h 10000"/>
              <a:gd name="connsiteX10" fmla="*/ 4954 w 10083"/>
              <a:gd name="connsiteY10" fmla="*/ 0 h 10000"/>
              <a:gd name="connsiteX11" fmla="*/ 3945 w 10083"/>
              <a:gd name="connsiteY11" fmla="*/ 0 h 10000"/>
              <a:gd name="connsiteX12" fmla="*/ 2936 w 10083"/>
              <a:gd name="connsiteY12" fmla="*/ 169 h 10000"/>
              <a:gd name="connsiteX13" fmla="*/ 2202 w 10083"/>
              <a:gd name="connsiteY13" fmla="*/ 449 h 10000"/>
              <a:gd name="connsiteX14" fmla="*/ 1376 w 10083"/>
              <a:gd name="connsiteY14" fmla="*/ 843 h 10000"/>
              <a:gd name="connsiteX15" fmla="*/ 826 w 10083"/>
              <a:gd name="connsiteY15" fmla="*/ 1292 h 10000"/>
              <a:gd name="connsiteX16" fmla="*/ 275 w 10083"/>
              <a:gd name="connsiteY16" fmla="*/ 1854 h 10000"/>
              <a:gd name="connsiteX17" fmla="*/ 92 w 10083"/>
              <a:gd name="connsiteY17" fmla="*/ 2360 h 10000"/>
              <a:gd name="connsiteX18" fmla="*/ 0 w 10083"/>
              <a:gd name="connsiteY18" fmla="*/ 2978 h 10000"/>
              <a:gd name="connsiteX19" fmla="*/ 0 w 10083"/>
              <a:gd name="connsiteY19" fmla="*/ 3483 h 10000"/>
              <a:gd name="connsiteX20" fmla="*/ 183 w 10083"/>
              <a:gd name="connsiteY20" fmla="*/ 3876 h 10000"/>
              <a:gd name="connsiteX21" fmla="*/ 367 w 10083"/>
              <a:gd name="connsiteY21" fmla="*/ 4213 h 10000"/>
              <a:gd name="connsiteX22" fmla="*/ 642 w 10083"/>
              <a:gd name="connsiteY22" fmla="*/ 4663 h 10000"/>
              <a:gd name="connsiteX23" fmla="*/ 1101 w 10083"/>
              <a:gd name="connsiteY23" fmla="*/ 4888 h 10000"/>
              <a:gd name="connsiteX24" fmla="*/ 1560 w 10083"/>
              <a:gd name="connsiteY24" fmla="*/ 5281 h 10000"/>
              <a:gd name="connsiteX25" fmla="*/ 1927 w 10083"/>
              <a:gd name="connsiteY25" fmla="*/ 5506 h 10000"/>
              <a:gd name="connsiteX26" fmla="*/ 2569 w 10083"/>
              <a:gd name="connsiteY26" fmla="*/ 5730 h 10000"/>
              <a:gd name="connsiteX27" fmla="*/ 2569 w 10083"/>
              <a:gd name="connsiteY27" fmla="*/ 7191 h 10000"/>
              <a:gd name="connsiteX28" fmla="*/ 7339 w 10083"/>
              <a:gd name="connsiteY28" fmla="*/ 7191 h 10000"/>
              <a:gd name="connsiteX29" fmla="*/ 7339 w 10083"/>
              <a:gd name="connsiteY29" fmla="*/ 8820 h 10000"/>
              <a:gd name="connsiteX30" fmla="*/ 7248 w 10083"/>
              <a:gd name="connsiteY30" fmla="*/ 9045 h 10000"/>
              <a:gd name="connsiteX31" fmla="*/ 7156 w 10083"/>
              <a:gd name="connsiteY31" fmla="*/ 9157 h 10000"/>
              <a:gd name="connsiteX32" fmla="*/ 6789 w 10083"/>
              <a:gd name="connsiteY32" fmla="*/ 9382 h 10000"/>
              <a:gd name="connsiteX33" fmla="*/ 6330 w 10083"/>
              <a:gd name="connsiteY33" fmla="*/ 9494 h 10000"/>
              <a:gd name="connsiteX34" fmla="*/ 6239 w 10083"/>
              <a:gd name="connsiteY34" fmla="*/ 9719 h 10000"/>
              <a:gd name="connsiteX35" fmla="*/ 5872 w 10083"/>
              <a:gd name="connsiteY35" fmla="*/ 9831 h 10000"/>
              <a:gd name="connsiteX36" fmla="*/ 5596 w 10083"/>
              <a:gd name="connsiteY36" fmla="*/ 10000 h 10000"/>
              <a:gd name="connsiteX37" fmla="*/ 4954 w 10083"/>
              <a:gd name="connsiteY37" fmla="*/ 10000 h 10000"/>
              <a:gd name="connsiteX38" fmla="*/ 4404 w 10083"/>
              <a:gd name="connsiteY38" fmla="*/ 10000 h 10000"/>
              <a:gd name="connsiteX39" fmla="*/ 3945 w 10083"/>
              <a:gd name="connsiteY39" fmla="*/ 9831 h 10000"/>
              <a:gd name="connsiteX40" fmla="*/ 3670 w 10083"/>
              <a:gd name="connsiteY40" fmla="*/ 9719 h 10000"/>
              <a:gd name="connsiteX41" fmla="*/ 3578 w 10083"/>
              <a:gd name="connsiteY41" fmla="*/ 9494 h 10000"/>
              <a:gd name="connsiteX42" fmla="*/ 3211 w 10083"/>
              <a:gd name="connsiteY42" fmla="*/ 9382 h 10000"/>
              <a:gd name="connsiteX43" fmla="*/ 2844 w 10083"/>
              <a:gd name="connsiteY43" fmla="*/ 9157 h 10000"/>
              <a:gd name="connsiteX44" fmla="*/ 2661 w 10083"/>
              <a:gd name="connsiteY44" fmla="*/ 9045 h 10000"/>
              <a:gd name="connsiteX45" fmla="*/ 2569 w 10083"/>
              <a:gd name="connsiteY45" fmla="*/ 8820 h 10000"/>
              <a:gd name="connsiteX46" fmla="*/ 2569 w 10083"/>
              <a:gd name="connsiteY46" fmla="*/ 8202 h 10000"/>
              <a:gd name="connsiteX0" fmla="*/ 7339 w 10189"/>
              <a:gd name="connsiteY0" fmla="*/ 5730 h 10000"/>
              <a:gd name="connsiteX1" fmla="*/ 9670 w 10189"/>
              <a:gd name="connsiteY1" fmla="*/ 4395 h 10000"/>
              <a:gd name="connsiteX2" fmla="*/ 10000 w 10189"/>
              <a:gd name="connsiteY2" fmla="*/ 2978 h 10000"/>
              <a:gd name="connsiteX3" fmla="*/ 9908 w 10189"/>
              <a:gd name="connsiteY3" fmla="*/ 2360 h 10000"/>
              <a:gd name="connsiteX4" fmla="*/ 9541 w 10189"/>
              <a:gd name="connsiteY4" fmla="*/ 1854 h 10000"/>
              <a:gd name="connsiteX5" fmla="*/ 9174 w 10189"/>
              <a:gd name="connsiteY5" fmla="*/ 1292 h 10000"/>
              <a:gd name="connsiteX6" fmla="*/ 8440 w 10189"/>
              <a:gd name="connsiteY6" fmla="*/ 843 h 10000"/>
              <a:gd name="connsiteX7" fmla="*/ 7798 w 10189"/>
              <a:gd name="connsiteY7" fmla="*/ 449 h 10000"/>
              <a:gd name="connsiteX8" fmla="*/ 6881 w 10189"/>
              <a:gd name="connsiteY8" fmla="*/ 169 h 10000"/>
              <a:gd name="connsiteX9" fmla="*/ 5963 w 10189"/>
              <a:gd name="connsiteY9" fmla="*/ 0 h 10000"/>
              <a:gd name="connsiteX10" fmla="*/ 4954 w 10189"/>
              <a:gd name="connsiteY10" fmla="*/ 0 h 10000"/>
              <a:gd name="connsiteX11" fmla="*/ 3945 w 10189"/>
              <a:gd name="connsiteY11" fmla="*/ 0 h 10000"/>
              <a:gd name="connsiteX12" fmla="*/ 2936 w 10189"/>
              <a:gd name="connsiteY12" fmla="*/ 169 h 10000"/>
              <a:gd name="connsiteX13" fmla="*/ 2202 w 10189"/>
              <a:gd name="connsiteY13" fmla="*/ 449 h 10000"/>
              <a:gd name="connsiteX14" fmla="*/ 1376 w 10189"/>
              <a:gd name="connsiteY14" fmla="*/ 843 h 10000"/>
              <a:gd name="connsiteX15" fmla="*/ 826 w 10189"/>
              <a:gd name="connsiteY15" fmla="*/ 1292 h 10000"/>
              <a:gd name="connsiteX16" fmla="*/ 275 w 10189"/>
              <a:gd name="connsiteY16" fmla="*/ 1854 h 10000"/>
              <a:gd name="connsiteX17" fmla="*/ 92 w 10189"/>
              <a:gd name="connsiteY17" fmla="*/ 2360 h 10000"/>
              <a:gd name="connsiteX18" fmla="*/ 0 w 10189"/>
              <a:gd name="connsiteY18" fmla="*/ 2978 h 10000"/>
              <a:gd name="connsiteX19" fmla="*/ 0 w 10189"/>
              <a:gd name="connsiteY19" fmla="*/ 3483 h 10000"/>
              <a:gd name="connsiteX20" fmla="*/ 183 w 10189"/>
              <a:gd name="connsiteY20" fmla="*/ 3876 h 10000"/>
              <a:gd name="connsiteX21" fmla="*/ 367 w 10189"/>
              <a:gd name="connsiteY21" fmla="*/ 4213 h 10000"/>
              <a:gd name="connsiteX22" fmla="*/ 642 w 10189"/>
              <a:gd name="connsiteY22" fmla="*/ 4663 h 10000"/>
              <a:gd name="connsiteX23" fmla="*/ 1101 w 10189"/>
              <a:gd name="connsiteY23" fmla="*/ 4888 h 10000"/>
              <a:gd name="connsiteX24" fmla="*/ 1560 w 10189"/>
              <a:gd name="connsiteY24" fmla="*/ 5281 h 10000"/>
              <a:gd name="connsiteX25" fmla="*/ 1927 w 10189"/>
              <a:gd name="connsiteY25" fmla="*/ 5506 h 10000"/>
              <a:gd name="connsiteX26" fmla="*/ 2569 w 10189"/>
              <a:gd name="connsiteY26" fmla="*/ 5730 h 10000"/>
              <a:gd name="connsiteX27" fmla="*/ 2569 w 10189"/>
              <a:gd name="connsiteY27" fmla="*/ 7191 h 10000"/>
              <a:gd name="connsiteX28" fmla="*/ 7339 w 10189"/>
              <a:gd name="connsiteY28" fmla="*/ 7191 h 10000"/>
              <a:gd name="connsiteX29" fmla="*/ 7339 w 10189"/>
              <a:gd name="connsiteY29" fmla="*/ 8820 h 10000"/>
              <a:gd name="connsiteX30" fmla="*/ 7248 w 10189"/>
              <a:gd name="connsiteY30" fmla="*/ 9045 h 10000"/>
              <a:gd name="connsiteX31" fmla="*/ 7156 w 10189"/>
              <a:gd name="connsiteY31" fmla="*/ 9157 h 10000"/>
              <a:gd name="connsiteX32" fmla="*/ 6789 w 10189"/>
              <a:gd name="connsiteY32" fmla="*/ 9382 h 10000"/>
              <a:gd name="connsiteX33" fmla="*/ 6330 w 10189"/>
              <a:gd name="connsiteY33" fmla="*/ 9494 h 10000"/>
              <a:gd name="connsiteX34" fmla="*/ 6239 w 10189"/>
              <a:gd name="connsiteY34" fmla="*/ 9719 h 10000"/>
              <a:gd name="connsiteX35" fmla="*/ 5872 w 10189"/>
              <a:gd name="connsiteY35" fmla="*/ 9831 h 10000"/>
              <a:gd name="connsiteX36" fmla="*/ 5596 w 10189"/>
              <a:gd name="connsiteY36" fmla="*/ 10000 h 10000"/>
              <a:gd name="connsiteX37" fmla="*/ 4954 w 10189"/>
              <a:gd name="connsiteY37" fmla="*/ 10000 h 10000"/>
              <a:gd name="connsiteX38" fmla="*/ 4404 w 10189"/>
              <a:gd name="connsiteY38" fmla="*/ 10000 h 10000"/>
              <a:gd name="connsiteX39" fmla="*/ 3945 w 10189"/>
              <a:gd name="connsiteY39" fmla="*/ 9831 h 10000"/>
              <a:gd name="connsiteX40" fmla="*/ 3670 w 10189"/>
              <a:gd name="connsiteY40" fmla="*/ 9719 h 10000"/>
              <a:gd name="connsiteX41" fmla="*/ 3578 w 10189"/>
              <a:gd name="connsiteY41" fmla="*/ 9494 h 10000"/>
              <a:gd name="connsiteX42" fmla="*/ 3211 w 10189"/>
              <a:gd name="connsiteY42" fmla="*/ 9382 h 10000"/>
              <a:gd name="connsiteX43" fmla="*/ 2844 w 10189"/>
              <a:gd name="connsiteY43" fmla="*/ 9157 h 10000"/>
              <a:gd name="connsiteX44" fmla="*/ 2661 w 10189"/>
              <a:gd name="connsiteY44" fmla="*/ 9045 h 10000"/>
              <a:gd name="connsiteX45" fmla="*/ 2569 w 10189"/>
              <a:gd name="connsiteY45" fmla="*/ 8820 h 10000"/>
              <a:gd name="connsiteX46" fmla="*/ 2569 w 10189"/>
              <a:gd name="connsiteY46" fmla="*/ 8202 h 10000"/>
              <a:gd name="connsiteX0" fmla="*/ 7339 w 10394"/>
              <a:gd name="connsiteY0" fmla="*/ 5730 h 10000"/>
              <a:gd name="connsiteX1" fmla="*/ 9670 w 10394"/>
              <a:gd name="connsiteY1" fmla="*/ 4395 h 10000"/>
              <a:gd name="connsiteX2" fmla="*/ 10000 w 10394"/>
              <a:gd name="connsiteY2" fmla="*/ 2978 h 10000"/>
              <a:gd name="connsiteX3" fmla="*/ 9908 w 10394"/>
              <a:gd name="connsiteY3" fmla="*/ 2360 h 10000"/>
              <a:gd name="connsiteX4" fmla="*/ 9541 w 10394"/>
              <a:gd name="connsiteY4" fmla="*/ 1854 h 10000"/>
              <a:gd name="connsiteX5" fmla="*/ 9174 w 10394"/>
              <a:gd name="connsiteY5" fmla="*/ 1292 h 10000"/>
              <a:gd name="connsiteX6" fmla="*/ 8440 w 10394"/>
              <a:gd name="connsiteY6" fmla="*/ 843 h 10000"/>
              <a:gd name="connsiteX7" fmla="*/ 7798 w 10394"/>
              <a:gd name="connsiteY7" fmla="*/ 449 h 10000"/>
              <a:gd name="connsiteX8" fmla="*/ 6881 w 10394"/>
              <a:gd name="connsiteY8" fmla="*/ 169 h 10000"/>
              <a:gd name="connsiteX9" fmla="*/ 5963 w 10394"/>
              <a:gd name="connsiteY9" fmla="*/ 0 h 10000"/>
              <a:gd name="connsiteX10" fmla="*/ 4954 w 10394"/>
              <a:gd name="connsiteY10" fmla="*/ 0 h 10000"/>
              <a:gd name="connsiteX11" fmla="*/ 3945 w 10394"/>
              <a:gd name="connsiteY11" fmla="*/ 0 h 10000"/>
              <a:gd name="connsiteX12" fmla="*/ 2936 w 10394"/>
              <a:gd name="connsiteY12" fmla="*/ 169 h 10000"/>
              <a:gd name="connsiteX13" fmla="*/ 2202 w 10394"/>
              <a:gd name="connsiteY13" fmla="*/ 449 h 10000"/>
              <a:gd name="connsiteX14" fmla="*/ 1376 w 10394"/>
              <a:gd name="connsiteY14" fmla="*/ 843 h 10000"/>
              <a:gd name="connsiteX15" fmla="*/ 826 w 10394"/>
              <a:gd name="connsiteY15" fmla="*/ 1292 h 10000"/>
              <a:gd name="connsiteX16" fmla="*/ 275 w 10394"/>
              <a:gd name="connsiteY16" fmla="*/ 1854 h 10000"/>
              <a:gd name="connsiteX17" fmla="*/ 92 w 10394"/>
              <a:gd name="connsiteY17" fmla="*/ 2360 h 10000"/>
              <a:gd name="connsiteX18" fmla="*/ 0 w 10394"/>
              <a:gd name="connsiteY18" fmla="*/ 2978 h 10000"/>
              <a:gd name="connsiteX19" fmla="*/ 0 w 10394"/>
              <a:gd name="connsiteY19" fmla="*/ 3483 h 10000"/>
              <a:gd name="connsiteX20" fmla="*/ 183 w 10394"/>
              <a:gd name="connsiteY20" fmla="*/ 3876 h 10000"/>
              <a:gd name="connsiteX21" fmla="*/ 367 w 10394"/>
              <a:gd name="connsiteY21" fmla="*/ 4213 h 10000"/>
              <a:gd name="connsiteX22" fmla="*/ 642 w 10394"/>
              <a:gd name="connsiteY22" fmla="*/ 4663 h 10000"/>
              <a:gd name="connsiteX23" fmla="*/ 1101 w 10394"/>
              <a:gd name="connsiteY23" fmla="*/ 4888 h 10000"/>
              <a:gd name="connsiteX24" fmla="*/ 1560 w 10394"/>
              <a:gd name="connsiteY24" fmla="*/ 5281 h 10000"/>
              <a:gd name="connsiteX25" fmla="*/ 1927 w 10394"/>
              <a:gd name="connsiteY25" fmla="*/ 5506 h 10000"/>
              <a:gd name="connsiteX26" fmla="*/ 2569 w 10394"/>
              <a:gd name="connsiteY26" fmla="*/ 5730 h 10000"/>
              <a:gd name="connsiteX27" fmla="*/ 2569 w 10394"/>
              <a:gd name="connsiteY27" fmla="*/ 7191 h 10000"/>
              <a:gd name="connsiteX28" fmla="*/ 7339 w 10394"/>
              <a:gd name="connsiteY28" fmla="*/ 7191 h 10000"/>
              <a:gd name="connsiteX29" fmla="*/ 7339 w 10394"/>
              <a:gd name="connsiteY29" fmla="*/ 8820 h 10000"/>
              <a:gd name="connsiteX30" fmla="*/ 7248 w 10394"/>
              <a:gd name="connsiteY30" fmla="*/ 9045 h 10000"/>
              <a:gd name="connsiteX31" fmla="*/ 7156 w 10394"/>
              <a:gd name="connsiteY31" fmla="*/ 9157 h 10000"/>
              <a:gd name="connsiteX32" fmla="*/ 6789 w 10394"/>
              <a:gd name="connsiteY32" fmla="*/ 9382 h 10000"/>
              <a:gd name="connsiteX33" fmla="*/ 6330 w 10394"/>
              <a:gd name="connsiteY33" fmla="*/ 9494 h 10000"/>
              <a:gd name="connsiteX34" fmla="*/ 6239 w 10394"/>
              <a:gd name="connsiteY34" fmla="*/ 9719 h 10000"/>
              <a:gd name="connsiteX35" fmla="*/ 5872 w 10394"/>
              <a:gd name="connsiteY35" fmla="*/ 9831 h 10000"/>
              <a:gd name="connsiteX36" fmla="*/ 5596 w 10394"/>
              <a:gd name="connsiteY36" fmla="*/ 10000 h 10000"/>
              <a:gd name="connsiteX37" fmla="*/ 4954 w 10394"/>
              <a:gd name="connsiteY37" fmla="*/ 10000 h 10000"/>
              <a:gd name="connsiteX38" fmla="*/ 4404 w 10394"/>
              <a:gd name="connsiteY38" fmla="*/ 10000 h 10000"/>
              <a:gd name="connsiteX39" fmla="*/ 3945 w 10394"/>
              <a:gd name="connsiteY39" fmla="*/ 9831 h 10000"/>
              <a:gd name="connsiteX40" fmla="*/ 3670 w 10394"/>
              <a:gd name="connsiteY40" fmla="*/ 9719 h 10000"/>
              <a:gd name="connsiteX41" fmla="*/ 3578 w 10394"/>
              <a:gd name="connsiteY41" fmla="*/ 9494 h 10000"/>
              <a:gd name="connsiteX42" fmla="*/ 3211 w 10394"/>
              <a:gd name="connsiteY42" fmla="*/ 9382 h 10000"/>
              <a:gd name="connsiteX43" fmla="*/ 2844 w 10394"/>
              <a:gd name="connsiteY43" fmla="*/ 9157 h 10000"/>
              <a:gd name="connsiteX44" fmla="*/ 2661 w 10394"/>
              <a:gd name="connsiteY44" fmla="*/ 9045 h 10000"/>
              <a:gd name="connsiteX45" fmla="*/ 2569 w 10394"/>
              <a:gd name="connsiteY45" fmla="*/ 8820 h 10000"/>
              <a:gd name="connsiteX46" fmla="*/ 2569 w 10394"/>
              <a:gd name="connsiteY46" fmla="*/ 8202 h 10000"/>
              <a:gd name="connsiteX0" fmla="*/ 7339 w 10394"/>
              <a:gd name="connsiteY0" fmla="*/ 5730 h 10000"/>
              <a:gd name="connsiteX1" fmla="*/ 9670 w 10394"/>
              <a:gd name="connsiteY1" fmla="*/ 4395 h 10000"/>
              <a:gd name="connsiteX2" fmla="*/ 10000 w 10394"/>
              <a:gd name="connsiteY2" fmla="*/ 2978 h 10000"/>
              <a:gd name="connsiteX3" fmla="*/ 9541 w 10394"/>
              <a:gd name="connsiteY3" fmla="*/ 1854 h 10000"/>
              <a:gd name="connsiteX4" fmla="*/ 9174 w 10394"/>
              <a:gd name="connsiteY4" fmla="*/ 1292 h 10000"/>
              <a:gd name="connsiteX5" fmla="*/ 8440 w 10394"/>
              <a:gd name="connsiteY5" fmla="*/ 843 h 10000"/>
              <a:gd name="connsiteX6" fmla="*/ 7798 w 10394"/>
              <a:gd name="connsiteY6" fmla="*/ 449 h 10000"/>
              <a:gd name="connsiteX7" fmla="*/ 6881 w 10394"/>
              <a:gd name="connsiteY7" fmla="*/ 169 h 10000"/>
              <a:gd name="connsiteX8" fmla="*/ 5963 w 10394"/>
              <a:gd name="connsiteY8" fmla="*/ 0 h 10000"/>
              <a:gd name="connsiteX9" fmla="*/ 4954 w 10394"/>
              <a:gd name="connsiteY9" fmla="*/ 0 h 10000"/>
              <a:gd name="connsiteX10" fmla="*/ 3945 w 10394"/>
              <a:gd name="connsiteY10" fmla="*/ 0 h 10000"/>
              <a:gd name="connsiteX11" fmla="*/ 2936 w 10394"/>
              <a:gd name="connsiteY11" fmla="*/ 169 h 10000"/>
              <a:gd name="connsiteX12" fmla="*/ 2202 w 10394"/>
              <a:gd name="connsiteY12" fmla="*/ 449 h 10000"/>
              <a:gd name="connsiteX13" fmla="*/ 1376 w 10394"/>
              <a:gd name="connsiteY13" fmla="*/ 843 h 10000"/>
              <a:gd name="connsiteX14" fmla="*/ 826 w 10394"/>
              <a:gd name="connsiteY14" fmla="*/ 1292 h 10000"/>
              <a:gd name="connsiteX15" fmla="*/ 275 w 10394"/>
              <a:gd name="connsiteY15" fmla="*/ 1854 h 10000"/>
              <a:gd name="connsiteX16" fmla="*/ 92 w 10394"/>
              <a:gd name="connsiteY16" fmla="*/ 2360 h 10000"/>
              <a:gd name="connsiteX17" fmla="*/ 0 w 10394"/>
              <a:gd name="connsiteY17" fmla="*/ 2978 h 10000"/>
              <a:gd name="connsiteX18" fmla="*/ 0 w 10394"/>
              <a:gd name="connsiteY18" fmla="*/ 3483 h 10000"/>
              <a:gd name="connsiteX19" fmla="*/ 183 w 10394"/>
              <a:gd name="connsiteY19" fmla="*/ 3876 h 10000"/>
              <a:gd name="connsiteX20" fmla="*/ 367 w 10394"/>
              <a:gd name="connsiteY20" fmla="*/ 4213 h 10000"/>
              <a:gd name="connsiteX21" fmla="*/ 642 w 10394"/>
              <a:gd name="connsiteY21" fmla="*/ 4663 h 10000"/>
              <a:gd name="connsiteX22" fmla="*/ 1101 w 10394"/>
              <a:gd name="connsiteY22" fmla="*/ 4888 h 10000"/>
              <a:gd name="connsiteX23" fmla="*/ 1560 w 10394"/>
              <a:gd name="connsiteY23" fmla="*/ 5281 h 10000"/>
              <a:gd name="connsiteX24" fmla="*/ 1927 w 10394"/>
              <a:gd name="connsiteY24" fmla="*/ 5506 h 10000"/>
              <a:gd name="connsiteX25" fmla="*/ 2569 w 10394"/>
              <a:gd name="connsiteY25" fmla="*/ 5730 h 10000"/>
              <a:gd name="connsiteX26" fmla="*/ 2569 w 10394"/>
              <a:gd name="connsiteY26" fmla="*/ 7191 h 10000"/>
              <a:gd name="connsiteX27" fmla="*/ 7339 w 10394"/>
              <a:gd name="connsiteY27" fmla="*/ 7191 h 10000"/>
              <a:gd name="connsiteX28" fmla="*/ 7339 w 10394"/>
              <a:gd name="connsiteY28" fmla="*/ 8820 h 10000"/>
              <a:gd name="connsiteX29" fmla="*/ 7248 w 10394"/>
              <a:gd name="connsiteY29" fmla="*/ 9045 h 10000"/>
              <a:gd name="connsiteX30" fmla="*/ 7156 w 10394"/>
              <a:gd name="connsiteY30" fmla="*/ 9157 h 10000"/>
              <a:gd name="connsiteX31" fmla="*/ 6789 w 10394"/>
              <a:gd name="connsiteY31" fmla="*/ 9382 h 10000"/>
              <a:gd name="connsiteX32" fmla="*/ 6330 w 10394"/>
              <a:gd name="connsiteY32" fmla="*/ 9494 h 10000"/>
              <a:gd name="connsiteX33" fmla="*/ 6239 w 10394"/>
              <a:gd name="connsiteY33" fmla="*/ 9719 h 10000"/>
              <a:gd name="connsiteX34" fmla="*/ 5872 w 10394"/>
              <a:gd name="connsiteY34" fmla="*/ 9831 h 10000"/>
              <a:gd name="connsiteX35" fmla="*/ 5596 w 10394"/>
              <a:gd name="connsiteY35" fmla="*/ 10000 h 10000"/>
              <a:gd name="connsiteX36" fmla="*/ 4954 w 10394"/>
              <a:gd name="connsiteY36" fmla="*/ 10000 h 10000"/>
              <a:gd name="connsiteX37" fmla="*/ 4404 w 10394"/>
              <a:gd name="connsiteY37" fmla="*/ 10000 h 10000"/>
              <a:gd name="connsiteX38" fmla="*/ 3945 w 10394"/>
              <a:gd name="connsiteY38" fmla="*/ 9831 h 10000"/>
              <a:gd name="connsiteX39" fmla="*/ 3670 w 10394"/>
              <a:gd name="connsiteY39" fmla="*/ 9719 h 10000"/>
              <a:gd name="connsiteX40" fmla="*/ 3578 w 10394"/>
              <a:gd name="connsiteY40" fmla="*/ 9494 h 10000"/>
              <a:gd name="connsiteX41" fmla="*/ 3211 w 10394"/>
              <a:gd name="connsiteY41" fmla="*/ 9382 h 10000"/>
              <a:gd name="connsiteX42" fmla="*/ 2844 w 10394"/>
              <a:gd name="connsiteY42" fmla="*/ 9157 h 10000"/>
              <a:gd name="connsiteX43" fmla="*/ 2661 w 10394"/>
              <a:gd name="connsiteY43" fmla="*/ 9045 h 10000"/>
              <a:gd name="connsiteX44" fmla="*/ 2569 w 10394"/>
              <a:gd name="connsiteY44" fmla="*/ 8820 h 10000"/>
              <a:gd name="connsiteX45" fmla="*/ 2569 w 10394"/>
              <a:gd name="connsiteY45" fmla="*/ 8202 h 10000"/>
              <a:gd name="connsiteX0" fmla="*/ 7339 w 10394"/>
              <a:gd name="connsiteY0" fmla="*/ 5730 h 10000"/>
              <a:gd name="connsiteX1" fmla="*/ 9670 w 10394"/>
              <a:gd name="connsiteY1" fmla="*/ 4395 h 10000"/>
              <a:gd name="connsiteX2" fmla="*/ 10000 w 10394"/>
              <a:gd name="connsiteY2" fmla="*/ 2978 h 10000"/>
              <a:gd name="connsiteX3" fmla="*/ 9174 w 10394"/>
              <a:gd name="connsiteY3" fmla="*/ 1292 h 10000"/>
              <a:gd name="connsiteX4" fmla="*/ 8440 w 10394"/>
              <a:gd name="connsiteY4" fmla="*/ 843 h 10000"/>
              <a:gd name="connsiteX5" fmla="*/ 7798 w 10394"/>
              <a:gd name="connsiteY5" fmla="*/ 449 h 10000"/>
              <a:gd name="connsiteX6" fmla="*/ 6881 w 10394"/>
              <a:gd name="connsiteY6" fmla="*/ 169 h 10000"/>
              <a:gd name="connsiteX7" fmla="*/ 5963 w 10394"/>
              <a:gd name="connsiteY7" fmla="*/ 0 h 10000"/>
              <a:gd name="connsiteX8" fmla="*/ 4954 w 10394"/>
              <a:gd name="connsiteY8" fmla="*/ 0 h 10000"/>
              <a:gd name="connsiteX9" fmla="*/ 3945 w 10394"/>
              <a:gd name="connsiteY9" fmla="*/ 0 h 10000"/>
              <a:gd name="connsiteX10" fmla="*/ 2936 w 10394"/>
              <a:gd name="connsiteY10" fmla="*/ 169 h 10000"/>
              <a:gd name="connsiteX11" fmla="*/ 2202 w 10394"/>
              <a:gd name="connsiteY11" fmla="*/ 449 h 10000"/>
              <a:gd name="connsiteX12" fmla="*/ 1376 w 10394"/>
              <a:gd name="connsiteY12" fmla="*/ 843 h 10000"/>
              <a:gd name="connsiteX13" fmla="*/ 826 w 10394"/>
              <a:gd name="connsiteY13" fmla="*/ 1292 h 10000"/>
              <a:gd name="connsiteX14" fmla="*/ 275 w 10394"/>
              <a:gd name="connsiteY14" fmla="*/ 1854 h 10000"/>
              <a:gd name="connsiteX15" fmla="*/ 92 w 10394"/>
              <a:gd name="connsiteY15" fmla="*/ 2360 h 10000"/>
              <a:gd name="connsiteX16" fmla="*/ 0 w 10394"/>
              <a:gd name="connsiteY16" fmla="*/ 2978 h 10000"/>
              <a:gd name="connsiteX17" fmla="*/ 0 w 10394"/>
              <a:gd name="connsiteY17" fmla="*/ 3483 h 10000"/>
              <a:gd name="connsiteX18" fmla="*/ 183 w 10394"/>
              <a:gd name="connsiteY18" fmla="*/ 3876 h 10000"/>
              <a:gd name="connsiteX19" fmla="*/ 367 w 10394"/>
              <a:gd name="connsiteY19" fmla="*/ 4213 h 10000"/>
              <a:gd name="connsiteX20" fmla="*/ 642 w 10394"/>
              <a:gd name="connsiteY20" fmla="*/ 4663 h 10000"/>
              <a:gd name="connsiteX21" fmla="*/ 1101 w 10394"/>
              <a:gd name="connsiteY21" fmla="*/ 4888 h 10000"/>
              <a:gd name="connsiteX22" fmla="*/ 1560 w 10394"/>
              <a:gd name="connsiteY22" fmla="*/ 5281 h 10000"/>
              <a:gd name="connsiteX23" fmla="*/ 1927 w 10394"/>
              <a:gd name="connsiteY23" fmla="*/ 5506 h 10000"/>
              <a:gd name="connsiteX24" fmla="*/ 2569 w 10394"/>
              <a:gd name="connsiteY24" fmla="*/ 5730 h 10000"/>
              <a:gd name="connsiteX25" fmla="*/ 2569 w 10394"/>
              <a:gd name="connsiteY25" fmla="*/ 7191 h 10000"/>
              <a:gd name="connsiteX26" fmla="*/ 7339 w 10394"/>
              <a:gd name="connsiteY26" fmla="*/ 7191 h 10000"/>
              <a:gd name="connsiteX27" fmla="*/ 7339 w 10394"/>
              <a:gd name="connsiteY27" fmla="*/ 8820 h 10000"/>
              <a:gd name="connsiteX28" fmla="*/ 7248 w 10394"/>
              <a:gd name="connsiteY28" fmla="*/ 9045 h 10000"/>
              <a:gd name="connsiteX29" fmla="*/ 7156 w 10394"/>
              <a:gd name="connsiteY29" fmla="*/ 9157 h 10000"/>
              <a:gd name="connsiteX30" fmla="*/ 6789 w 10394"/>
              <a:gd name="connsiteY30" fmla="*/ 9382 h 10000"/>
              <a:gd name="connsiteX31" fmla="*/ 6330 w 10394"/>
              <a:gd name="connsiteY31" fmla="*/ 9494 h 10000"/>
              <a:gd name="connsiteX32" fmla="*/ 6239 w 10394"/>
              <a:gd name="connsiteY32" fmla="*/ 9719 h 10000"/>
              <a:gd name="connsiteX33" fmla="*/ 5872 w 10394"/>
              <a:gd name="connsiteY33" fmla="*/ 9831 h 10000"/>
              <a:gd name="connsiteX34" fmla="*/ 5596 w 10394"/>
              <a:gd name="connsiteY34" fmla="*/ 10000 h 10000"/>
              <a:gd name="connsiteX35" fmla="*/ 4954 w 10394"/>
              <a:gd name="connsiteY35" fmla="*/ 10000 h 10000"/>
              <a:gd name="connsiteX36" fmla="*/ 4404 w 10394"/>
              <a:gd name="connsiteY36" fmla="*/ 10000 h 10000"/>
              <a:gd name="connsiteX37" fmla="*/ 3945 w 10394"/>
              <a:gd name="connsiteY37" fmla="*/ 9831 h 10000"/>
              <a:gd name="connsiteX38" fmla="*/ 3670 w 10394"/>
              <a:gd name="connsiteY38" fmla="*/ 9719 h 10000"/>
              <a:gd name="connsiteX39" fmla="*/ 3578 w 10394"/>
              <a:gd name="connsiteY39" fmla="*/ 9494 h 10000"/>
              <a:gd name="connsiteX40" fmla="*/ 3211 w 10394"/>
              <a:gd name="connsiteY40" fmla="*/ 9382 h 10000"/>
              <a:gd name="connsiteX41" fmla="*/ 2844 w 10394"/>
              <a:gd name="connsiteY41" fmla="*/ 9157 h 10000"/>
              <a:gd name="connsiteX42" fmla="*/ 2661 w 10394"/>
              <a:gd name="connsiteY42" fmla="*/ 9045 h 10000"/>
              <a:gd name="connsiteX43" fmla="*/ 2569 w 10394"/>
              <a:gd name="connsiteY43" fmla="*/ 8820 h 10000"/>
              <a:gd name="connsiteX44" fmla="*/ 2569 w 10394"/>
              <a:gd name="connsiteY44" fmla="*/ 8202 h 10000"/>
              <a:gd name="connsiteX0" fmla="*/ 7339 w 10394"/>
              <a:gd name="connsiteY0" fmla="*/ 5730 h 10000"/>
              <a:gd name="connsiteX1" fmla="*/ 9670 w 10394"/>
              <a:gd name="connsiteY1" fmla="*/ 4395 h 10000"/>
              <a:gd name="connsiteX2" fmla="*/ 10000 w 10394"/>
              <a:gd name="connsiteY2" fmla="*/ 2978 h 10000"/>
              <a:gd name="connsiteX3" fmla="*/ 8440 w 10394"/>
              <a:gd name="connsiteY3" fmla="*/ 843 h 10000"/>
              <a:gd name="connsiteX4" fmla="*/ 7798 w 10394"/>
              <a:gd name="connsiteY4" fmla="*/ 449 h 10000"/>
              <a:gd name="connsiteX5" fmla="*/ 6881 w 10394"/>
              <a:gd name="connsiteY5" fmla="*/ 169 h 10000"/>
              <a:gd name="connsiteX6" fmla="*/ 5963 w 10394"/>
              <a:gd name="connsiteY6" fmla="*/ 0 h 10000"/>
              <a:gd name="connsiteX7" fmla="*/ 4954 w 10394"/>
              <a:gd name="connsiteY7" fmla="*/ 0 h 10000"/>
              <a:gd name="connsiteX8" fmla="*/ 3945 w 10394"/>
              <a:gd name="connsiteY8" fmla="*/ 0 h 10000"/>
              <a:gd name="connsiteX9" fmla="*/ 2936 w 10394"/>
              <a:gd name="connsiteY9" fmla="*/ 169 h 10000"/>
              <a:gd name="connsiteX10" fmla="*/ 2202 w 10394"/>
              <a:gd name="connsiteY10" fmla="*/ 449 h 10000"/>
              <a:gd name="connsiteX11" fmla="*/ 1376 w 10394"/>
              <a:gd name="connsiteY11" fmla="*/ 843 h 10000"/>
              <a:gd name="connsiteX12" fmla="*/ 826 w 10394"/>
              <a:gd name="connsiteY12" fmla="*/ 1292 h 10000"/>
              <a:gd name="connsiteX13" fmla="*/ 275 w 10394"/>
              <a:gd name="connsiteY13" fmla="*/ 1854 h 10000"/>
              <a:gd name="connsiteX14" fmla="*/ 92 w 10394"/>
              <a:gd name="connsiteY14" fmla="*/ 2360 h 10000"/>
              <a:gd name="connsiteX15" fmla="*/ 0 w 10394"/>
              <a:gd name="connsiteY15" fmla="*/ 2978 h 10000"/>
              <a:gd name="connsiteX16" fmla="*/ 0 w 10394"/>
              <a:gd name="connsiteY16" fmla="*/ 3483 h 10000"/>
              <a:gd name="connsiteX17" fmla="*/ 183 w 10394"/>
              <a:gd name="connsiteY17" fmla="*/ 3876 h 10000"/>
              <a:gd name="connsiteX18" fmla="*/ 367 w 10394"/>
              <a:gd name="connsiteY18" fmla="*/ 4213 h 10000"/>
              <a:gd name="connsiteX19" fmla="*/ 642 w 10394"/>
              <a:gd name="connsiteY19" fmla="*/ 4663 h 10000"/>
              <a:gd name="connsiteX20" fmla="*/ 1101 w 10394"/>
              <a:gd name="connsiteY20" fmla="*/ 4888 h 10000"/>
              <a:gd name="connsiteX21" fmla="*/ 1560 w 10394"/>
              <a:gd name="connsiteY21" fmla="*/ 5281 h 10000"/>
              <a:gd name="connsiteX22" fmla="*/ 1927 w 10394"/>
              <a:gd name="connsiteY22" fmla="*/ 5506 h 10000"/>
              <a:gd name="connsiteX23" fmla="*/ 2569 w 10394"/>
              <a:gd name="connsiteY23" fmla="*/ 5730 h 10000"/>
              <a:gd name="connsiteX24" fmla="*/ 2569 w 10394"/>
              <a:gd name="connsiteY24" fmla="*/ 7191 h 10000"/>
              <a:gd name="connsiteX25" fmla="*/ 7339 w 10394"/>
              <a:gd name="connsiteY25" fmla="*/ 7191 h 10000"/>
              <a:gd name="connsiteX26" fmla="*/ 7339 w 10394"/>
              <a:gd name="connsiteY26" fmla="*/ 8820 h 10000"/>
              <a:gd name="connsiteX27" fmla="*/ 7248 w 10394"/>
              <a:gd name="connsiteY27" fmla="*/ 9045 h 10000"/>
              <a:gd name="connsiteX28" fmla="*/ 7156 w 10394"/>
              <a:gd name="connsiteY28" fmla="*/ 9157 h 10000"/>
              <a:gd name="connsiteX29" fmla="*/ 6789 w 10394"/>
              <a:gd name="connsiteY29" fmla="*/ 9382 h 10000"/>
              <a:gd name="connsiteX30" fmla="*/ 6330 w 10394"/>
              <a:gd name="connsiteY30" fmla="*/ 9494 h 10000"/>
              <a:gd name="connsiteX31" fmla="*/ 6239 w 10394"/>
              <a:gd name="connsiteY31" fmla="*/ 9719 h 10000"/>
              <a:gd name="connsiteX32" fmla="*/ 5872 w 10394"/>
              <a:gd name="connsiteY32" fmla="*/ 9831 h 10000"/>
              <a:gd name="connsiteX33" fmla="*/ 5596 w 10394"/>
              <a:gd name="connsiteY33" fmla="*/ 10000 h 10000"/>
              <a:gd name="connsiteX34" fmla="*/ 4954 w 10394"/>
              <a:gd name="connsiteY34" fmla="*/ 10000 h 10000"/>
              <a:gd name="connsiteX35" fmla="*/ 4404 w 10394"/>
              <a:gd name="connsiteY35" fmla="*/ 10000 h 10000"/>
              <a:gd name="connsiteX36" fmla="*/ 3945 w 10394"/>
              <a:gd name="connsiteY36" fmla="*/ 9831 h 10000"/>
              <a:gd name="connsiteX37" fmla="*/ 3670 w 10394"/>
              <a:gd name="connsiteY37" fmla="*/ 9719 h 10000"/>
              <a:gd name="connsiteX38" fmla="*/ 3578 w 10394"/>
              <a:gd name="connsiteY38" fmla="*/ 9494 h 10000"/>
              <a:gd name="connsiteX39" fmla="*/ 3211 w 10394"/>
              <a:gd name="connsiteY39" fmla="*/ 9382 h 10000"/>
              <a:gd name="connsiteX40" fmla="*/ 2844 w 10394"/>
              <a:gd name="connsiteY40" fmla="*/ 9157 h 10000"/>
              <a:gd name="connsiteX41" fmla="*/ 2661 w 10394"/>
              <a:gd name="connsiteY41" fmla="*/ 9045 h 10000"/>
              <a:gd name="connsiteX42" fmla="*/ 2569 w 10394"/>
              <a:gd name="connsiteY42" fmla="*/ 8820 h 10000"/>
              <a:gd name="connsiteX43" fmla="*/ 2569 w 10394"/>
              <a:gd name="connsiteY43" fmla="*/ 8202 h 10000"/>
              <a:gd name="connsiteX0" fmla="*/ 7339 w 10394"/>
              <a:gd name="connsiteY0" fmla="*/ 5730 h 10000"/>
              <a:gd name="connsiteX1" fmla="*/ 9670 w 10394"/>
              <a:gd name="connsiteY1" fmla="*/ 4395 h 10000"/>
              <a:gd name="connsiteX2" fmla="*/ 10000 w 10394"/>
              <a:gd name="connsiteY2" fmla="*/ 2978 h 10000"/>
              <a:gd name="connsiteX3" fmla="*/ 7798 w 10394"/>
              <a:gd name="connsiteY3" fmla="*/ 449 h 10000"/>
              <a:gd name="connsiteX4" fmla="*/ 6881 w 10394"/>
              <a:gd name="connsiteY4" fmla="*/ 169 h 10000"/>
              <a:gd name="connsiteX5" fmla="*/ 5963 w 10394"/>
              <a:gd name="connsiteY5" fmla="*/ 0 h 10000"/>
              <a:gd name="connsiteX6" fmla="*/ 4954 w 10394"/>
              <a:gd name="connsiteY6" fmla="*/ 0 h 10000"/>
              <a:gd name="connsiteX7" fmla="*/ 3945 w 10394"/>
              <a:gd name="connsiteY7" fmla="*/ 0 h 10000"/>
              <a:gd name="connsiteX8" fmla="*/ 2936 w 10394"/>
              <a:gd name="connsiteY8" fmla="*/ 169 h 10000"/>
              <a:gd name="connsiteX9" fmla="*/ 2202 w 10394"/>
              <a:gd name="connsiteY9" fmla="*/ 449 h 10000"/>
              <a:gd name="connsiteX10" fmla="*/ 1376 w 10394"/>
              <a:gd name="connsiteY10" fmla="*/ 843 h 10000"/>
              <a:gd name="connsiteX11" fmla="*/ 826 w 10394"/>
              <a:gd name="connsiteY11" fmla="*/ 1292 h 10000"/>
              <a:gd name="connsiteX12" fmla="*/ 275 w 10394"/>
              <a:gd name="connsiteY12" fmla="*/ 1854 h 10000"/>
              <a:gd name="connsiteX13" fmla="*/ 92 w 10394"/>
              <a:gd name="connsiteY13" fmla="*/ 2360 h 10000"/>
              <a:gd name="connsiteX14" fmla="*/ 0 w 10394"/>
              <a:gd name="connsiteY14" fmla="*/ 2978 h 10000"/>
              <a:gd name="connsiteX15" fmla="*/ 0 w 10394"/>
              <a:gd name="connsiteY15" fmla="*/ 3483 h 10000"/>
              <a:gd name="connsiteX16" fmla="*/ 183 w 10394"/>
              <a:gd name="connsiteY16" fmla="*/ 3876 h 10000"/>
              <a:gd name="connsiteX17" fmla="*/ 367 w 10394"/>
              <a:gd name="connsiteY17" fmla="*/ 4213 h 10000"/>
              <a:gd name="connsiteX18" fmla="*/ 642 w 10394"/>
              <a:gd name="connsiteY18" fmla="*/ 4663 h 10000"/>
              <a:gd name="connsiteX19" fmla="*/ 1101 w 10394"/>
              <a:gd name="connsiteY19" fmla="*/ 4888 h 10000"/>
              <a:gd name="connsiteX20" fmla="*/ 1560 w 10394"/>
              <a:gd name="connsiteY20" fmla="*/ 5281 h 10000"/>
              <a:gd name="connsiteX21" fmla="*/ 1927 w 10394"/>
              <a:gd name="connsiteY21" fmla="*/ 5506 h 10000"/>
              <a:gd name="connsiteX22" fmla="*/ 2569 w 10394"/>
              <a:gd name="connsiteY22" fmla="*/ 5730 h 10000"/>
              <a:gd name="connsiteX23" fmla="*/ 2569 w 10394"/>
              <a:gd name="connsiteY23" fmla="*/ 7191 h 10000"/>
              <a:gd name="connsiteX24" fmla="*/ 7339 w 10394"/>
              <a:gd name="connsiteY24" fmla="*/ 7191 h 10000"/>
              <a:gd name="connsiteX25" fmla="*/ 7339 w 10394"/>
              <a:gd name="connsiteY25" fmla="*/ 8820 h 10000"/>
              <a:gd name="connsiteX26" fmla="*/ 7248 w 10394"/>
              <a:gd name="connsiteY26" fmla="*/ 9045 h 10000"/>
              <a:gd name="connsiteX27" fmla="*/ 7156 w 10394"/>
              <a:gd name="connsiteY27" fmla="*/ 9157 h 10000"/>
              <a:gd name="connsiteX28" fmla="*/ 6789 w 10394"/>
              <a:gd name="connsiteY28" fmla="*/ 9382 h 10000"/>
              <a:gd name="connsiteX29" fmla="*/ 6330 w 10394"/>
              <a:gd name="connsiteY29" fmla="*/ 9494 h 10000"/>
              <a:gd name="connsiteX30" fmla="*/ 6239 w 10394"/>
              <a:gd name="connsiteY30" fmla="*/ 9719 h 10000"/>
              <a:gd name="connsiteX31" fmla="*/ 5872 w 10394"/>
              <a:gd name="connsiteY31" fmla="*/ 9831 h 10000"/>
              <a:gd name="connsiteX32" fmla="*/ 5596 w 10394"/>
              <a:gd name="connsiteY32" fmla="*/ 10000 h 10000"/>
              <a:gd name="connsiteX33" fmla="*/ 4954 w 10394"/>
              <a:gd name="connsiteY33" fmla="*/ 10000 h 10000"/>
              <a:gd name="connsiteX34" fmla="*/ 4404 w 10394"/>
              <a:gd name="connsiteY34" fmla="*/ 10000 h 10000"/>
              <a:gd name="connsiteX35" fmla="*/ 3945 w 10394"/>
              <a:gd name="connsiteY35" fmla="*/ 9831 h 10000"/>
              <a:gd name="connsiteX36" fmla="*/ 3670 w 10394"/>
              <a:gd name="connsiteY36" fmla="*/ 9719 h 10000"/>
              <a:gd name="connsiteX37" fmla="*/ 3578 w 10394"/>
              <a:gd name="connsiteY37" fmla="*/ 9494 h 10000"/>
              <a:gd name="connsiteX38" fmla="*/ 3211 w 10394"/>
              <a:gd name="connsiteY38" fmla="*/ 9382 h 10000"/>
              <a:gd name="connsiteX39" fmla="*/ 2844 w 10394"/>
              <a:gd name="connsiteY39" fmla="*/ 9157 h 10000"/>
              <a:gd name="connsiteX40" fmla="*/ 2661 w 10394"/>
              <a:gd name="connsiteY40" fmla="*/ 9045 h 10000"/>
              <a:gd name="connsiteX41" fmla="*/ 2569 w 10394"/>
              <a:gd name="connsiteY41" fmla="*/ 8820 h 10000"/>
              <a:gd name="connsiteX42" fmla="*/ 2569 w 10394"/>
              <a:gd name="connsiteY42" fmla="*/ 8202 h 10000"/>
              <a:gd name="connsiteX0" fmla="*/ 7339 w 10394"/>
              <a:gd name="connsiteY0" fmla="*/ 5730 h 10000"/>
              <a:gd name="connsiteX1" fmla="*/ 9670 w 10394"/>
              <a:gd name="connsiteY1" fmla="*/ 4395 h 10000"/>
              <a:gd name="connsiteX2" fmla="*/ 10000 w 10394"/>
              <a:gd name="connsiteY2" fmla="*/ 2978 h 10000"/>
              <a:gd name="connsiteX3" fmla="*/ 6881 w 10394"/>
              <a:gd name="connsiteY3" fmla="*/ 169 h 10000"/>
              <a:gd name="connsiteX4" fmla="*/ 5963 w 10394"/>
              <a:gd name="connsiteY4" fmla="*/ 0 h 10000"/>
              <a:gd name="connsiteX5" fmla="*/ 4954 w 10394"/>
              <a:gd name="connsiteY5" fmla="*/ 0 h 10000"/>
              <a:gd name="connsiteX6" fmla="*/ 3945 w 10394"/>
              <a:gd name="connsiteY6" fmla="*/ 0 h 10000"/>
              <a:gd name="connsiteX7" fmla="*/ 2936 w 10394"/>
              <a:gd name="connsiteY7" fmla="*/ 169 h 10000"/>
              <a:gd name="connsiteX8" fmla="*/ 2202 w 10394"/>
              <a:gd name="connsiteY8" fmla="*/ 449 h 10000"/>
              <a:gd name="connsiteX9" fmla="*/ 1376 w 10394"/>
              <a:gd name="connsiteY9" fmla="*/ 843 h 10000"/>
              <a:gd name="connsiteX10" fmla="*/ 826 w 10394"/>
              <a:gd name="connsiteY10" fmla="*/ 1292 h 10000"/>
              <a:gd name="connsiteX11" fmla="*/ 275 w 10394"/>
              <a:gd name="connsiteY11" fmla="*/ 1854 h 10000"/>
              <a:gd name="connsiteX12" fmla="*/ 92 w 10394"/>
              <a:gd name="connsiteY12" fmla="*/ 2360 h 10000"/>
              <a:gd name="connsiteX13" fmla="*/ 0 w 10394"/>
              <a:gd name="connsiteY13" fmla="*/ 2978 h 10000"/>
              <a:gd name="connsiteX14" fmla="*/ 0 w 10394"/>
              <a:gd name="connsiteY14" fmla="*/ 3483 h 10000"/>
              <a:gd name="connsiteX15" fmla="*/ 183 w 10394"/>
              <a:gd name="connsiteY15" fmla="*/ 3876 h 10000"/>
              <a:gd name="connsiteX16" fmla="*/ 367 w 10394"/>
              <a:gd name="connsiteY16" fmla="*/ 4213 h 10000"/>
              <a:gd name="connsiteX17" fmla="*/ 642 w 10394"/>
              <a:gd name="connsiteY17" fmla="*/ 4663 h 10000"/>
              <a:gd name="connsiteX18" fmla="*/ 1101 w 10394"/>
              <a:gd name="connsiteY18" fmla="*/ 4888 h 10000"/>
              <a:gd name="connsiteX19" fmla="*/ 1560 w 10394"/>
              <a:gd name="connsiteY19" fmla="*/ 5281 h 10000"/>
              <a:gd name="connsiteX20" fmla="*/ 1927 w 10394"/>
              <a:gd name="connsiteY20" fmla="*/ 5506 h 10000"/>
              <a:gd name="connsiteX21" fmla="*/ 2569 w 10394"/>
              <a:gd name="connsiteY21" fmla="*/ 5730 h 10000"/>
              <a:gd name="connsiteX22" fmla="*/ 2569 w 10394"/>
              <a:gd name="connsiteY22" fmla="*/ 7191 h 10000"/>
              <a:gd name="connsiteX23" fmla="*/ 7339 w 10394"/>
              <a:gd name="connsiteY23" fmla="*/ 7191 h 10000"/>
              <a:gd name="connsiteX24" fmla="*/ 7339 w 10394"/>
              <a:gd name="connsiteY24" fmla="*/ 8820 h 10000"/>
              <a:gd name="connsiteX25" fmla="*/ 7248 w 10394"/>
              <a:gd name="connsiteY25" fmla="*/ 9045 h 10000"/>
              <a:gd name="connsiteX26" fmla="*/ 7156 w 10394"/>
              <a:gd name="connsiteY26" fmla="*/ 9157 h 10000"/>
              <a:gd name="connsiteX27" fmla="*/ 6789 w 10394"/>
              <a:gd name="connsiteY27" fmla="*/ 9382 h 10000"/>
              <a:gd name="connsiteX28" fmla="*/ 6330 w 10394"/>
              <a:gd name="connsiteY28" fmla="*/ 9494 h 10000"/>
              <a:gd name="connsiteX29" fmla="*/ 6239 w 10394"/>
              <a:gd name="connsiteY29" fmla="*/ 9719 h 10000"/>
              <a:gd name="connsiteX30" fmla="*/ 5872 w 10394"/>
              <a:gd name="connsiteY30" fmla="*/ 9831 h 10000"/>
              <a:gd name="connsiteX31" fmla="*/ 5596 w 10394"/>
              <a:gd name="connsiteY31" fmla="*/ 10000 h 10000"/>
              <a:gd name="connsiteX32" fmla="*/ 4954 w 10394"/>
              <a:gd name="connsiteY32" fmla="*/ 10000 h 10000"/>
              <a:gd name="connsiteX33" fmla="*/ 4404 w 10394"/>
              <a:gd name="connsiteY33" fmla="*/ 10000 h 10000"/>
              <a:gd name="connsiteX34" fmla="*/ 3945 w 10394"/>
              <a:gd name="connsiteY34" fmla="*/ 9831 h 10000"/>
              <a:gd name="connsiteX35" fmla="*/ 3670 w 10394"/>
              <a:gd name="connsiteY35" fmla="*/ 9719 h 10000"/>
              <a:gd name="connsiteX36" fmla="*/ 3578 w 10394"/>
              <a:gd name="connsiteY36" fmla="*/ 9494 h 10000"/>
              <a:gd name="connsiteX37" fmla="*/ 3211 w 10394"/>
              <a:gd name="connsiteY37" fmla="*/ 9382 h 10000"/>
              <a:gd name="connsiteX38" fmla="*/ 2844 w 10394"/>
              <a:gd name="connsiteY38" fmla="*/ 9157 h 10000"/>
              <a:gd name="connsiteX39" fmla="*/ 2661 w 10394"/>
              <a:gd name="connsiteY39" fmla="*/ 9045 h 10000"/>
              <a:gd name="connsiteX40" fmla="*/ 2569 w 10394"/>
              <a:gd name="connsiteY40" fmla="*/ 8820 h 10000"/>
              <a:gd name="connsiteX41" fmla="*/ 2569 w 10394"/>
              <a:gd name="connsiteY41" fmla="*/ 8202 h 10000"/>
              <a:gd name="connsiteX0" fmla="*/ 7339 w 10394"/>
              <a:gd name="connsiteY0" fmla="*/ 5950 h 10220"/>
              <a:gd name="connsiteX1" fmla="*/ 9670 w 10394"/>
              <a:gd name="connsiteY1" fmla="*/ 4615 h 10220"/>
              <a:gd name="connsiteX2" fmla="*/ 10000 w 10394"/>
              <a:gd name="connsiteY2" fmla="*/ 3198 h 10220"/>
              <a:gd name="connsiteX3" fmla="*/ 5963 w 10394"/>
              <a:gd name="connsiteY3" fmla="*/ 220 h 10220"/>
              <a:gd name="connsiteX4" fmla="*/ 4954 w 10394"/>
              <a:gd name="connsiteY4" fmla="*/ 220 h 10220"/>
              <a:gd name="connsiteX5" fmla="*/ 3945 w 10394"/>
              <a:gd name="connsiteY5" fmla="*/ 220 h 10220"/>
              <a:gd name="connsiteX6" fmla="*/ 2936 w 10394"/>
              <a:gd name="connsiteY6" fmla="*/ 389 h 10220"/>
              <a:gd name="connsiteX7" fmla="*/ 2202 w 10394"/>
              <a:gd name="connsiteY7" fmla="*/ 669 h 10220"/>
              <a:gd name="connsiteX8" fmla="*/ 1376 w 10394"/>
              <a:gd name="connsiteY8" fmla="*/ 1063 h 10220"/>
              <a:gd name="connsiteX9" fmla="*/ 826 w 10394"/>
              <a:gd name="connsiteY9" fmla="*/ 1512 h 10220"/>
              <a:gd name="connsiteX10" fmla="*/ 275 w 10394"/>
              <a:gd name="connsiteY10" fmla="*/ 2074 h 10220"/>
              <a:gd name="connsiteX11" fmla="*/ 92 w 10394"/>
              <a:gd name="connsiteY11" fmla="*/ 2580 h 10220"/>
              <a:gd name="connsiteX12" fmla="*/ 0 w 10394"/>
              <a:gd name="connsiteY12" fmla="*/ 3198 h 10220"/>
              <a:gd name="connsiteX13" fmla="*/ 0 w 10394"/>
              <a:gd name="connsiteY13" fmla="*/ 3703 h 10220"/>
              <a:gd name="connsiteX14" fmla="*/ 183 w 10394"/>
              <a:gd name="connsiteY14" fmla="*/ 4096 h 10220"/>
              <a:gd name="connsiteX15" fmla="*/ 367 w 10394"/>
              <a:gd name="connsiteY15" fmla="*/ 4433 h 10220"/>
              <a:gd name="connsiteX16" fmla="*/ 642 w 10394"/>
              <a:gd name="connsiteY16" fmla="*/ 4883 h 10220"/>
              <a:gd name="connsiteX17" fmla="*/ 1101 w 10394"/>
              <a:gd name="connsiteY17" fmla="*/ 5108 h 10220"/>
              <a:gd name="connsiteX18" fmla="*/ 1560 w 10394"/>
              <a:gd name="connsiteY18" fmla="*/ 5501 h 10220"/>
              <a:gd name="connsiteX19" fmla="*/ 1927 w 10394"/>
              <a:gd name="connsiteY19" fmla="*/ 5726 h 10220"/>
              <a:gd name="connsiteX20" fmla="*/ 2569 w 10394"/>
              <a:gd name="connsiteY20" fmla="*/ 5950 h 10220"/>
              <a:gd name="connsiteX21" fmla="*/ 2569 w 10394"/>
              <a:gd name="connsiteY21" fmla="*/ 7411 h 10220"/>
              <a:gd name="connsiteX22" fmla="*/ 7339 w 10394"/>
              <a:gd name="connsiteY22" fmla="*/ 7411 h 10220"/>
              <a:gd name="connsiteX23" fmla="*/ 7339 w 10394"/>
              <a:gd name="connsiteY23" fmla="*/ 9040 h 10220"/>
              <a:gd name="connsiteX24" fmla="*/ 7248 w 10394"/>
              <a:gd name="connsiteY24" fmla="*/ 9265 h 10220"/>
              <a:gd name="connsiteX25" fmla="*/ 7156 w 10394"/>
              <a:gd name="connsiteY25" fmla="*/ 9377 h 10220"/>
              <a:gd name="connsiteX26" fmla="*/ 6789 w 10394"/>
              <a:gd name="connsiteY26" fmla="*/ 9602 h 10220"/>
              <a:gd name="connsiteX27" fmla="*/ 6330 w 10394"/>
              <a:gd name="connsiteY27" fmla="*/ 9714 h 10220"/>
              <a:gd name="connsiteX28" fmla="*/ 6239 w 10394"/>
              <a:gd name="connsiteY28" fmla="*/ 9939 h 10220"/>
              <a:gd name="connsiteX29" fmla="*/ 5872 w 10394"/>
              <a:gd name="connsiteY29" fmla="*/ 10051 h 10220"/>
              <a:gd name="connsiteX30" fmla="*/ 5596 w 10394"/>
              <a:gd name="connsiteY30" fmla="*/ 10220 h 10220"/>
              <a:gd name="connsiteX31" fmla="*/ 4954 w 10394"/>
              <a:gd name="connsiteY31" fmla="*/ 10220 h 10220"/>
              <a:gd name="connsiteX32" fmla="*/ 4404 w 10394"/>
              <a:gd name="connsiteY32" fmla="*/ 10220 h 10220"/>
              <a:gd name="connsiteX33" fmla="*/ 3945 w 10394"/>
              <a:gd name="connsiteY33" fmla="*/ 10051 h 10220"/>
              <a:gd name="connsiteX34" fmla="*/ 3670 w 10394"/>
              <a:gd name="connsiteY34" fmla="*/ 9939 h 10220"/>
              <a:gd name="connsiteX35" fmla="*/ 3578 w 10394"/>
              <a:gd name="connsiteY35" fmla="*/ 9714 h 10220"/>
              <a:gd name="connsiteX36" fmla="*/ 3211 w 10394"/>
              <a:gd name="connsiteY36" fmla="*/ 9602 h 10220"/>
              <a:gd name="connsiteX37" fmla="*/ 2844 w 10394"/>
              <a:gd name="connsiteY37" fmla="*/ 9377 h 10220"/>
              <a:gd name="connsiteX38" fmla="*/ 2661 w 10394"/>
              <a:gd name="connsiteY38" fmla="*/ 9265 h 10220"/>
              <a:gd name="connsiteX39" fmla="*/ 2569 w 10394"/>
              <a:gd name="connsiteY39" fmla="*/ 9040 h 10220"/>
              <a:gd name="connsiteX40" fmla="*/ 2569 w 10394"/>
              <a:gd name="connsiteY40" fmla="*/ 8422 h 1022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3945 w 10394"/>
              <a:gd name="connsiteY4" fmla="*/ 0 h 10000"/>
              <a:gd name="connsiteX5" fmla="*/ 2936 w 10394"/>
              <a:gd name="connsiteY5" fmla="*/ 169 h 10000"/>
              <a:gd name="connsiteX6" fmla="*/ 2202 w 10394"/>
              <a:gd name="connsiteY6" fmla="*/ 449 h 10000"/>
              <a:gd name="connsiteX7" fmla="*/ 1376 w 10394"/>
              <a:gd name="connsiteY7" fmla="*/ 843 h 10000"/>
              <a:gd name="connsiteX8" fmla="*/ 826 w 10394"/>
              <a:gd name="connsiteY8" fmla="*/ 1292 h 10000"/>
              <a:gd name="connsiteX9" fmla="*/ 275 w 10394"/>
              <a:gd name="connsiteY9" fmla="*/ 1854 h 10000"/>
              <a:gd name="connsiteX10" fmla="*/ 92 w 10394"/>
              <a:gd name="connsiteY10" fmla="*/ 2360 h 10000"/>
              <a:gd name="connsiteX11" fmla="*/ 0 w 10394"/>
              <a:gd name="connsiteY11" fmla="*/ 2978 h 10000"/>
              <a:gd name="connsiteX12" fmla="*/ 0 w 10394"/>
              <a:gd name="connsiteY12" fmla="*/ 3483 h 10000"/>
              <a:gd name="connsiteX13" fmla="*/ 183 w 10394"/>
              <a:gd name="connsiteY13" fmla="*/ 3876 h 10000"/>
              <a:gd name="connsiteX14" fmla="*/ 367 w 10394"/>
              <a:gd name="connsiteY14" fmla="*/ 4213 h 10000"/>
              <a:gd name="connsiteX15" fmla="*/ 642 w 10394"/>
              <a:gd name="connsiteY15" fmla="*/ 4663 h 10000"/>
              <a:gd name="connsiteX16" fmla="*/ 1101 w 10394"/>
              <a:gd name="connsiteY16" fmla="*/ 4888 h 10000"/>
              <a:gd name="connsiteX17" fmla="*/ 1560 w 10394"/>
              <a:gd name="connsiteY17" fmla="*/ 5281 h 10000"/>
              <a:gd name="connsiteX18" fmla="*/ 1927 w 10394"/>
              <a:gd name="connsiteY18" fmla="*/ 5506 h 10000"/>
              <a:gd name="connsiteX19" fmla="*/ 2569 w 10394"/>
              <a:gd name="connsiteY19" fmla="*/ 5730 h 10000"/>
              <a:gd name="connsiteX20" fmla="*/ 2569 w 10394"/>
              <a:gd name="connsiteY20" fmla="*/ 7191 h 10000"/>
              <a:gd name="connsiteX21" fmla="*/ 7339 w 10394"/>
              <a:gd name="connsiteY21" fmla="*/ 7191 h 10000"/>
              <a:gd name="connsiteX22" fmla="*/ 7339 w 10394"/>
              <a:gd name="connsiteY22" fmla="*/ 8820 h 10000"/>
              <a:gd name="connsiteX23" fmla="*/ 7248 w 10394"/>
              <a:gd name="connsiteY23" fmla="*/ 9045 h 10000"/>
              <a:gd name="connsiteX24" fmla="*/ 7156 w 10394"/>
              <a:gd name="connsiteY24" fmla="*/ 9157 h 10000"/>
              <a:gd name="connsiteX25" fmla="*/ 6789 w 10394"/>
              <a:gd name="connsiteY25" fmla="*/ 9382 h 10000"/>
              <a:gd name="connsiteX26" fmla="*/ 6330 w 10394"/>
              <a:gd name="connsiteY26" fmla="*/ 9494 h 10000"/>
              <a:gd name="connsiteX27" fmla="*/ 6239 w 10394"/>
              <a:gd name="connsiteY27" fmla="*/ 9719 h 10000"/>
              <a:gd name="connsiteX28" fmla="*/ 5872 w 10394"/>
              <a:gd name="connsiteY28" fmla="*/ 9831 h 10000"/>
              <a:gd name="connsiteX29" fmla="*/ 5596 w 10394"/>
              <a:gd name="connsiteY29" fmla="*/ 10000 h 10000"/>
              <a:gd name="connsiteX30" fmla="*/ 4954 w 10394"/>
              <a:gd name="connsiteY30" fmla="*/ 10000 h 10000"/>
              <a:gd name="connsiteX31" fmla="*/ 4404 w 10394"/>
              <a:gd name="connsiteY31" fmla="*/ 10000 h 10000"/>
              <a:gd name="connsiteX32" fmla="*/ 3945 w 10394"/>
              <a:gd name="connsiteY32" fmla="*/ 9831 h 10000"/>
              <a:gd name="connsiteX33" fmla="*/ 3670 w 10394"/>
              <a:gd name="connsiteY33" fmla="*/ 9719 h 10000"/>
              <a:gd name="connsiteX34" fmla="*/ 3578 w 10394"/>
              <a:gd name="connsiteY34" fmla="*/ 9494 h 10000"/>
              <a:gd name="connsiteX35" fmla="*/ 3211 w 10394"/>
              <a:gd name="connsiteY35" fmla="*/ 9382 h 10000"/>
              <a:gd name="connsiteX36" fmla="*/ 2844 w 10394"/>
              <a:gd name="connsiteY36" fmla="*/ 9157 h 10000"/>
              <a:gd name="connsiteX37" fmla="*/ 2661 w 10394"/>
              <a:gd name="connsiteY37" fmla="*/ 9045 h 10000"/>
              <a:gd name="connsiteX38" fmla="*/ 2569 w 10394"/>
              <a:gd name="connsiteY38" fmla="*/ 8820 h 10000"/>
              <a:gd name="connsiteX39" fmla="*/ 2569 w 10394"/>
              <a:gd name="connsiteY39"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2936 w 10394"/>
              <a:gd name="connsiteY4" fmla="*/ 169 h 10000"/>
              <a:gd name="connsiteX5" fmla="*/ 2202 w 10394"/>
              <a:gd name="connsiteY5" fmla="*/ 449 h 10000"/>
              <a:gd name="connsiteX6" fmla="*/ 1376 w 10394"/>
              <a:gd name="connsiteY6" fmla="*/ 843 h 10000"/>
              <a:gd name="connsiteX7" fmla="*/ 826 w 10394"/>
              <a:gd name="connsiteY7" fmla="*/ 1292 h 10000"/>
              <a:gd name="connsiteX8" fmla="*/ 275 w 10394"/>
              <a:gd name="connsiteY8" fmla="*/ 1854 h 10000"/>
              <a:gd name="connsiteX9" fmla="*/ 92 w 10394"/>
              <a:gd name="connsiteY9" fmla="*/ 2360 h 10000"/>
              <a:gd name="connsiteX10" fmla="*/ 0 w 10394"/>
              <a:gd name="connsiteY10" fmla="*/ 2978 h 10000"/>
              <a:gd name="connsiteX11" fmla="*/ 0 w 10394"/>
              <a:gd name="connsiteY11" fmla="*/ 3483 h 10000"/>
              <a:gd name="connsiteX12" fmla="*/ 183 w 10394"/>
              <a:gd name="connsiteY12" fmla="*/ 3876 h 10000"/>
              <a:gd name="connsiteX13" fmla="*/ 367 w 10394"/>
              <a:gd name="connsiteY13" fmla="*/ 4213 h 10000"/>
              <a:gd name="connsiteX14" fmla="*/ 642 w 10394"/>
              <a:gd name="connsiteY14" fmla="*/ 4663 h 10000"/>
              <a:gd name="connsiteX15" fmla="*/ 1101 w 10394"/>
              <a:gd name="connsiteY15" fmla="*/ 4888 h 10000"/>
              <a:gd name="connsiteX16" fmla="*/ 1560 w 10394"/>
              <a:gd name="connsiteY16" fmla="*/ 5281 h 10000"/>
              <a:gd name="connsiteX17" fmla="*/ 1927 w 10394"/>
              <a:gd name="connsiteY17" fmla="*/ 5506 h 10000"/>
              <a:gd name="connsiteX18" fmla="*/ 2569 w 10394"/>
              <a:gd name="connsiteY18" fmla="*/ 5730 h 10000"/>
              <a:gd name="connsiteX19" fmla="*/ 2569 w 10394"/>
              <a:gd name="connsiteY19" fmla="*/ 7191 h 10000"/>
              <a:gd name="connsiteX20" fmla="*/ 7339 w 10394"/>
              <a:gd name="connsiteY20" fmla="*/ 7191 h 10000"/>
              <a:gd name="connsiteX21" fmla="*/ 7339 w 10394"/>
              <a:gd name="connsiteY21" fmla="*/ 8820 h 10000"/>
              <a:gd name="connsiteX22" fmla="*/ 7248 w 10394"/>
              <a:gd name="connsiteY22" fmla="*/ 9045 h 10000"/>
              <a:gd name="connsiteX23" fmla="*/ 7156 w 10394"/>
              <a:gd name="connsiteY23" fmla="*/ 9157 h 10000"/>
              <a:gd name="connsiteX24" fmla="*/ 6789 w 10394"/>
              <a:gd name="connsiteY24" fmla="*/ 9382 h 10000"/>
              <a:gd name="connsiteX25" fmla="*/ 6330 w 10394"/>
              <a:gd name="connsiteY25" fmla="*/ 9494 h 10000"/>
              <a:gd name="connsiteX26" fmla="*/ 6239 w 10394"/>
              <a:gd name="connsiteY26" fmla="*/ 9719 h 10000"/>
              <a:gd name="connsiteX27" fmla="*/ 5872 w 10394"/>
              <a:gd name="connsiteY27" fmla="*/ 9831 h 10000"/>
              <a:gd name="connsiteX28" fmla="*/ 5596 w 10394"/>
              <a:gd name="connsiteY28" fmla="*/ 10000 h 10000"/>
              <a:gd name="connsiteX29" fmla="*/ 4954 w 10394"/>
              <a:gd name="connsiteY29" fmla="*/ 10000 h 10000"/>
              <a:gd name="connsiteX30" fmla="*/ 4404 w 10394"/>
              <a:gd name="connsiteY30" fmla="*/ 10000 h 10000"/>
              <a:gd name="connsiteX31" fmla="*/ 3945 w 10394"/>
              <a:gd name="connsiteY31" fmla="*/ 9831 h 10000"/>
              <a:gd name="connsiteX32" fmla="*/ 3670 w 10394"/>
              <a:gd name="connsiteY32" fmla="*/ 9719 h 10000"/>
              <a:gd name="connsiteX33" fmla="*/ 3578 w 10394"/>
              <a:gd name="connsiteY33" fmla="*/ 9494 h 10000"/>
              <a:gd name="connsiteX34" fmla="*/ 3211 w 10394"/>
              <a:gd name="connsiteY34" fmla="*/ 9382 h 10000"/>
              <a:gd name="connsiteX35" fmla="*/ 2844 w 10394"/>
              <a:gd name="connsiteY35" fmla="*/ 9157 h 10000"/>
              <a:gd name="connsiteX36" fmla="*/ 2661 w 10394"/>
              <a:gd name="connsiteY36" fmla="*/ 9045 h 10000"/>
              <a:gd name="connsiteX37" fmla="*/ 2569 w 10394"/>
              <a:gd name="connsiteY37" fmla="*/ 8820 h 10000"/>
              <a:gd name="connsiteX38" fmla="*/ 2569 w 10394"/>
              <a:gd name="connsiteY38"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2936 w 10394"/>
              <a:gd name="connsiteY4" fmla="*/ 169 h 10000"/>
              <a:gd name="connsiteX5" fmla="*/ 1376 w 10394"/>
              <a:gd name="connsiteY5" fmla="*/ 843 h 10000"/>
              <a:gd name="connsiteX6" fmla="*/ 826 w 10394"/>
              <a:gd name="connsiteY6" fmla="*/ 1292 h 10000"/>
              <a:gd name="connsiteX7" fmla="*/ 275 w 10394"/>
              <a:gd name="connsiteY7" fmla="*/ 1854 h 10000"/>
              <a:gd name="connsiteX8" fmla="*/ 92 w 10394"/>
              <a:gd name="connsiteY8" fmla="*/ 2360 h 10000"/>
              <a:gd name="connsiteX9" fmla="*/ 0 w 10394"/>
              <a:gd name="connsiteY9" fmla="*/ 2978 h 10000"/>
              <a:gd name="connsiteX10" fmla="*/ 0 w 10394"/>
              <a:gd name="connsiteY10" fmla="*/ 3483 h 10000"/>
              <a:gd name="connsiteX11" fmla="*/ 183 w 10394"/>
              <a:gd name="connsiteY11" fmla="*/ 3876 h 10000"/>
              <a:gd name="connsiteX12" fmla="*/ 367 w 10394"/>
              <a:gd name="connsiteY12" fmla="*/ 4213 h 10000"/>
              <a:gd name="connsiteX13" fmla="*/ 642 w 10394"/>
              <a:gd name="connsiteY13" fmla="*/ 4663 h 10000"/>
              <a:gd name="connsiteX14" fmla="*/ 1101 w 10394"/>
              <a:gd name="connsiteY14" fmla="*/ 4888 h 10000"/>
              <a:gd name="connsiteX15" fmla="*/ 1560 w 10394"/>
              <a:gd name="connsiteY15" fmla="*/ 5281 h 10000"/>
              <a:gd name="connsiteX16" fmla="*/ 1927 w 10394"/>
              <a:gd name="connsiteY16" fmla="*/ 5506 h 10000"/>
              <a:gd name="connsiteX17" fmla="*/ 2569 w 10394"/>
              <a:gd name="connsiteY17" fmla="*/ 5730 h 10000"/>
              <a:gd name="connsiteX18" fmla="*/ 2569 w 10394"/>
              <a:gd name="connsiteY18" fmla="*/ 7191 h 10000"/>
              <a:gd name="connsiteX19" fmla="*/ 7339 w 10394"/>
              <a:gd name="connsiteY19" fmla="*/ 7191 h 10000"/>
              <a:gd name="connsiteX20" fmla="*/ 7339 w 10394"/>
              <a:gd name="connsiteY20" fmla="*/ 8820 h 10000"/>
              <a:gd name="connsiteX21" fmla="*/ 7248 w 10394"/>
              <a:gd name="connsiteY21" fmla="*/ 9045 h 10000"/>
              <a:gd name="connsiteX22" fmla="*/ 7156 w 10394"/>
              <a:gd name="connsiteY22" fmla="*/ 9157 h 10000"/>
              <a:gd name="connsiteX23" fmla="*/ 6789 w 10394"/>
              <a:gd name="connsiteY23" fmla="*/ 9382 h 10000"/>
              <a:gd name="connsiteX24" fmla="*/ 6330 w 10394"/>
              <a:gd name="connsiteY24" fmla="*/ 9494 h 10000"/>
              <a:gd name="connsiteX25" fmla="*/ 6239 w 10394"/>
              <a:gd name="connsiteY25" fmla="*/ 9719 h 10000"/>
              <a:gd name="connsiteX26" fmla="*/ 5872 w 10394"/>
              <a:gd name="connsiteY26" fmla="*/ 9831 h 10000"/>
              <a:gd name="connsiteX27" fmla="*/ 5596 w 10394"/>
              <a:gd name="connsiteY27" fmla="*/ 10000 h 10000"/>
              <a:gd name="connsiteX28" fmla="*/ 4954 w 10394"/>
              <a:gd name="connsiteY28" fmla="*/ 10000 h 10000"/>
              <a:gd name="connsiteX29" fmla="*/ 4404 w 10394"/>
              <a:gd name="connsiteY29" fmla="*/ 10000 h 10000"/>
              <a:gd name="connsiteX30" fmla="*/ 3945 w 10394"/>
              <a:gd name="connsiteY30" fmla="*/ 9831 h 10000"/>
              <a:gd name="connsiteX31" fmla="*/ 3670 w 10394"/>
              <a:gd name="connsiteY31" fmla="*/ 9719 h 10000"/>
              <a:gd name="connsiteX32" fmla="*/ 3578 w 10394"/>
              <a:gd name="connsiteY32" fmla="*/ 9494 h 10000"/>
              <a:gd name="connsiteX33" fmla="*/ 3211 w 10394"/>
              <a:gd name="connsiteY33" fmla="*/ 9382 h 10000"/>
              <a:gd name="connsiteX34" fmla="*/ 2844 w 10394"/>
              <a:gd name="connsiteY34" fmla="*/ 9157 h 10000"/>
              <a:gd name="connsiteX35" fmla="*/ 2661 w 10394"/>
              <a:gd name="connsiteY35" fmla="*/ 9045 h 10000"/>
              <a:gd name="connsiteX36" fmla="*/ 2569 w 10394"/>
              <a:gd name="connsiteY36" fmla="*/ 8820 h 10000"/>
              <a:gd name="connsiteX37" fmla="*/ 2569 w 10394"/>
              <a:gd name="connsiteY37"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2936 w 10394"/>
              <a:gd name="connsiteY4" fmla="*/ 169 h 10000"/>
              <a:gd name="connsiteX5" fmla="*/ 826 w 10394"/>
              <a:gd name="connsiteY5" fmla="*/ 1292 h 10000"/>
              <a:gd name="connsiteX6" fmla="*/ 275 w 10394"/>
              <a:gd name="connsiteY6" fmla="*/ 1854 h 10000"/>
              <a:gd name="connsiteX7" fmla="*/ 92 w 10394"/>
              <a:gd name="connsiteY7" fmla="*/ 2360 h 10000"/>
              <a:gd name="connsiteX8" fmla="*/ 0 w 10394"/>
              <a:gd name="connsiteY8" fmla="*/ 2978 h 10000"/>
              <a:gd name="connsiteX9" fmla="*/ 0 w 10394"/>
              <a:gd name="connsiteY9" fmla="*/ 3483 h 10000"/>
              <a:gd name="connsiteX10" fmla="*/ 183 w 10394"/>
              <a:gd name="connsiteY10" fmla="*/ 3876 h 10000"/>
              <a:gd name="connsiteX11" fmla="*/ 367 w 10394"/>
              <a:gd name="connsiteY11" fmla="*/ 4213 h 10000"/>
              <a:gd name="connsiteX12" fmla="*/ 642 w 10394"/>
              <a:gd name="connsiteY12" fmla="*/ 4663 h 10000"/>
              <a:gd name="connsiteX13" fmla="*/ 1101 w 10394"/>
              <a:gd name="connsiteY13" fmla="*/ 4888 h 10000"/>
              <a:gd name="connsiteX14" fmla="*/ 1560 w 10394"/>
              <a:gd name="connsiteY14" fmla="*/ 5281 h 10000"/>
              <a:gd name="connsiteX15" fmla="*/ 1927 w 10394"/>
              <a:gd name="connsiteY15" fmla="*/ 5506 h 10000"/>
              <a:gd name="connsiteX16" fmla="*/ 2569 w 10394"/>
              <a:gd name="connsiteY16" fmla="*/ 5730 h 10000"/>
              <a:gd name="connsiteX17" fmla="*/ 2569 w 10394"/>
              <a:gd name="connsiteY17" fmla="*/ 7191 h 10000"/>
              <a:gd name="connsiteX18" fmla="*/ 7339 w 10394"/>
              <a:gd name="connsiteY18" fmla="*/ 7191 h 10000"/>
              <a:gd name="connsiteX19" fmla="*/ 7339 w 10394"/>
              <a:gd name="connsiteY19" fmla="*/ 8820 h 10000"/>
              <a:gd name="connsiteX20" fmla="*/ 7248 w 10394"/>
              <a:gd name="connsiteY20" fmla="*/ 9045 h 10000"/>
              <a:gd name="connsiteX21" fmla="*/ 7156 w 10394"/>
              <a:gd name="connsiteY21" fmla="*/ 9157 h 10000"/>
              <a:gd name="connsiteX22" fmla="*/ 6789 w 10394"/>
              <a:gd name="connsiteY22" fmla="*/ 9382 h 10000"/>
              <a:gd name="connsiteX23" fmla="*/ 6330 w 10394"/>
              <a:gd name="connsiteY23" fmla="*/ 9494 h 10000"/>
              <a:gd name="connsiteX24" fmla="*/ 6239 w 10394"/>
              <a:gd name="connsiteY24" fmla="*/ 9719 h 10000"/>
              <a:gd name="connsiteX25" fmla="*/ 5872 w 10394"/>
              <a:gd name="connsiteY25" fmla="*/ 9831 h 10000"/>
              <a:gd name="connsiteX26" fmla="*/ 5596 w 10394"/>
              <a:gd name="connsiteY26" fmla="*/ 10000 h 10000"/>
              <a:gd name="connsiteX27" fmla="*/ 4954 w 10394"/>
              <a:gd name="connsiteY27" fmla="*/ 10000 h 10000"/>
              <a:gd name="connsiteX28" fmla="*/ 4404 w 10394"/>
              <a:gd name="connsiteY28" fmla="*/ 10000 h 10000"/>
              <a:gd name="connsiteX29" fmla="*/ 3945 w 10394"/>
              <a:gd name="connsiteY29" fmla="*/ 9831 h 10000"/>
              <a:gd name="connsiteX30" fmla="*/ 3670 w 10394"/>
              <a:gd name="connsiteY30" fmla="*/ 9719 h 10000"/>
              <a:gd name="connsiteX31" fmla="*/ 3578 w 10394"/>
              <a:gd name="connsiteY31" fmla="*/ 9494 h 10000"/>
              <a:gd name="connsiteX32" fmla="*/ 3211 w 10394"/>
              <a:gd name="connsiteY32" fmla="*/ 9382 h 10000"/>
              <a:gd name="connsiteX33" fmla="*/ 2844 w 10394"/>
              <a:gd name="connsiteY33" fmla="*/ 9157 h 10000"/>
              <a:gd name="connsiteX34" fmla="*/ 2661 w 10394"/>
              <a:gd name="connsiteY34" fmla="*/ 9045 h 10000"/>
              <a:gd name="connsiteX35" fmla="*/ 2569 w 10394"/>
              <a:gd name="connsiteY35" fmla="*/ 8820 h 10000"/>
              <a:gd name="connsiteX36" fmla="*/ 2569 w 10394"/>
              <a:gd name="connsiteY36"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826 w 10394"/>
              <a:gd name="connsiteY4" fmla="*/ 1292 h 10000"/>
              <a:gd name="connsiteX5" fmla="*/ 275 w 10394"/>
              <a:gd name="connsiteY5" fmla="*/ 1854 h 10000"/>
              <a:gd name="connsiteX6" fmla="*/ 92 w 10394"/>
              <a:gd name="connsiteY6" fmla="*/ 2360 h 10000"/>
              <a:gd name="connsiteX7" fmla="*/ 0 w 10394"/>
              <a:gd name="connsiteY7" fmla="*/ 2978 h 10000"/>
              <a:gd name="connsiteX8" fmla="*/ 0 w 10394"/>
              <a:gd name="connsiteY8" fmla="*/ 3483 h 10000"/>
              <a:gd name="connsiteX9" fmla="*/ 183 w 10394"/>
              <a:gd name="connsiteY9" fmla="*/ 3876 h 10000"/>
              <a:gd name="connsiteX10" fmla="*/ 367 w 10394"/>
              <a:gd name="connsiteY10" fmla="*/ 4213 h 10000"/>
              <a:gd name="connsiteX11" fmla="*/ 642 w 10394"/>
              <a:gd name="connsiteY11" fmla="*/ 4663 h 10000"/>
              <a:gd name="connsiteX12" fmla="*/ 1101 w 10394"/>
              <a:gd name="connsiteY12" fmla="*/ 4888 h 10000"/>
              <a:gd name="connsiteX13" fmla="*/ 1560 w 10394"/>
              <a:gd name="connsiteY13" fmla="*/ 5281 h 10000"/>
              <a:gd name="connsiteX14" fmla="*/ 1927 w 10394"/>
              <a:gd name="connsiteY14" fmla="*/ 5506 h 10000"/>
              <a:gd name="connsiteX15" fmla="*/ 2569 w 10394"/>
              <a:gd name="connsiteY15" fmla="*/ 5730 h 10000"/>
              <a:gd name="connsiteX16" fmla="*/ 2569 w 10394"/>
              <a:gd name="connsiteY16" fmla="*/ 7191 h 10000"/>
              <a:gd name="connsiteX17" fmla="*/ 7339 w 10394"/>
              <a:gd name="connsiteY17" fmla="*/ 7191 h 10000"/>
              <a:gd name="connsiteX18" fmla="*/ 7339 w 10394"/>
              <a:gd name="connsiteY18" fmla="*/ 8820 h 10000"/>
              <a:gd name="connsiteX19" fmla="*/ 7248 w 10394"/>
              <a:gd name="connsiteY19" fmla="*/ 9045 h 10000"/>
              <a:gd name="connsiteX20" fmla="*/ 7156 w 10394"/>
              <a:gd name="connsiteY20" fmla="*/ 9157 h 10000"/>
              <a:gd name="connsiteX21" fmla="*/ 6789 w 10394"/>
              <a:gd name="connsiteY21" fmla="*/ 9382 h 10000"/>
              <a:gd name="connsiteX22" fmla="*/ 6330 w 10394"/>
              <a:gd name="connsiteY22" fmla="*/ 9494 h 10000"/>
              <a:gd name="connsiteX23" fmla="*/ 6239 w 10394"/>
              <a:gd name="connsiteY23" fmla="*/ 9719 h 10000"/>
              <a:gd name="connsiteX24" fmla="*/ 5872 w 10394"/>
              <a:gd name="connsiteY24" fmla="*/ 9831 h 10000"/>
              <a:gd name="connsiteX25" fmla="*/ 5596 w 10394"/>
              <a:gd name="connsiteY25" fmla="*/ 10000 h 10000"/>
              <a:gd name="connsiteX26" fmla="*/ 4954 w 10394"/>
              <a:gd name="connsiteY26" fmla="*/ 10000 h 10000"/>
              <a:gd name="connsiteX27" fmla="*/ 4404 w 10394"/>
              <a:gd name="connsiteY27" fmla="*/ 10000 h 10000"/>
              <a:gd name="connsiteX28" fmla="*/ 3945 w 10394"/>
              <a:gd name="connsiteY28" fmla="*/ 9831 h 10000"/>
              <a:gd name="connsiteX29" fmla="*/ 3670 w 10394"/>
              <a:gd name="connsiteY29" fmla="*/ 9719 h 10000"/>
              <a:gd name="connsiteX30" fmla="*/ 3578 w 10394"/>
              <a:gd name="connsiteY30" fmla="*/ 9494 h 10000"/>
              <a:gd name="connsiteX31" fmla="*/ 3211 w 10394"/>
              <a:gd name="connsiteY31" fmla="*/ 9382 h 10000"/>
              <a:gd name="connsiteX32" fmla="*/ 2844 w 10394"/>
              <a:gd name="connsiteY32" fmla="*/ 9157 h 10000"/>
              <a:gd name="connsiteX33" fmla="*/ 2661 w 10394"/>
              <a:gd name="connsiteY33" fmla="*/ 9045 h 10000"/>
              <a:gd name="connsiteX34" fmla="*/ 2569 w 10394"/>
              <a:gd name="connsiteY34" fmla="*/ 8820 h 10000"/>
              <a:gd name="connsiteX35" fmla="*/ 2569 w 10394"/>
              <a:gd name="connsiteY35"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275 w 10394"/>
              <a:gd name="connsiteY4" fmla="*/ 1854 h 10000"/>
              <a:gd name="connsiteX5" fmla="*/ 92 w 10394"/>
              <a:gd name="connsiteY5" fmla="*/ 2360 h 10000"/>
              <a:gd name="connsiteX6" fmla="*/ 0 w 10394"/>
              <a:gd name="connsiteY6" fmla="*/ 2978 h 10000"/>
              <a:gd name="connsiteX7" fmla="*/ 0 w 10394"/>
              <a:gd name="connsiteY7" fmla="*/ 3483 h 10000"/>
              <a:gd name="connsiteX8" fmla="*/ 183 w 10394"/>
              <a:gd name="connsiteY8" fmla="*/ 3876 h 10000"/>
              <a:gd name="connsiteX9" fmla="*/ 367 w 10394"/>
              <a:gd name="connsiteY9" fmla="*/ 4213 h 10000"/>
              <a:gd name="connsiteX10" fmla="*/ 642 w 10394"/>
              <a:gd name="connsiteY10" fmla="*/ 4663 h 10000"/>
              <a:gd name="connsiteX11" fmla="*/ 1101 w 10394"/>
              <a:gd name="connsiteY11" fmla="*/ 4888 h 10000"/>
              <a:gd name="connsiteX12" fmla="*/ 1560 w 10394"/>
              <a:gd name="connsiteY12" fmla="*/ 5281 h 10000"/>
              <a:gd name="connsiteX13" fmla="*/ 1927 w 10394"/>
              <a:gd name="connsiteY13" fmla="*/ 5506 h 10000"/>
              <a:gd name="connsiteX14" fmla="*/ 2569 w 10394"/>
              <a:gd name="connsiteY14" fmla="*/ 5730 h 10000"/>
              <a:gd name="connsiteX15" fmla="*/ 2569 w 10394"/>
              <a:gd name="connsiteY15" fmla="*/ 7191 h 10000"/>
              <a:gd name="connsiteX16" fmla="*/ 7339 w 10394"/>
              <a:gd name="connsiteY16" fmla="*/ 7191 h 10000"/>
              <a:gd name="connsiteX17" fmla="*/ 7339 w 10394"/>
              <a:gd name="connsiteY17" fmla="*/ 8820 h 10000"/>
              <a:gd name="connsiteX18" fmla="*/ 7248 w 10394"/>
              <a:gd name="connsiteY18" fmla="*/ 9045 h 10000"/>
              <a:gd name="connsiteX19" fmla="*/ 7156 w 10394"/>
              <a:gd name="connsiteY19" fmla="*/ 9157 h 10000"/>
              <a:gd name="connsiteX20" fmla="*/ 6789 w 10394"/>
              <a:gd name="connsiteY20" fmla="*/ 9382 h 10000"/>
              <a:gd name="connsiteX21" fmla="*/ 6330 w 10394"/>
              <a:gd name="connsiteY21" fmla="*/ 9494 h 10000"/>
              <a:gd name="connsiteX22" fmla="*/ 6239 w 10394"/>
              <a:gd name="connsiteY22" fmla="*/ 9719 h 10000"/>
              <a:gd name="connsiteX23" fmla="*/ 5872 w 10394"/>
              <a:gd name="connsiteY23" fmla="*/ 9831 h 10000"/>
              <a:gd name="connsiteX24" fmla="*/ 5596 w 10394"/>
              <a:gd name="connsiteY24" fmla="*/ 10000 h 10000"/>
              <a:gd name="connsiteX25" fmla="*/ 4954 w 10394"/>
              <a:gd name="connsiteY25" fmla="*/ 10000 h 10000"/>
              <a:gd name="connsiteX26" fmla="*/ 4404 w 10394"/>
              <a:gd name="connsiteY26" fmla="*/ 10000 h 10000"/>
              <a:gd name="connsiteX27" fmla="*/ 3945 w 10394"/>
              <a:gd name="connsiteY27" fmla="*/ 9831 h 10000"/>
              <a:gd name="connsiteX28" fmla="*/ 3670 w 10394"/>
              <a:gd name="connsiteY28" fmla="*/ 9719 h 10000"/>
              <a:gd name="connsiteX29" fmla="*/ 3578 w 10394"/>
              <a:gd name="connsiteY29" fmla="*/ 9494 h 10000"/>
              <a:gd name="connsiteX30" fmla="*/ 3211 w 10394"/>
              <a:gd name="connsiteY30" fmla="*/ 9382 h 10000"/>
              <a:gd name="connsiteX31" fmla="*/ 2844 w 10394"/>
              <a:gd name="connsiteY31" fmla="*/ 9157 h 10000"/>
              <a:gd name="connsiteX32" fmla="*/ 2661 w 10394"/>
              <a:gd name="connsiteY32" fmla="*/ 9045 h 10000"/>
              <a:gd name="connsiteX33" fmla="*/ 2569 w 10394"/>
              <a:gd name="connsiteY33" fmla="*/ 8820 h 10000"/>
              <a:gd name="connsiteX34" fmla="*/ 2569 w 10394"/>
              <a:gd name="connsiteY34"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92 w 10394"/>
              <a:gd name="connsiteY4" fmla="*/ 2360 h 10000"/>
              <a:gd name="connsiteX5" fmla="*/ 0 w 10394"/>
              <a:gd name="connsiteY5" fmla="*/ 2978 h 10000"/>
              <a:gd name="connsiteX6" fmla="*/ 0 w 10394"/>
              <a:gd name="connsiteY6" fmla="*/ 3483 h 10000"/>
              <a:gd name="connsiteX7" fmla="*/ 183 w 10394"/>
              <a:gd name="connsiteY7" fmla="*/ 3876 h 10000"/>
              <a:gd name="connsiteX8" fmla="*/ 367 w 10394"/>
              <a:gd name="connsiteY8" fmla="*/ 4213 h 10000"/>
              <a:gd name="connsiteX9" fmla="*/ 642 w 10394"/>
              <a:gd name="connsiteY9" fmla="*/ 4663 h 10000"/>
              <a:gd name="connsiteX10" fmla="*/ 1101 w 10394"/>
              <a:gd name="connsiteY10" fmla="*/ 4888 h 10000"/>
              <a:gd name="connsiteX11" fmla="*/ 1560 w 10394"/>
              <a:gd name="connsiteY11" fmla="*/ 5281 h 10000"/>
              <a:gd name="connsiteX12" fmla="*/ 1927 w 10394"/>
              <a:gd name="connsiteY12" fmla="*/ 5506 h 10000"/>
              <a:gd name="connsiteX13" fmla="*/ 2569 w 10394"/>
              <a:gd name="connsiteY13" fmla="*/ 5730 h 10000"/>
              <a:gd name="connsiteX14" fmla="*/ 2569 w 10394"/>
              <a:gd name="connsiteY14" fmla="*/ 7191 h 10000"/>
              <a:gd name="connsiteX15" fmla="*/ 7339 w 10394"/>
              <a:gd name="connsiteY15" fmla="*/ 7191 h 10000"/>
              <a:gd name="connsiteX16" fmla="*/ 7339 w 10394"/>
              <a:gd name="connsiteY16" fmla="*/ 8820 h 10000"/>
              <a:gd name="connsiteX17" fmla="*/ 7248 w 10394"/>
              <a:gd name="connsiteY17" fmla="*/ 9045 h 10000"/>
              <a:gd name="connsiteX18" fmla="*/ 7156 w 10394"/>
              <a:gd name="connsiteY18" fmla="*/ 9157 h 10000"/>
              <a:gd name="connsiteX19" fmla="*/ 6789 w 10394"/>
              <a:gd name="connsiteY19" fmla="*/ 9382 h 10000"/>
              <a:gd name="connsiteX20" fmla="*/ 6330 w 10394"/>
              <a:gd name="connsiteY20" fmla="*/ 9494 h 10000"/>
              <a:gd name="connsiteX21" fmla="*/ 6239 w 10394"/>
              <a:gd name="connsiteY21" fmla="*/ 9719 h 10000"/>
              <a:gd name="connsiteX22" fmla="*/ 5872 w 10394"/>
              <a:gd name="connsiteY22" fmla="*/ 9831 h 10000"/>
              <a:gd name="connsiteX23" fmla="*/ 5596 w 10394"/>
              <a:gd name="connsiteY23" fmla="*/ 10000 h 10000"/>
              <a:gd name="connsiteX24" fmla="*/ 4954 w 10394"/>
              <a:gd name="connsiteY24" fmla="*/ 10000 h 10000"/>
              <a:gd name="connsiteX25" fmla="*/ 4404 w 10394"/>
              <a:gd name="connsiteY25" fmla="*/ 10000 h 10000"/>
              <a:gd name="connsiteX26" fmla="*/ 3945 w 10394"/>
              <a:gd name="connsiteY26" fmla="*/ 9831 h 10000"/>
              <a:gd name="connsiteX27" fmla="*/ 3670 w 10394"/>
              <a:gd name="connsiteY27" fmla="*/ 9719 h 10000"/>
              <a:gd name="connsiteX28" fmla="*/ 3578 w 10394"/>
              <a:gd name="connsiteY28" fmla="*/ 9494 h 10000"/>
              <a:gd name="connsiteX29" fmla="*/ 3211 w 10394"/>
              <a:gd name="connsiteY29" fmla="*/ 9382 h 10000"/>
              <a:gd name="connsiteX30" fmla="*/ 2844 w 10394"/>
              <a:gd name="connsiteY30" fmla="*/ 9157 h 10000"/>
              <a:gd name="connsiteX31" fmla="*/ 2661 w 10394"/>
              <a:gd name="connsiteY31" fmla="*/ 9045 h 10000"/>
              <a:gd name="connsiteX32" fmla="*/ 2569 w 10394"/>
              <a:gd name="connsiteY32" fmla="*/ 8820 h 10000"/>
              <a:gd name="connsiteX33" fmla="*/ 2569 w 10394"/>
              <a:gd name="connsiteY33"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487 w 10698"/>
              <a:gd name="connsiteY6" fmla="*/ 3876 h 10000"/>
              <a:gd name="connsiteX7" fmla="*/ 671 w 10698"/>
              <a:gd name="connsiteY7" fmla="*/ 4213 h 10000"/>
              <a:gd name="connsiteX8" fmla="*/ 946 w 10698"/>
              <a:gd name="connsiteY8" fmla="*/ 4663 h 10000"/>
              <a:gd name="connsiteX9" fmla="*/ 1405 w 10698"/>
              <a:gd name="connsiteY9" fmla="*/ 4888 h 10000"/>
              <a:gd name="connsiteX10" fmla="*/ 1864 w 10698"/>
              <a:gd name="connsiteY10" fmla="*/ 5281 h 10000"/>
              <a:gd name="connsiteX11" fmla="*/ 2231 w 10698"/>
              <a:gd name="connsiteY11" fmla="*/ 5506 h 10000"/>
              <a:gd name="connsiteX12" fmla="*/ 2873 w 10698"/>
              <a:gd name="connsiteY12" fmla="*/ 5730 h 10000"/>
              <a:gd name="connsiteX13" fmla="*/ 2873 w 10698"/>
              <a:gd name="connsiteY13" fmla="*/ 7191 h 10000"/>
              <a:gd name="connsiteX14" fmla="*/ 7643 w 10698"/>
              <a:gd name="connsiteY14" fmla="*/ 7191 h 10000"/>
              <a:gd name="connsiteX15" fmla="*/ 7643 w 10698"/>
              <a:gd name="connsiteY15" fmla="*/ 8820 h 10000"/>
              <a:gd name="connsiteX16" fmla="*/ 7552 w 10698"/>
              <a:gd name="connsiteY16" fmla="*/ 9045 h 10000"/>
              <a:gd name="connsiteX17" fmla="*/ 7460 w 10698"/>
              <a:gd name="connsiteY17" fmla="*/ 9157 h 10000"/>
              <a:gd name="connsiteX18" fmla="*/ 7093 w 10698"/>
              <a:gd name="connsiteY18" fmla="*/ 9382 h 10000"/>
              <a:gd name="connsiteX19" fmla="*/ 6634 w 10698"/>
              <a:gd name="connsiteY19" fmla="*/ 9494 h 10000"/>
              <a:gd name="connsiteX20" fmla="*/ 6543 w 10698"/>
              <a:gd name="connsiteY20" fmla="*/ 9719 h 10000"/>
              <a:gd name="connsiteX21" fmla="*/ 6176 w 10698"/>
              <a:gd name="connsiteY21" fmla="*/ 9831 h 10000"/>
              <a:gd name="connsiteX22" fmla="*/ 5900 w 10698"/>
              <a:gd name="connsiteY22" fmla="*/ 10000 h 10000"/>
              <a:gd name="connsiteX23" fmla="*/ 5258 w 10698"/>
              <a:gd name="connsiteY23" fmla="*/ 10000 h 10000"/>
              <a:gd name="connsiteX24" fmla="*/ 4708 w 10698"/>
              <a:gd name="connsiteY24" fmla="*/ 10000 h 10000"/>
              <a:gd name="connsiteX25" fmla="*/ 4249 w 10698"/>
              <a:gd name="connsiteY25" fmla="*/ 9831 h 10000"/>
              <a:gd name="connsiteX26" fmla="*/ 3974 w 10698"/>
              <a:gd name="connsiteY26" fmla="*/ 9719 h 10000"/>
              <a:gd name="connsiteX27" fmla="*/ 3882 w 10698"/>
              <a:gd name="connsiteY27" fmla="*/ 9494 h 10000"/>
              <a:gd name="connsiteX28" fmla="*/ 3515 w 10698"/>
              <a:gd name="connsiteY28" fmla="*/ 9382 h 10000"/>
              <a:gd name="connsiteX29" fmla="*/ 3148 w 10698"/>
              <a:gd name="connsiteY29" fmla="*/ 9157 h 10000"/>
              <a:gd name="connsiteX30" fmla="*/ 2965 w 10698"/>
              <a:gd name="connsiteY30" fmla="*/ 9045 h 10000"/>
              <a:gd name="connsiteX31" fmla="*/ 2873 w 10698"/>
              <a:gd name="connsiteY31" fmla="*/ 8820 h 10000"/>
              <a:gd name="connsiteX32" fmla="*/ 2873 w 10698"/>
              <a:gd name="connsiteY32"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946 w 10698"/>
              <a:gd name="connsiteY7" fmla="*/ 4663 h 10000"/>
              <a:gd name="connsiteX8" fmla="*/ 1405 w 10698"/>
              <a:gd name="connsiteY8" fmla="*/ 4888 h 10000"/>
              <a:gd name="connsiteX9" fmla="*/ 1864 w 10698"/>
              <a:gd name="connsiteY9" fmla="*/ 5281 h 10000"/>
              <a:gd name="connsiteX10" fmla="*/ 2231 w 10698"/>
              <a:gd name="connsiteY10" fmla="*/ 5506 h 10000"/>
              <a:gd name="connsiteX11" fmla="*/ 2873 w 10698"/>
              <a:gd name="connsiteY11" fmla="*/ 5730 h 10000"/>
              <a:gd name="connsiteX12" fmla="*/ 2873 w 10698"/>
              <a:gd name="connsiteY12" fmla="*/ 7191 h 10000"/>
              <a:gd name="connsiteX13" fmla="*/ 7643 w 10698"/>
              <a:gd name="connsiteY13" fmla="*/ 7191 h 10000"/>
              <a:gd name="connsiteX14" fmla="*/ 7643 w 10698"/>
              <a:gd name="connsiteY14" fmla="*/ 8820 h 10000"/>
              <a:gd name="connsiteX15" fmla="*/ 7552 w 10698"/>
              <a:gd name="connsiteY15" fmla="*/ 9045 h 10000"/>
              <a:gd name="connsiteX16" fmla="*/ 7460 w 10698"/>
              <a:gd name="connsiteY16" fmla="*/ 9157 h 10000"/>
              <a:gd name="connsiteX17" fmla="*/ 7093 w 10698"/>
              <a:gd name="connsiteY17" fmla="*/ 9382 h 10000"/>
              <a:gd name="connsiteX18" fmla="*/ 6634 w 10698"/>
              <a:gd name="connsiteY18" fmla="*/ 9494 h 10000"/>
              <a:gd name="connsiteX19" fmla="*/ 6543 w 10698"/>
              <a:gd name="connsiteY19" fmla="*/ 9719 h 10000"/>
              <a:gd name="connsiteX20" fmla="*/ 6176 w 10698"/>
              <a:gd name="connsiteY20" fmla="*/ 9831 h 10000"/>
              <a:gd name="connsiteX21" fmla="*/ 5900 w 10698"/>
              <a:gd name="connsiteY21" fmla="*/ 10000 h 10000"/>
              <a:gd name="connsiteX22" fmla="*/ 5258 w 10698"/>
              <a:gd name="connsiteY22" fmla="*/ 10000 h 10000"/>
              <a:gd name="connsiteX23" fmla="*/ 4708 w 10698"/>
              <a:gd name="connsiteY23" fmla="*/ 10000 h 10000"/>
              <a:gd name="connsiteX24" fmla="*/ 4249 w 10698"/>
              <a:gd name="connsiteY24" fmla="*/ 9831 h 10000"/>
              <a:gd name="connsiteX25" fmla="*/ 3974 w 10698"/>
              <a:gd name="connsiteY25" fmla="*/ 9719 h 10000"/>
              <a:gd name="connsiteX26" fmla="*/ 3882 w 10698"/>
              <a:gd name="connsiteY26" fmla="*/ 9494 h 10000"/>
              <a:gd name="connsiteX27" fmla="*/ 3515 w 10698"/>
              <a:gd name="connsiteY27" fmla="*/ 9382 h 10000"/>
              <a:gd name="connsiteX28" fmla="*/ 3148 w 10698"/>
              <a:gd name="connsiteY28" fmla="*/ 9157 h 10000"/>
              <a:gd name="connsiteX29" fmla="*/ 2965 w 10698"/>
              <a:gd name="connsiteY29" fmla="*/ 9045 h 10000"/>
              <a:gd name="connsiteX30" fmla="*/ 2873 w 10698"/>
              <a:gd name="connsiteY30" fmla="*/ 8820 h 10000"/>
              <a:gd name="connsiteX31" fmla="*/ 2873 w 10698"/>
              <a:gd name="connsiteY31"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1405 w 10698"/>
              <a:gd name="connsiteY7" fmla="*/ 4888 h 10000"/>
              <a:gd name="connsiteX8" fmla="*/ 1864 w 10698"/>
              <a:gd name="connsiteY8" fmla="*/ 5281 h 10000"/>
              <a:gd name="connsiteX9" fmla="*/ 2231 w 10698"/>
              <a:gd name="connsiteY9" fmla="*/ 5506 h 10000"/>
              <a:gd name="connsiteX10" fmla="*/ 2873 w 10698"/>
              <a:gd name="connsiteY10" fmla="*/ 5730 h 10000"/>
              <a:gd name="connsiteX11" fmla="*/ 2873 w 10698"/>
              <a:gd name="connsiteY11" fmla="*/ 7191 h 10000"/>
              <a:gd name="connsiteX12" fmla="*/ 7643 w 10698"/>
              <a:gd name="connsiteY12" fmla="*/ 7191 h 10000"/>
              <a:gd name="connsiteX13" fmla="*/ 7643 w 10698"/>
              <a:gd name="connsiteY13" fmla="*/ 8820 h 10000"/>
              <a:gd name="connsiteX14" fmla="*/ 7552 w 10698"/>
              <a:gd name="connsiteY14" fmla="*/ 9045 h 10000"/>
              <a:gd name="connsiteX15" fmla="*/ 7460 w 10698"/>
              <a:gd name="connsiteY15" fmla="*/ 9157 h 10000"/>
              <a:gd name="connsiteX16" fmla="*/ 7093 w 10698"/>
              <a:gd name="connsiteY16" fmla="*/ 9382 h 10000"/>
              <a:gd name="connsiteX17" fmla="*/ 6634 w 10698"/>
              <a:gd name="connsiteY17" fmla="*/ 9494 h 10000"/>
              <a:gd name="connsiteX18" fmla="*/ 6543 w 10698"/>
              <a:gd name="connsiteY18" fmla="*/ 9719 h 10000"/>
              <a:gd name="connsiteX19" fmla="*/ 6176 w 10698"/>
              <a:gd name="connsiteY19" fmla="*/ 9831 h 10000"/>
              <a:gd name="connsiteX20" fmla="*/ 5900 w 10698"/>
              <a:gd name="connsiteY20" fmla="*/ 10000 h 10000"/>
              <a:gd name="connsiteX21" fmla="*/ 5258 w 10698"/>
              <a:gd name="connsiteY21" fmla="*/ 10000 h 10000"/>
              <a:gd name="connsiteX22" fmla="*/ 4708 w 10698"/>
              <a:gd name="connsiteY22" fmla="*/ 10000 h 10000"/>
              <a:gd name="connsiteX23" fmla="*/ 4249 w 10698"/>
              <a:gd name="connsiteY23" fmla="*/ 9831 h 10000"/>
              <a:gd name="connsiteX24" fmla="*/ 3974 w 10698"/>
              <a:gd name="connsiteY24" fmla="*/ 9719 h 10000"/>
              <a:gd name="connsiteX25" fmla="*/ 3882 w 10698"/>
              <a:gd name="connsiteY25" fmla="*/ 9494 h 10000"/>
              <a:gd name="connsiteX26" fmla="*/ 3515 w 10698"/>
              <a:gd name="connsiteY26" fmla="*/ 9382 h 10000"/>
              <a:gd name="connsiteX27" fmla="*/ 3148 w 10698"/>
              <a:gd name="connsiteY27" fmla="*/ 9157 h 10000"/>
              <a:gd name="connsiteX28" fmla="*/ 2965 w 10698"/>
              <a:gd name="connsiteY28" fmla="*/ 9045 h 10000"/>
              <a:gd name="connsiteX29" fmla="*/ 2873 w 10698"/>
              <a:gd name="connsiteY29" fmla="*/ 8820 h 10000"/>
              <a:gd name="connsiteX30" fmla="*/ 2873 w 10698"/>
              <a:gd name="connsiteY30"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1405 w 10698"/>
              <a:gd name="connsiteY7" fmla="*/ 4888 h 10000"/>
              <a:gd name="connsiteX8" fmla="*/ 2231 w 10698"/>
              <a:gd name="connsiteY8" fmla="*/ 5506 h 10000"/>
              <a:gd name="connsiteX9" fmla="*/ 2873 w 10698"/>
              <a:gd name="connsiteY9" fmla="*/ 5730 h 10000"/>
              <a:gd name="connsiteX10" fmla="*/ 2873 w 10698"/>
              <a:gd name="connsiteY10" fmla="*/ 7191 h 10000"/>
              <a:gd name="connsiteX11" fmla="*/ 7643 w 10698"/>
              <a:gd name="connsiteY11" fmla="*/ 7191 h 10000"/>
              <a:gd name="connsiteX12" fmla="*/ 7643 w 10698"/>
              <a:gd name="connsiteY12" fmla="*/ 8820 h 10000"/>
              <a:gd name="connsiteX13" fmla="*/ 7552 w 10698"/>
              <a:gd name="connsiteY13" fmla="*/ 9045 h 10000"/>
              <a:gd name="connsiteX14" fmla="*/ 7460 w 10698"/>
              <a:gd name="connsiteY14" fmla="*/ 9157 h 10000"/>
              <a:gd name="connsiteX15" fmla="*/ 7093 w 10698"/>
              <a:gd name="connsiteY15" fmla="*/ 9382 h 10000"/>
              <a:gd name="connsiteX16" fmla="*/ 6634 w 10698"/>
              <a:gd name="connsiteY16" fmla="*/ 9494 h 10000"/>
              <a:gd name="connsiteX17" fmla="*/ 6543 w 10698"/>
              <a:gd name="connsiteY17" fmla="*/ 9719 h 10000"/>
              <a:gd name="connsiteX18" fmla="*/ 6176 w 10698"/>
              <a:gd name="connsiteY18" fmla="*/ 9831 h 10000"/>
              <a:gd name="connsiteX19" fmla="*/ 5900 w 10698"/>
              <a:gd name="connsiteY19" fmla="*/ 10000 h 10000"/>
              <a:gd name="connsiteX20" fmla="*/ 5258 w 10698"/>
              <a:gd name="connsiteY20" fmla="*/ 10000 h 10000"/>
              <a:gd name="connsiteX21" fmla="*/ 4708 w 10698"/>
              <a:gd name="connsiteY21" fmla="*/ 10000 h 10000"/>
              <a:gd name="connsiteX22" fmla="*/ 4249 w 10698"/>
              <a:gd name="connsiteY22" fmla="*/ 9831 h 10000"/>
              <a:gd name="connsiteX23" fmla="*/ 3974 w 10698"/>
              <a:gd name="connsiteY23" fmla="*/ 9719 h 10000"/>
              <a:gd name="connsiteX24" fmla="*/ 3882 w 10698"/>
              <a:gd name="connsiteY24" fmla="*/ 9494 h 10000"/>
              <a:gd name="connsiteX25" fmla="*/ 3515 w 10698"/>
              <a:gd name="connsiteY25" fmla="*/ 9382 h 10000"/>
              <a:gd name="connsiteX26" fmla="*/ 3148 w 10698"/>
              <a:gd name="connsiteY26" fmla="*/ 9157 h 10000"/>
              <a:gd name="connsiteX27" fmla="*/ 2965 w 10698"/>
              <a:gd name="connsiteY27" fmla="*/ 9045 h 10000"/>
              <a:gd name="connsiteX28" fmla="*/ 2873 w 10698"/>
              <a:gd name="connsiteY28" fmla="*/ 8820 h 10000"/>
              <a:gd name="connsiteX29" fmla="*/ 2873 w 10698"/>
              <a:gd name="connsiteY29"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1405 w 10698"/>
              <a:gd name="connsiteY7" fmla="*/ 4888 h 10000"/>
              <a:gd name="connsiteX8" fmla="*/ 2873 w 10698"/>
              <a:gd name="connsiteY8" fmla="*/ 5730 h 10000"/>
              <a:gd name="connsiteX9" fmla="*/ 2873 w 10698"/>
              <a:gd name="connsiteY9" fmla="*/ 7191 h 10000"/>
              <a:gd name="connsiteX10" fmla="*/ 7643 w 10698"/>
              <a:gd name="connsiteY10" fmla="*/ 7191 h 10000"/>
              <a:gd name="connsiteX11" fmla="*/ 7643 w 10698"/>
              <a:gd name="connsiteY11" fmla="*/ 8820 h 10000"/>
              <a:gd name="connsiteX12" fmla="*/ 7552 w 10698"/>
              <a:gd name="connsiteY12" fmla="*/ 9045 h 10000"/>
              <a:gd name="connsiteX13" fmla="*/ 7460 w 10698"/>
              <a:gd name="connsiteY13" fmla="*/ 9157 h 10000"/>
              <a:gd name="connsiteX14" fmla="*/ 7093 w 10698"/>
              <a:gd name="connsiteY14" fmla="*/ 9382 h 10000"/>
              <a:gd name="connsiteX15" fmla="*/ 6634 w 10698"/>
              <a:gd name="connsiteY15" fmla="*/ 9494 h 10000"/>
              <a:gd name="connsiteX16" fmla="*/ 6543 w 10698"/>
              <a:gd name="connsiteY16" fmla="*/ 9719 h 10000"/>
              <a:gd name="connsiteX17" fmla="*/ 6176 w 10698"/>
              <a:gd name="connsiteY17" fmla="*/ 9831 h 10000"/>
              <a:gd name="connsiteX18" fmla="*/ 5900 w 10698"/>
              <a:gd name="connsiteY18" fmla="*/ 10000 h 10000"/>
              <a:gd name="connsiteX19" fmla="*/ 5258 w 10698"/>
              <a:gd name="connsiteY19" fmla="*/ 10000 h 10000"/>
              <a:gd name="connsiteX20" fmla="*/ 4708 w 10698"/>
              <a:gd name="connsiteY20" fmla="*/ 10000 h 10000"/>
              <a:gd name="connsiteX21" fmla="*/ 4249 w 10698"/>
              <a:gd name="connsiteY21" fmla="*/ 9831 h 10000"/>
              <a:gd name="connsiteX22" fmla="*/ 3974 w 10698"/>
              <a:gd name="connsiteY22" fmla="*/ 9719 h 10000"/>
              <a:gd name="connsiteX23" fmla="*/ 3882 w 10698"/>
              <a:gd name="connsiteY23" fmla="*/ 9494 h 10000"/>
              <a:gd name="connsiteX24" fmla="*/ 3515 w 10698"/>
              <a:gd name="connsiteY24" fmla="*/ 9382 h 10000"/>
              <a:gd name="connsiteX25" fmla="*/ 3148 w 10698"/>
              <a:gd name="connsiteY25" fmla="*/ 9157 h 10000"/>
              <a:gd name="connsiteX26" fmla="*/ 2965 w 10698"/>
              <a:gd name="connsiteY26" fmla="*/ 9045 h 10000"/>
              <a:gd name="connsiteX27" fmla="*/ 2873 w 10698"/>
              <a:gd name="connsiteY27" fmla="*/ 8820 h 10000"/>
              <a:gd name="connsiteX28" fmla="*/ 2873 w 10698"/>
              <a:gd name="connsiteY28"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2873 w 10698"/>
              <a:gd name="connsiteY7" fmla="*/ 5730 h 10000"/>
              <a:gd name="connsiteX8" fmla="*/ 2873 w 10698"/>
              <a:gd name="connsiteY8" fmla="*/ 7191 h 10000"/>
              <a:gd name="connsiteX9" fmla="*/ 7643 w 10698"/>
              <a:gd name="connsiteY9" fmla="*/ 7191 h 10000"/>
              <a:gd name="connsiteX10" fmla="*/ 7643 w 10698"/>
              <a:gd name="connsiteY10" fmla="*/ 8820 h 10000"/>
              <a:gd name="connsiteX11" fmla="*/ 7552 w 10698"/>
              <a:gd name="connsiteY11" fmla="*/ 9045 h 10000"/>
              <a:gd name="connsiteX12" fmla="*/ 7460 w 10698"/>
              <a:gd name="connsiteY12" fmla="*/ 9157 h 10000"/>
              <a:gd name="connsiteX13" fmla="*/ 7093 w 10698"/>
              <a:gd name="connsiteY13" fmla="*/ 9382 h 10000"/>
              <a:gd name="connsiteX14" fmla="*/ 6634 w 10698"/>
              <a:gd name="connsiteY14" fmla="*/ 9494 h 10000"/>
              <a:gd name="connsiteX15" fmla="*/ 6543 w 10698"/>
              <a:gd name="connsiteY15" fmla="*/ 9719 h 10000"/>
              <a:gd name="connsiteX16" fmla="*/ 6176 w 10698"/>
              <a:gd name="connsiteY16" fmla="*/ 9831 h 10000"/>
              <a:gd name="connsiteX17" fmla="*/ 5900 w 10698"/>
              <a:gd name="connsiteY17" fmla="*/ 10000 h 10000"/>
              <a:gd name="connsiteX18" fmla="*/ 5258 w 10698"/>
              <a:gd name="connsiteY18" fmla="*/ 10000 h 10000"/>
              <a:gd name="connsiteX19" fmla="*/ 4708 w 10698"/>
              <a:gd name="connsiteY19" fmla="*/ 10000 h 10000"/>
              <a:gd name="connsiteX20" fmla="*/ 4249 w 10698"/>
              <a:gd name="connsiteY20" fmla="*/ 9831 h 10000"/>
              <a:gd name="connsiteX21" fmla="*/ 3974 w 10698"/>
              <a:gd name="connsiteY21" fmla="*/ 9719 h 10000"/>
              <a:gd name="connsiteX22" fmla="*/ 3882 w 10698"/>
              <a:gd name="connsiteY22" fmla="*/ 9494 h 10000"/>
              <a:gd name="connsiteX23" fmla="*/ 3515 w 10698"/>
              <a:gd name="connsiteY23" fmla="*/ 9382 h 10000"/>
              <a:gd name="connsiteX24" fmla="*/ 3148 w 10698"/>
              <a:gd name="connsiteY24" fmla="*/ 9157 h 10000"/>
              <a:gd name="connsiteX25" fmla="*/ 2965 w 10698"/>
              <a:gd name="connsiteY25" fmla="*/ 9045 h 10000"/>
              <a:gd name="connsiteX26" fmla="*/ 2873 w 10698"/>
              <a:gd name="connsiteY26" fmla="*/ 8820 h 10000"/>
              <a:gd name="connsiteX27" fmla="*/ 2873 w 10698"/>
              <a:gd name="connsiteY27"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2873 w 10698"/>
              <a:gd name="connsiteY6" fmla="*/ 5730 h 10000"/>
              <a:gd name="connsiteX7" fmla="*/ 2873 w 10698"/>
              <a:gd name="connsiteY7" fmla="*/ 7191 h 10000"/>
              <a:gd name="connsiteX8" fmla="*/ 7643 w 10698"/>
              <a:gd name="connsiteY8" fmla="*/ 7191 h 10000"/>
              <a:gd name="connsiteX9" fmla="*/ 7643 w 10698"/>
              <a:gd name="connsiteY9" fmla="*/ 8820 h 10000"/>
              <a:gd name="connsiteX10" fmla="*/ 7552 w 10698"/>
              <a:gd name="connsiteY10" fmla="*/ 9045 h 10000"/>
              <a:gd name="connsiteX11" fmla="*/ 7460 w 10698"/>
              <a:gd name="connsiteY11" fmla="*/ 9157 h 10000"/>
              <a:gd name="connsiteX12" fmla="*/ 7093 w 10698"/>
              <a:gd name="connsiteY12" fmla="*/ 9382 h 10000"/>
              <a:gd name="connsiteX13" fmla="*/ 6634 w 10698"/>
              <a:gd name="connsiteY13" fmla="*/ 9494 h 10000"/>
              <a:gd name="connsiteX14" fmla="*/ 6543 w 10698"/>
              <a:gd name="connsiteY14" fmla="*/ 9719 h 10000"/>
              <a:gd name="connsiteX15" fmla="*/ 6176 w 10698"/>
              <a:gd name="connsiteY15" fmla="*/ 9831 h 10000"/>
              <a:gd name="connsiteX16" fmla="*/ 5900 w 10698"/>
              <a:gd name="connsiteY16" fmla="*/ 10000 h 10000"/>
              <a:gd name="connsiteX17" fmla="*/ 5258 w 10698"/>
              <a:gd name="connsiteY17" fmla="*/ 10000 h 10000"/>
              <a:gd name="connsiteX18" fmla="*/ 4708 w 10698"/>
              <a:gd name="connsiteY18" fmla="*/ 10000 h 10000"/>
              <a:gd name="connsiteX19" fmla="*/ 4249 w 10698"/>
              <a:gd name="connsiteY19" fmla="*/ 9831 h 10000"/>
              <a:gd name="connsiteX20" fmla="*/ 3974 w 10698"/>
              <a:gd name="connsiteY20" fmla="*/ 9719 h 10000"/>
              <a:gd name="connsiteX21" fmla="*/ 3882 w 10698"/>
              <a:gd name="connsiteY21" fmla="*/ 9494 h 10000"/>
              <a:gd name="connsiteX22" fmla="*/ 3515 w 10698"/>
              <a:gd name="connsiteY22" fmla="*/ 9382 h 10000"/>
              <a:gd name="connsiteX23" fmla="*/ 3148 w 10698"/>
              <a:gd name="connsiteY23" fmla="*/ 9157 h 10000"/>
              <a:gd name="connsiteX24" fmla="*/ 2965 w 10698"/>
              <a:gd name="connsiteY24" fmla="*/ 9045 h 10000"/>
              <a:gd name="connsiteX25" fmla="*/ 2873 w 10698"/>
              <a:gd name="connsiteY25" fmla="*/ 8820 h 10000"/>
              <a:gd name="connsiteX26" fmla="*/ 2873 w 10698"/>
              <a:gd name="connsiteY26" fmla="*/ 8202 h 10000"/>
              <a:gd name="connsiteX0" fmla="*/ 7643 w 10517"/>
              <a:gd name="connsiteY0" fmla="*/ 5730 h 10000"/>
              <a:gd name="connsiteX1" fmla="*/ 9508 w 10517"/>
              <a:gd name="connsiteY1" fmla="*/ 4105 h 10000"/>
              <a:gd name="connsiteX2" fmla="*/ 10304 w 10517"/>
              <a:gd name="connsiteY2" fmla="*/ 2978 h 10000"/>
              <a:gd name="connsiteX3" fmla="*/ 5258 w 10517"/>
              <a:gd name="connsiteY3" fmla="*/ 0 h 10000"/>
              <a:gd name="connsiteX4" fmla="*/ 396 w 10517"/>
              <a:gd name="connsiteY4" fmla="*/ 2360 h 10000"/>
              <a:gd name="connsiteX5" fmla="*/ 304 w 10517"/>
              <a:gd name="connsiteY5" fmla="*/ 3483 h 10000"/>
              <a:gd name="connsiteX6" fmla="*/ 2873 w 10517"/>
              <a:gd name="connsiteY6" fmla="*/ 5730 h 10000"/>
              <a:gd name="connsiteX7" fmla="*/ 2873 w 10517"/>
              <a:gd name="connsiteY7" fmla="*/ 7191 h 10000"/>
              <a:gd name="connsiteX8" fmla="*/ 7643 w 10517"/>
              <a:gd name="connsiteY8" fmla="*/ 7191 h 10000"/>
              <a:gd name="connsiteX9" fmla="*/ 7643 w 10517"/>
              <a:gd name="connsiteY9" fmla="*/ 8820 h 10000"/>
              <a:gd name="connsiteX10" fmla="*/ 7552 w 10517"/>
              <a:gd name="connsiteY10" fmla="*/ 9045 h 10000"/>
              <a:gd name="connsiteX11" fmla="*/ 7460 w 10517"/>
              <a:gd name="connsiteY11" fmla="*/ 9157 h 10000"/>
              <a:gd name="connsiteX12" fmla="*/ 7093 w 10517"/>
              <a:gd name="connsiteY12" fmla="*/ 9382 h 10000"/>
              <a:gd name="connsiteX13" fmla="*/ 6634 w 10517"/>
              <a:gd name="connsiteY13" fmla="*/ 9494 h 10000"/>
              <a:gd name="connsiteX14" fmla="*/ 6543 w 10517"/>
              <a:gd name="connsiteY14" fmla="*/ 9719 h 10000"/>
              <a:gd name="connsiteX15" fmla="*/ 6176 w 10517"/>
              <a:gd name="connsiteY15" fmla="*/ 9831 h 10000"/>
              <a:gd name="connsiteX16" fmla="*/ 5900 w 10517"/>
              <a:gd name="connsiteY16" fmla="*/ 10000 h 10000"/>
              <a:gd name="connsiteX17" fmla="*/ 5258 w 10517"/>
              <a:gd name="connsiteY17" fmla="*/ 10000 h 10000"/>
              <a:gd name="connsiteX18" fmla="*/ 4708 w 10517"/>
              <a:gd name="connsiteY18" fmla="*/ 10000 h 10000"/>
              <a:gd name="connsiteX19" fmla="*/ 4249 w 10517"/>
              <a:gd name="connsiteY19" fmla="*/ 9831 h 10000"/>
              <a:gd name="connsiteX20" fmla="*/ 3974 w 10517"/>
              <a:gd name="connsiteY20" fmla="*/ 9719 h 10000"/>
              <a:gd name="connsiteX21" fmla="*/ 3882 w 10517"/>
              <a:gd name="connsiteY21" fmla="*/ 9494 h 10000"/>
              <a:gd name="connsiteX22" fmla="*/ 3515 w 10517"/>
              <a:gd name="connsiteY22" fmla="*/ 9382 h 10000"/>
              <a:gd name="connsiteX23" fmla="*/ 3148 w 10517"/>
              <a:gd name="connsiteY23" fmla="*/ 9157 h 10000"/>
              <a:gd name="connsiteX24" fmla="*/ 2965 w 10517"/>
              <a:gd name="connsiteY24" fmla="*/ 9045 h 10000"/>
              <a:gd name="connsiteX25" fmla="*/ 2873 w 10517"/>
              <a:gd name="connsiteY25" fmla="*/ 8820 h 10000"/>
              <a:gd name="connsiteX26" fmla="*/ 2873 w 10517"/>
              <a:gd name="connsiteY26" fmla="*/ 8202 h 10000"/>
              <a:gd name="connsiteX0" fmla="*/ 7643 w 10517"/>
              <a:gd name="connsiteY0" fmla="*/ 5730 h 10000"/>
              <a:gd name="connsiteX1" fmla="*/ 9508 w 10517"/>
              <a:gd name="connsiteY1" fmla="*/ 4105 h 10000"/>
              <a:gd name="connsiteX2" fmla="*/ 10304 w 10517"/>
              <a:gd name="connsiteY2" fmla="*/ 2978 h 10000"/>
              <a:gd name="connsiteX3" fmla="*/ 5258 w 10517"/>
              <a:gd name="connsiteY3" fmla="*/ 0 h 10000"/>
              <a:gd name="connsiteX4" fmla="*/ 396 w 10517"/>
              <a:gd name="connsiteY4" fmla="*/ 2360 h 10000"/>
              <a:gd name="connsiteX5" fmla="*/ 304 w 10517"/>
              <a:gd name="connsiteY5" fmla="*/ 3483 h 10000"/>
              <a:gd name="connsiteX6" fmla="*/ 2873 w 10517"/>
              <a:gd name="connsiteY6" fmla="*/ 5730 h 10000"/>
              <a:gd name="connsiteX7" fmla="*/ 2873 w 10517"/>
              <a:gd name="connsiteY7" fmla="*/ 7191 h 10000"/>
              <a:gd name="connsiteX8" fmla="*/ 7643 w 10517"/>
              <a:gd name="connsiteY8" fmla="*/ 7191 h 10000"/>
              <a:gd name="connsiteX9" fmla="*/ 7643 w 10517"/>
              <a:gd name="connsiteY9" fmla="*/ 8820 h 10000"/>
              <a:gd name="connsiteX10" fmla="*/ 7552 w 10517"/>
              <a:gd name="connsiteY10" fmla="*/ 9045 h 10000"/>
              <a:gd name="connsiteX11" fmla="*/ 7460 w 10517"/>
              <a:gd name="connsiteY11" fmla="*/ 9157 h 10000"/>
              <a:gd name="connsiteX12" fmla="*/ 7093 w 10517"/>
              <a:gd name="connsiteY12" fmla="*/ 9382 h 10000"/>
              <a:gd name="connsiteX13" fmla="*/ 6634 w 10517"/>
              <a:gd name="connsiteY13" fmla="*/ 9494 h 10000"/>
              <a:gd name="connsiteX14" fmla="*/ 6543 w 10517"/>
              <a:gd name="connsiteY14" fmla="*/ 9719 h 10000"/>
              <a:gd name="connsiteX15" fmla="*/ 6176 w 10517"/>
              <a:gd name="connsiteY15" fmla="*/ 9831 h 10000"/>
              <a:gd name="connsiteX16" fmla="*/ 5900 w 10517"/>
              <a:gd name="connsiteY16" fmla="*/ 10000 h 10000"/>
              <a:gd name="connsiteX17" fmla="*/ 5258 w 10517"/>
              <a:gd name="connsiteY17" fmla="*/ 10000 h 10000"/>
              <a:gd name="connsiteX18" fmla="*/ 4708 w 10517"/>
              <a:gd name="connsiteY18" fmla="*/ 10000 h 10000"/>
              <a:gd name="connsiteX19" fmla="*/ 4249 w 10517"/>
              <a:gd name="connsiteY19" fmla="*/ 9831 h 10000"/>
              <a:gd name="connsiteX20" fmla="*/ 3974 w 10517"/>
              <a:gd name="connsiteY20" fmla="*/ 9719 h 10000"/>
              <a:gd name="connsiteX21" fmla="*/ 3882 w 10517"/>
              <a:gd name="connsiteY21" fmla="*/ 9494 h 10000"/>
              <a:gd name="connsiteX22" fmla="*/ 3515 w 10517"/>
              <a:gd name="connsiteY22" fmla="*/ 9382 h 10000"/>
              <a:gd name="connsiteX23" fmla="*/ 3148 w 10517"/>
              <a:gd name="connsiteY23" fmla="*/ 9157 h 10000"/>
              <a:gd name="connsiteX24" fmla="*/ 2965 w 10517"/>
              <a:gd name="connsiteY24" fmla="*/ 9045 h 10000"/>
              <a:gd name="connsiteX25" fmla="*/ 2873 w 10517"/>
              <a:gd name="connsiteY25" fmla="*/ 8820 h 10000"/>
              <a:gd name="connsiteX26" fmla="*/ 2873 w 10517"/>
              <a:gd name="connsiteY26" fmla="*/ 8202 h 10000"/>
              <a:gd name="connsiteX0" fmla="*/ 7643 w 9554"/>
              <a:gd name="connsiteY0" fmla="*/ 5730 h 10000"/>
              <a:gd name="connsiteX1" fmla="*/ 9508 w 9554"/>
              <a:gd name="connsiteY1" fmla="*/ 4105 h 10000"/>
              <a:gd name="connsiteX2" fmla="*/ 5258 w 9554"/>
              <a:gd name="connsiteY2" fmla="*/ 0 h 10000"/>
              <a:gd name="connsiteX3" fmla="*/ 396 w 9554"/>
              <a:gd name="connsiteY3" fmla="*/ 2360 h 10000"/>
              <a:gd name="connsiteX4" fmla="*/ 304 w 9554"/>
              <a:gd name="connsiteY4" fmla="*/ 3483 h 10000"/>
              <a:gd name="connsiteX5" fmla="*/ 2873 w 9554"/>
              <a:gd name="connsiteY5" fmla="*/ 5730 h 10000"/>
              <a:gd name="connsiteX6" fmla="*/ 2873 w 9554"/>
              <a:gd name="connsiteY6" fmla="*/ 7191 h 10000"/>
              <a:gd name="connsiteX7" fmla="*/ 7643 w 9554"/>
              <a:gd name="connsiteY7" fmla="*/ 7191 h 10000"/>
              <a:gd name="connsiteX8" fmla="*/ 7643 w 9554"/>
              <a:gd name="connsiteY8" fmla="*/ 8820 h 10000"/>
              <a:gd name="connsiteX9" fmla="*/ 7552 w 9554"/>
              <a:gd name="connsiteY9" fmla="*/ 9045 h 10000"/>
              <a:gd name="connsiteX10" fmla="*/ 7460 w 9554"/>
              <a:gd name="connsiteY10" fmla="*/ 9157 h 10000"/>
              <a:gd name="connsiteX11" fmla="*/ 7093 w 9554"/>
              <a:gd name="connsiteY11" fmla="*/ 9382 h 10000"/>
              <a:gd name="connsiteX12" fmla="*/ 6634 w 9554"/>
              <a:gd name="connsiteY12" fmla="*/ 9494 h 10000"/>
              <a:gd name="connsiteX13" fmla="*/ 6543 w 9554"/>
              <a:gd name="connsiteY13" fmla="*/ 9719 h 10000"/>
              <a:gd name="connsiteX14" fmla="*/ 6176 w 9554"/>
              <a:gd name="connsiteY14" fmla="*/ 9831 h 10000"/>
              <a:gd name="connsiteX15" fmla="*/ 5900 w 9554"/>
              <a:gd name="connsiteY15" fmla="*/ 10000 h 10000"/>
              <a:gd name="connsiteX16" fmla="*/ 5258 w 9554"/>
              <a:gd name="connsiteY16" fmla="*/ 10000 h 10000"/>
              <a:gd name="connsiteX17" fmla="*/ 4708 w 9554"/>
              <a:gd name="connsiteY17" fmla="*/ 10000 h 10000"/>
              <a:gd name="connsiteX18" fmla="*/ 4249 w 9554"/>
              <a:gd name="connsiteY18" fmla="*/ 9831 h 10000"/>
              <a:gd name="connsiteX19" fmla="*/ 3974 w 9554"/>
              <a:gd name="connsiteY19" fmla="*/ 9719 h 10000"/>
              <a:gd name="connsiteX20" fmla="*/ 3882 w 9554"/>
              <a:gd name="connsiteY20" fmla="*/ 9494 h 10000"/>
              <a:gd name="connsiteX21" fmla="*/ 3515 w 9554"/>
              <a:gd name="connsiteY21" fmla="*/ 9382 h 10000"/>
              <a:gd name="connsiteX22" fmla="*/ 3148 w 9554"/>
              <a:gd name="connsiteY22" fmla="*/ 9157 h 10000"/>
              <a:gd name="connsiteX23" fmla="*/ 2965 w 9554"/>
              <a:gd name="connsiteY23" fmla="*/ 9045 h 10000"/>
              <a:gd name="connsiteX24" fmla="*/ 2873 w 9554"/>
              <a:gd name="connsiteY24" fmla="*/ 8820 h 10000"/>
              <a:gd name="connsiteX25" fmla="*/ 2873 w 9554"/>
              <a:gd name="connsiteY25" fmla="*/ 8202 h 10000"/>
              <a:gd name="connsiteX0" fmla="*/ 8000 w 10335"/>
              <a:gd name="connsiteY0" fmla="*/ 5730 h 10000"/>
              <a:gd name="connsiteX1" fmla="*/ 9952 w 10335"/>
              <a:gd name="connsiteY1" fmla="*/ 4105 h 10000"/>
              <a:gd name="connsiteX2" fmla="*/ 5503 w 10335"/>
              <a:gd name="connsiteY2" fmla="*/ 0 h 10000"/>
              <a:gd name="connsiteX3" fmla="*/ 414 w 10335"/>
              <a:gd name="connsiteY3" fmla="*/ 2360 h 10000"/>
              <a:gd name="connsiteX4" fmla="*/ 318 w 10335"/>
              <a:gd name="connsiteY4" fmla="*/ 3483 h 10000"/>
              <a:gd name="connsiteX5" fmla="*/ 3007 w 10335"/>
              <a:gd name="connsiteY5" fmla="*/ 5730 h 10000"/>
              <a:gd name="connsiteX6" fmla="*/ 3007 w 10335"/>
              <a:gd name="connsiteY6" fmla="*/ 7191 h 10000"/>
              <a:gd name="connsiteX7" fmla="*/ 8000 w 10335"/>
              <a:gd name="connsiteY7" fmla="*/ 7191 h 10000"/>
              <a:gd name="connsiteX8" fmla="*/ 8000 w 10335"/>
              <a:gd name="connsiteY8" fmla="*/ 8820 h 10000"/>
              <a:gd name="connsiteX9" fmla="*/ 7905 w 10335"/>
              <a:gd name="connsiteY9" fmla="*/ 9045 h 10000"/>
              <a:gd name="connsiteX10" fmla="*/ 7808 w 10335"/>
              <a:gd name="connsiteY10" fmla="*/ 9157 h 10000"/>
              <a:gd name="connsiteX11" fmla="*/ 7424 w 10335"/>
              <a:gd name="connsiteY11" fmla="*/ 9382 h 10000"/>
              <a:gd name="connsiteX12" fmla="*/ 6944 w 10335"/>
              <a:gd name="connsiteY12" fmla="*/ 9494 h 10000"/>
              <a:gd name="connsiteX13" fmla="*/ 6848 w 10335"/>
              <a:gd name="connsiteY13" fmla="*/ 9719 h 10000"/>
              <a:gd name="connsiteX14" fmla="*/ 6464 w 10335"/>
              <a:gd name="connsiteY14" fmla="*/ 9831 h 10000"/>
              <a:gd name="connsiteX15" fmla="*/ 6175 w 10335"/>
              <a:gd name="connsiteY15" fmla="*/ 10000 h 10000"/>
              <a:gd name="connsiteX16" fmla="*/ 5503 w 10335"/>
              <a:gd name="connsiteY16" fmla="*/ 10000 h 10000"/>
              <a:gd name="connsiteX17" fmla="*/ 4928 w 10335"/>
              <a:gd name="connsiteY17" fmla="*/ 10000 h 10000"/>
              <a:gd name="connsiteX18" fmla="*/ 4447 w 10335"/>
              <a:gd name="connsiteY18" fmla="*/ 9831 h 10000"/>
              <a:gd name="connsiteX19" fmla="*/ 4160 w 10335"/>
              <a:gd name="connsiteY19" fmla="*/ 9719 h 10000"/>
              <a:gd name="connsiteX20" fmla="*/ 4063 w 10335"/>
              <a:gd name="connsiteY20" fmla="*/ 9494 h 10000"/>
              <a:gd name="connsiteX21" fmla="*/ 3679 w 10335"/>
              <a:gd name="connsiteY21" fmla="*/ 9382 h 10000"/>
              <a:gd name="connsiteX22" fmla="*/ 3295 w 10335"/>
              <a:gd name="connsiteY22" fmla="*/ 9157 h 10000"/>
              <a:gd name="connsiteX23" fmla="*/ 3103 w 10335"/>
              <a:gd name="connsiteY23" fmla="*/ 9045 h 10000"/>
              <a:gd name="connsiteX24" fmla="*/ 3007 w 10335"/>
              <a:gd name="connsiteY24" fmla="*/ 8820 h 10000"/>
              <a:gd name="connsiteX25" fmla="*/ 3007 w 10335"/>
              <a:gd name="connsiteY25" fmla="*/ 8202 h 10000"/>
              <a:gd name="connsiteX0" fmla="*/ 8000 w 10127"/>
              <a:gd name="connsiteY0" fmla="*/ 5730 h 10000"/>
              <a:gd name="connsiteX1" fmla="*/ 9952 w 10127"/>
              <a:gd name="connsiteY1" fmla="*/ 4105 h 10000"/>
              <a:gd name="connsiteX2" fmla="*/ 5503 w 10127"/>
              <a:gd name="connsiteY2" fmla="*/ 0 h 10000"/>
              <a:gd name="connsiteX3" fmla="*/ 414 w 10127"/>
              <a:gd name="connsiteY3" fmla="*/ 2360 h 10000"/>
              <a:gd name="connsiteX4" fmla="*/ 318 w 10127"/>
              <a:gd name="connsiteY4" fmla="*/ 3483 h 10000"/>
              <a:gd name="connsiteX5" fmla="*/ 3007 w 10127"/>
              <a:gd name="connsiteY5" fmla="*/ 5730 h 10000"/>
              <a:gd name="connsiteX6" fmla="*/ 3007 w 10127"/>
              <a:gd name="connsiteY6" fmla="*/ 7191 h 10000"/>
              <a:gd name="connsiteX7" fmla="*/ 8000 w 10127"/>
              <a:gd name="connsiteY7" fmla="*/ 7191 h 10000"/>
              <a:gd name="connsiteX8" fmla="*/ 8000 w 10127"/>
              <a:gd name="connsiteY8" fmla="*/ 8820 h 10000"/>
              <a:gd name="connsiteX9" fmla="*/ 7905 w 10127"/>
              <a:gd name="connsiteY9" fmla="*/ 9045 h 10000"/>
              <a:gd name="connsiteX10" fmla="*/ 7808 w 10127"/>
              <a:gd name="connsiteY10" fmla="*/ 9157 h 10000"/>
              <a:gd name="connsiteX11" fmla="*/ 7424 w 10127"/>
              <a:gd name="connsiteY11" fmla="*/ 9382 h 10000"/>
              <a:gd name="connsiteX12" fmla="*/ 6944 w 10127"/>
              <a:gd name="connsiteY12" fmla="*/ 9494 h 10000"/>
              <a:gd name="connsiteX13" fmla="*/ 6848 w 10127"/>
              <a:gd name="connsiteY13" fmla="*/ 9719 h 10000"/>
              <a:gd name="connsiteX14" fmla="*/ 6464 w 10127"/>
              <a:gd name="connsiteY14" fmla="*/ 9831 h 10000"/>
              <a:gd name="connsiteX15" fmla="*/ 6175 w 10127"/>
              <a:gd name="connsiteY15" fmla="*/ 10000 h 10000"/>
              <a:gd name="connsiteX16" fmla="*/ 5503 w 10127"/>
              <a:gd name="connsiteY16" fmla="*/ 10000 h 10000"/>
              <a:gd name="connsiteX17" fmla="*/ 4928 w 10127"/>
              <a:gd name="connsiteY17" fmla="*/ 10000 h 10000"/>
              <a:gd name="connsiteX18" fmla="*/ 4447 w 10127"/>
              <a:gd name="connsiteY18" fmla="*/ 9831 h 10000"/>
              <a:gd name="connsiteX19" fmla="*/ 4160 w 10127"/>
              <a:gd name="connsiteY19" fmla="*/ 9719 h 10000"/>
              <a:gd name="connsiteX20" fmla="*/ 4063 w 10127"/>
              <a:gd name="connsiteY20" fmla="*/ 9494 h 10000"/>
              <a:gd name="connsiteX21" fmla="*/ 3679 w 10127"/>
              <a:gd name="connsiteY21" fmla="*/ 9382 h 10000"/>
              <a:gd name="connsiteX22" fmla="*/ 3295 w 10127"/>
              <a:gd name="connsiteY22" fmla="*/ 9157 h 10000"/>
              <a:gd name="connsiteX23" fmla="*/ 3103 w 10127"/>
              <a:gd name="connsiteY23" fmla="*/ 9045 h 10000"/>
              <a:gd name="connsiteX24" fmla="*/ 3007 w 10127"/>
              <a:gd name="connsiteY24" fmla="*/ 8820 h 10000"/>
              <a:gd name="connsiteX25" fmla="*/ 3007 w 10127"/>
              <a:gd name="connsiteY25" fmla="*/ 8202 h 10000"/>
              <a:gd name="connsiteX0" fmla="*/ 8000 w 10599"/>
              <a:gd name="connsiteY0" fmla="*/ 5730 h 10000"/>
              <a:gd name="connsiteX1" fmla="*/ 10440 w 10599"/>
              <a:gd name="connsiteY1" fmla="*/ 3292 h 10000"/>
              <a:gd name="connsiteX2" fmla="*/ 5503 w 10599"/>
              <a:gd name="connsiteY2" fmla="*/ 0 h 10000"/>
              <a:gd name="connsiteX3" fmla="*/ 414 w 10599"/>
              <a:gd name="connsiteY3" fmla="*/ 2360 h 10000"/>
              <a:gd name="connsiteX4" fmla="*/ 318 w 10599"/>
              <a:gd name="connsiteY4" fmla="*/ 3483 h 10000"/>
              <a:gd name="connsiteX5" fmla="*/ 3007 w 10599"/>
              <a:gd name="connsiteY5" fmla="*/ 5730 h 10000"/>
              <a:gd name="connsiteX6" fmla="*/ 3007 w 10599"/>
              <a:gd name="connsiteY6" fmla="*/ 7191 h 10000"/>
              <a:gd name="connsiteX7" fmla="*/ 8000 w 10599"/>
              <a:gd name="connsiteY7" fmla="*/ 7191 h 10000"/>
              <a:gd name="connsiteX8" fmla="*/ 8000 w 10599"/>
              <a:gd name="connsiteY8" fmla="*/ 8820 h 10000"/>
              <a:gd name="connsiteX9" fmla="*/ 7905 w 10599"/>
              <a:gd name="connsiteY9" fmla="*/ 9045 h 10000"/>
              <a:gd name="connsiteX10" fmla="*/ 7808 w 10599"/>
              <a:gd name="connsiteY10" fmla="*/ 9157 h 10000"/>
              <a:gd name="connsiteX11" fmla="*/ 7424 w 10599"/>
              <a:gd name="connsiteY11" fmla="*/ 9382 h 10000"/>
              <a:gd name="connsiteX12" fmla="*/ 6944 w 10599"/>
              <a:gd name="connsiteY12" fmla="*/ 9494 h 10000"/>
              <a:gd name="connsiteX13" fmla="*/ 6848 w 10599"/>
              <a:gd name="connsiteY13" fmla="*/ 9719 h 10000"/>
              <a:gd name="connsiteX14" fmla="*/ 6464 w 10599"/>
              <a:gd name="connsiteY14" fmla="*/ 9831 h 10000"/>
              <a:gd name="connsiteX15" fmla="*/ 6175 w 10599"/>
              <a:gd name="connsiteY15" fmla="*/ 10000 h 10000"/>
              <a:gd name="connsiteX16" fmla="*/ 5503 w 10599"/>
              <a:gd name="connsiteY16" fmla="*/ 10000 h 10000"/>
              <a:gd name="connsiteX17" fmla="*/ 4928 w 10599"/>
              <a:gd name="connsiteY17" fmla="*/ 10000 h 10000"/>
              <a:gd name="connsiteX18" fmla="*/ 4447 w 10599"/>
              <a:gd name="connsiteY18" fmla="*/ 9831 h 10000"/>
              <a:gd name="connsiteX19" fmla="*/ 4160 w 10599"/>
              <a:gd name="connsiteY19" fmla="*/ 9719 h 10000"/>
              <a:gd name="connsiteX20" fmla="*/ 4063 w 10599"/>
              <a:gd name="connsiteY20" fmla="*/ 9494 h 10000"/>
              <a:gd name="connsiteX21" fmla="*/ 3679 w 10599"/>
              <a:gd name="connsiteY21" fmla="*/ 9382 h 10000"/>
              <a:gd name="connsiteX22" fmla="*/ 3295 w 10599"/>
              <a:gd name="connsiteY22" fmla="*/ 9157 h 10000"/>
              <a:gd name="connsiteX23" fmla="*/ 3103 w 10599"/>
              <a:gd name="connsiteY23" fmla="*/ 9045 h 10000"/>
              <a:gd name="connsiteX24" fmla="*/ 3007 w 10599"/>
              <a:gd name="connsiteY24" fmla="*/ 8820 h 10000"/>
              <a:gd name="connsiteX25" fmla="*/ 3007 w 10599"/>
              <a:gd name="connsiteY25" fmla="*/ 8202 h 10000"/>
              <a:gd name="connsiteX0" fmla="*/ 8000 w 10602"/>
              <a:gd name="connsiteY0" fmla="*/ 5897 h 10167"/>
              <a:gd name="connsiteX1" fmla="*/ 10440 w 10602"/>
              <a:gd name="connsiteY1" fmla="*/ 3459 h 10167"/>
              <a:gd name="connsiteX2" fmla="*/ 5503 w 10602"/>
              <a:gd name="connsiteY2" fmla="*/ 167 h 10167"/>
              <a:gd name="connsiteX3" fmla="*/ 414 w 10602"/>
              <a:gd name="connsiteY3" fmla="*/ 2527 h 10167"/>
              <a:gd name="connsiteX4" fmla="*/ 318 w 10602"/>
              <a:gd name="connsiteY4" fmla="*/ 3650 h 10167"/>
              <a:gd name="connsiteX5" fmla="*/ 3007 w 10602"/>
              <a:gd name="connsiteY5" fmla="*/ 5897 h 10167"/>
              <a:gd name="connsiteX6" fmla="*/ 3007 w 10602"/>
              <a:gd name="connsiteY6" fmla="*/ 7358 h 10167"/>
              <a:gd name="connsiteX7" fmla="*/ 8000 w 10602"/>
              <a:gd name="connsiteY7" fmla="*/ 7358 h 10167"/>
              <a:gd name="connsiteX8" fmla="*/ 8000 w 10602"/>
              <a:gd name="connsiteY8" fmla="*/ 8987 h 10167"/>
              <a:gd name="connsiteX9" fmla="*/ 7905 w 10602"/>
              <a:gd name="connsiteY9" fmla="*/ 9212 h 10167"/>
              <a:gd name="connsiteX10" fmla="*/ 7808 w 10602"/>
              <a:gd name="connsiteY10" fmla="*/ 9324 h 10167"/>
              <a:gd name="connsiteX11" fmla="*/ 7424 w 10602"/>
              <a:gd name="connsiteY11" fmla="*/ 9549 h 10167"/>
              <a:gd name="connsiteX12" fmla="*/ 6944 w 10602"/>
              <a:gd name="connsiteY12" fmla="*/ 9661 h 10167"/>
              <a:gd name="connsiteX13" fmla="*/ 6848 w 10602"/>
              <a:gd name="connsiteY13" fmla="*/ 9886 h 10167"/>
              <a:gd name="connsiteX14" fmla="*/ 6464 w 10602"/>
              <a:gd name="connsiteY14" fmla="*/ 9998 h 10167"/>
              <a:gd name="connsiteX15" fmla="*/ 6175 w 10602"/>
              <a:gd name="connsiteY15" fmla="*/ 10167 h 10167"/>
              <a:gd name="connsiteX16" fmla="*/ 5503 w 10602"/>
              <a:gd name="connsiteY16" fmla="*/ 10167 h 10167"/>
              <a:gd name="connsiteX17" fmla="*/ 4928 w 10602"/>
              <a:gd name="connsiteY17" fmla="*/ 10167 h 10167"/>
              <a:gd name="connsiteX18" fmla="*/ 4447 w 10602"/>
              <a:gd name="connsiteY18" fmla="*/ 9998 h 10167"/>
              <a:gd name="connsiteX19" fmla="*/ 4160 w 10602"/>
              <a:gd name="connsiteY19" fmla="*/ 9886 h 10167"/>
              <a:gd name="connsiteX20" fmla="*/ 4063 w 10602"/>
              <a:gd name="connsiteY20" fmla="*/ 9661 h 10167"/>
              <a:gd name="connsiteX21" fmla="*/ 3679 w 10602"/>
              <a:gd name="connsiteY21" fmla="*/ 9549 h 10167"/>
              <a:gd name="connsiteX22" fmla="*/ 3295 w 10602"/>
              <a:gd name="connsiteY22" fmla="*/ 9324 h 10167"/>
              <a:gd name="connsiteX23" fmla="*/ 3103 w 10602"/>
              <a:gd name="connsiteY23" fmla="*/ 9212 h 10167"/>
              <a:gd name="connsiteX24" fmla="*/ 3007 w 10602"/>
              <a:gd name="connsiteY24" fmla="*/ 8987 h 10167"/>
              <a:gd name="connsiteX25" fmla="*/ 3007 w 10602"/>
              <a:gd name="connsiteY25" fmla="*/ 8369 h 10167"/>
              <a:gd name="connsiteX0" fmla="*/ 8000 w 10642"/>
              <a:gd name="connsiteY0" fmla="*/ 5731 h 10001"/>
              <a:gd name="connsiteX1" fmla="*/ 10440 w 10642"/>
              <a:gd name="connsiteY1" fmla="*/ 3293 h 10001"/>
              <a:gd name="connsiteX2" fmla="*/ 5503 w 10642"/>
              <a:gd name="connsiteY2" fmla="*/ 1 h 10001"/>
              <a:gd name="connsiteX3" fmla="*/ 414 w 10642"/>
              <a:gd name="connsiteY3" fmla="*/ 2361 h 10001"/>
              <a:gd name="connsiteX4" fmla="*/ 318 w 10642"/>
              <a:gd name="connsiteY4" fmla="*/ 3484 h 10001"/>
              <a:gd name="connsiteX5" fmla="*/ 3007 w 10642"/>
              <a:gd name="connsiteY5" fmla="*/ 5731 h 10001"/>
              <a:gd name="connsiteX6" fmla="*/ 3007 w 10642"/>
              <a:gd name="connsiteY6" fmla="*/ 7192 h 10001"/>
              <a:gd name="connsiteX7" fmla="*/ 8000 w 10642"/>
              <a:gd name="connsiteY7" fmla="*/ 7192 h 10001"/>
              <a:gd name="connsiteX8" fmla="*/ 8000 w 10642"/>
              <a:gd name="connsiteY8" fmla="*/ 8821 h 10001"/>
              <a:gd name="connsiteX9" fmla="*/ 7905 w 10642"/>
              <a:gd name="connsiteY9" fmla="*/ 9046 h 10001"/>
              <a:gd name="connsiteX10" fmla="*/ 7808 w 10642"/>
              <a:gd name="connsiteY10" fmla="*/ 9158 h 10001"/>
              <a:gd name="connsiteX11" fmla="*/ 7424 w 10642"/>
              <a:gd name="connsiteY11" fmla="*/ 9383 h 10001"/>
              <a:gd name="connsiteX12" fmla="*/ 6944 w 10642"/>
              <a:gd name="connsiteY12" fmla="*/ 9495 h 10001"/>
              <a:gd name="connsiteX13" fmla="*/ 6848 w 10642"/>
              <a:gd name="connsiteY13" fmla="*/ 9720 h 10001"/>
              <a:gd name="connsiteX14" fmla="*/ 6464 w 10642"/>
              <a:gd name="connsiteY14" fmla="*/ 9832 h 10001"/>
              <a:gd name="connsiteX15" fmla="*/ 6175 w 10642"/>
              <a:gd name="connsiteY15" fmla="*/ 10001 h 10001"/>
              <a:gd name="connsiteX16" fmla="*/ 5503 w 10642"/>
              <a:gd name="connsiteY16" fmla="*/ 10001 h 10001"/>
              <a:gd name="connsiteX17" fmla="*/ 4928 w 10642"/>
              <a:gd name="connsiteY17" fmla="*/ 10001 h 10001"/>
              <a:gd name="connsiteX18" fmla="*/ 4447 w 10642"/>
              <a:gd name="connsiteY18" fmla="*/ 9832 h 10001"/>
              <a:gd name="connsiteX19" fmla="*/ 4160 w 10642"/>
              <a:gd name="connsiteY19" fmla="*/ 9720 h 10001"/>
              <a:gd name="connsiteX20" fmla="*/ 4063 w 10642"/>
              <a:gd name="connsiteY20" fmla="*/ 9495 h 10001"/>
              <a:gd name="connsiteX21" fmla="*/ 3679 w 10642"/>
              <a:gd name="connsiteY21" fmla="*/ 9383 h 10001"/>
              <a:gd name="connsiteX22" fmla="*/ 3295 w 10642"/>
              <a:gd name="connsiteY22" fmla="*/ 9158 h 10001"/>
              <a:gd name="connsiteX23" fmla="*/ 3103 w 10642"/>
              <a:gd name="connsiteY23" fmla="*/ 9046 h 10001"/>
              <a:gd name="connsiteX24" fmla="*/ 3007 w 10642"/>
              <a:gd name="connsiteY24" fmla="*/ 8821 h 10001"/>
              <a:gd name="connsiteX25" fmla="*/ 3007 w 10642"/>
              <a:gd name="connsiteY25" fmla="*/ 8203 h 10001"/>
              <a:gd name="connsiteX0" fmla="*/ 7682 w 10284"/>
              <a:gd name="connsiteY0" fmla="*/ 5731 h 10001"/>
              <a:gd name="connsiteX1" fmla="*/ 10122 w 10284"/>
              <a:gd name="connsiteY1" fmla="*/ 3293 h 10001"/>
              <a:gd name="connsiteX2" fmla="*/ 5185 w 10284"/>
              <a:gd name="connsiteY2" fmla="*/ 1 h 10001"/>
              <a:gd name="connsiteX3" fmla="*/ 0 w 10284"/>
              <a:gd name="connsiteY3" fmla="*/ 3484 h 10001"/>
              <a:gd name="connsiteX4" fmla="*/ 2689 w 10284"/>
              <a:gd name="connsiteY4" fmla="*/ 5731 h 10001"/>
              <a:gd name="connsiteX5" fmla="*/ 2689 w 10284"/>
              <a:gd name="connsiteY5" fmla="*/ 7192 h 10001"/>
              <a:gd name="connsiteX6" fmla="*/ 7682 w 10284"/>
              <a:gd name="connsiteY6" fmla="*/ 7192 h 10001"/>
              <a:gd name="connsiteX7" fmla="*/ 7682 w 10284"/>
              <a:gd name="connsiteY7" fmla="*/ 8821 h 10001"/>
              <a:gd name="connsiteX8" fmla="*/ 7587 w 10284"/>
              <a:gd name="connsiteY8" fmla="*/ 9046 h 10001"/>
              <a:gd name="connsiteX9" fmla="*/ 7490 w 10284"/>
              <a:gd name="connsiteY9" fmla="*/ 9158 h 10001"/>
              <a:gd name="connsiteX10" fmla="*/ 7106 w 10284"/>
              <a:gd name="connsiteY10" fmla="*/ 9383 h 10001"/>
              <a:gd name="connsiteX11" fmla="*/ 6626 w 10284"/>
              <a:gd name="connsiteY11" fmla="*/ 9495 h 10001"/>
              <a:gd name="connsiteX12" fmla="*/ 6530 w 10284"/>
              <a:gd name="connsiteY12" fmla="*/ 9720 h 10001"/>
              <a:gd name="connsiteX13" fmla="*/ 6146 w 10284"/>
              <a:gd name="connsiteY13" fmla="*/ 9832 h 10001"/>
              <a:gd name="connsiteX14" fmla="*/ 5857 w 10284"/>
              <a:gd name="connsiteY14" fmla="*/ 10001 h 10001"/>
              <a:gd name="connsiteX15" fmla="*/ 5185 w 10284"/>
              <a:gd name="connsiteY15" fmla="*/ 10001 h 10001"/>
              <a:gd name="connsiteX16" fmla="*/ 4610 w 10284"/>
              <a:gd name="connsiteY16" fmla="*/ 10001 h 10001"/>
              <a:gd name="connsiteX17" fmla="*/ 4129 w 10284"/>
              <a:gd name="connsiteY17" fmla="*/ 9832 h 10001"/>
              <a:gd name="connsiteX18" fmla="*/ 3842 w 10284"/>
              <a:gd name="connsiteY18" fmla="*/ 9720 h 10001"/>
              <a:gd name="connsiteX19" fmla="*/ 3745 w 10284"/>
              <a:gd name="connsiteY19" fmla="*/ 9495 h 10001"/>
              <a:gd name="connsiteX20" fmla="*/ 3361 w 10284"/>
              <a:gd name="connsiteY20" fmla="*/ 9383 h 10001"/>
              <a:gd name="connsiteX21" fmla="*/ 2977 w 10284"/>
              <a:gd name="connsiteY21" fmla="*/ 9158 h 10001"/>
              <a:gd name="connsiteX22" fmla="*/ 2785 w 10284"/>
              <a:gd name="connsiteY22" fmla="*/ 9046 h 10001"/>
              <a:gd name="connsiteX23" fmla="*/ 2689 w 10284"/>
              <a:gd name="connsiteY23" fmla="*/ 8821 h 10001"/>
              <a:gd name="connsiteX24" fmla="*/ 2689 w 10284"/>
              <a:gd name="connsiteY24" fmla="*/ 8203 h 10001"/>
              <a:gd name="connsiteX0" fmla="*/ 7389 w 9989"/>
              <a:gd name="connsiteY0" fmla="*/ 5731 h 10001"/>
              <a:gd name="connsiteX1" fmla="*/ 9829 w 9989"/>
              <a:gd name="connsiteY1" fmla="*/ 3293 h 10001"/>
              <a:gd name="connsiteX2" fmla="*/ 4892 w 9989"/>
              <a:gd name="connsiteY2" fmla="*/ 1 h 10001"/>
              <a:gd name="connsiteX3" fmla="*/ 0 w 9989"/>
              <a:gd name="connsiteY3" fmla="*/ 3078 h 10001"/>
              <a:gd name="connsiteX4" fmla="*/ 2396 w 9989"/>
              <a:gd name="connsiteY4" fmla="*/ 5731 h 10001"/>
              <a:gd name="connsiteX5" fmla="*/ 2396 w 9989"/>
              <a:gd name="connsiteY5" fmla="*/ 7192 h 10001"/>
              <a:gd name="connsiteX6" fmla="*/ 7389 w 9989"/>
              <a:gd name="connsiteY6" fmla="*/ 7192 h 10001"/>
              <a:gd name="connsiteX7" fmla="*/ 7389 w 9989"/>
              <a:gd name="connsiteY7" fmla="*/ 8821 h 10001"/>
              <a:gd name="connsiteX8" fmla="*/ 7294 w 9989"/>
              <a:gd name="connsiteY8" fmla="*/ 9046 h 10001"/>
              <a:gd name="connsiteX9" fmla="*/ 7197 w 9989"/>
              <a:gd name="connsiteY9" fmla="*/ 9158 h 10001"/>
              <a:gd name="connsiteX10" fmla="*/ 6813 w 9989"/>
              <a:gd name="connsiteY10" fmla="*/ 9383 h 10001"/>
              <a:gd name="connsiteX11" fmla="*/ 6333 w 9989"/>
              <a:gd name="connsiteY11" fmla="*/ 9495 h 10001"/>
              <a:gd name="connsiteX12" fmla="*/ 6237 w 9989"/>
              <a:gd name="connsiteY12" fmla="*/ 9720 h 10001"/>
              <a:gd name="connsiteX13" fmla="*/ 5853 w 9989"/>
              <a:gd name="connsiteY13" fmla="*/ 9832 h 10001"/>
              <a:gd name="connsiteX14" fmla="*/ 5564 w 9989"/>
              <a:gd name="connsiteY14" fmla="*/ 10001 h 10001"/>
              <a:gd name="connsiteX15" fmla="*/ 4892 w 9989"/>
              <a:gd name="connsiteY15" fmla="*/ 10001 h 10001"/>
              <a:gd name="connsiteX16" fmla="*/ 4317 w 9989"/>
              <a:gd name="connsiteY16" fmla="*/ 10001 h 10001"/>
              <a:gd name="connsiteX17" fmla="*/ 3836 w 9989"/>
              <a:gd name="connsiteY17" fmla="*/ 9832 h 10001"/>
              <a:gd name="connsiteX18" fmla="*/ 3549 w 9989"/>
              <a:gd name="connsiteY18" fmla="*/ 9720 h 10001"/>
              <a:gd name="connsiteX19" fmla="*/ 3452 w 9989"/>
              <a:gd name="connsiteY19" fmla="*/ 9495 h 10001"/>
              <a:gd name="connsiteX20" fmla="*/ 3068 w 9989"/>
              <a:gd name="connsiteY20" fmla="*/ 9383 h 10001"/>
              <a:gd name="connsiteX21" fmla="*/ 2684 w 9989"/>
              <a:gd name="connsiteY21" fmla="*/ 9158 h 10001"/>
              <a:gd name="connsiteX22" fmla="*/ 2492 w 9989"/>
              <a:gd name="connsiteY22" fmla="*/ 9046 h 10001"/>
              <a:gd name="connsiteX23" fmla="*/ 2396 w 9989"/>
              <a:gd name="connsiteY23" fmla="*/ 8821 h 10001"/>
              <a:gd name="connsiteX24" fmla="*/ 2396 w 9989"/>
              <a:gd name="connsiteY24" fmla="*/ 8203 h 10001"/>
              <a:gd name="connsiteX0" fmla="*/ 7397 w 10000"/>
              <a:gd name="connsiteY0" fmla="*/ 5730 h 10000"/>
              <a:gd name="connsiteX1" fmla="*/ 9840 w 10000"/>
              <a:gd name="connsiteY1" fmla="*/ 3293 h 10000"/>
              <a:gd name="connsiteX2" fmla="*/ 4897 w 10000"/>
              <a:gd name="connsiteY2" fmla="*/ 1 h 10000"/>
              <a:gd name="connsiteX3" fmla="*/ 0 w 10000"/>
              <a:gd name="connsiteY3" fmla="*/ 3078 h 10000"/>
              <a:gd name="connsiteX4" fmla="*/ 2399 w 10000"/>
              <a:gd name="connsiteY4" fmla="*/ 5730 h 10000"/>
              <a:gd name="connsiteX5" fmla="*/ 2399 w 10000"/>
              <a:gd name="connsiteY5" fmla="*/ 7191 h 10000"/>
              <a:gd name="connsiteX6" fmla="*/ 7397 w 10000"/>
              <a:gd name="connsiteY6" fmla="*/ 7191 h 10000"/>
              <a:gd name="connsiteX7" fmla="*/ 7397 w 10000"/>
              <a:gd name="connsiteY7" fmla="*/ 8820 h 10000"/>
              <a:gd name="connsiteX8" fmla="*/ 7302 w 10000"/>
              <a:gd name="connsiteY8" fmla="*/ 9045 h 10000"/>
              <a:gd name="connsiteX9" fmla="*/ 7205 w 10000"/>
              <a:gd name="connsiteY9" fmla="*/ 9157 h 10000"/>
              <a:gd name="connsiteX10" fmla="*/ 6821 w 10000"/>
              <a:gd name="connsiteY10" fmla="*/ 9382 h 10000"/>
              <a:gd name="connsiteX11" fmla="*/ 6340 w 10000"/>
              <a:gd name="connsiteY11" fmla="*/ 9494 h 10000"/>
              <a:gd name="connsiteX12" fmla="*/ 6244 w 10000"/>
              <a:gd name="connsiteY12" fmla="*/ 9719 h 10000"/>
              <a:gd name="connsiteX13" fmla="*/ 5859 w 10000"/>
              <a:gd name="connsiteY13" fmla="*/ 9831 h 10000"/>
              <a:gd name="connsiteX14" fmla="*/ 5570 w 10000"/>
              <a:gd name="connsiteY14" fmla="*/ 10000 h 10000"/>
              <a:gd name="connsiteX15" fmla="*/ 4897 w 10000"/>
              <a:gd name="connsiteY15" fmla="*/ 10000 h 10000"/>
              <a:gd name="connsiteX16" fmla="*/ 4322 w 10000"/>
              <a:gd name="connsiteY16" fmla="*/ 10000 h 10000"/>
              <a:gd name="connsiteX17" fmla="*/ 3840 w 10000"/>
              <a:gd name="connsiteY17" fmla="*/ 9831 h 10000"/>
              <a:gd name="connsiteX18" fmla="*/ 3553 w 10000"/>
              <a:gd name="connsiteY18" fmla="*/ 9719 h 10000"/>
              <a:gd name="connsiteX19" fmla="*/ 3456 w 10000"/>
              <a:gd name="connsiteY19" fmla="*/ 9494 h 10000"/>
              <a:gd name="connsiteX20" fmla="*/ 3071 w 10000"/>
              <a:gd name="connsiteY20" fmla="*/ 9382 h 10000"/>
              <a:gd name="connsiteX21" fmla="*/ 2687 w 10000"/>
              <a:gd name="connsiteY21" fmla="*/ 9157 h 10000"/>
              <a:gd name="connsiteX22" fmla="*/ 2495 w 10000"/>
              <a:gd name="connsiteY22" fmla="*/ 9045 h 10000"/>
              <a:gd name="connsiteX23" fmla="*/ 2399 w 10000"/>
              <a:gd name="connsiteY23" fmla="*/ 8820 h 10000"/>
              <a:gd name="connsiteX24" fmla="*/ 2399 w 10000"/>
              <a:gd name="connsiteY24" fmla="*/ 8202 h 10000"/>
              <a:gd name="connsiteX0" fmla="*/ 7397 w 10000"/>
              <a:gd name="connsiteY0" fmla="*/ 5730 h 10000"/>
              <a:gd name="connsiteX1" fmla="*/ 9840 w 10000"/>
              <a:gd name="connsiteY1" fmla="*/ 3293 h 10000"/>
              <a:gd name="connsiteX2" fmla="*/ 4897 w 10000"/>
              <a:gd name="connsiteY2" fmla="*/ 1 h 10000"/>
              <a:gd name="connsiteX3" fmla="*/ 0 w 10000"/>
              <a:gd name="connsiteY3" fmla="*/ 3078 h 10000"/>
              <a:gd name="connsiteX4" fmla="*/ 2399 w 10000"/>
              <a:gd name="connsiteY4" fmla="*/ 5730 h 10000"/>
              <a:gd name="connsiteX5" fmla="*/ 2399 w 10000"/>
              <a:gd name="connsiteY5" fmla="*/ 7191 h 10000"/>
              <a:gd name="connsiteX6" fmla="*/ 7397 w 10000"/>
              <a:gd name="connsiteY6" fmla="*/ 7191 h 10000"/>
              <a:gd name="connsiteX7" fmla="*/ 7397 w 10000"/>
              <a:gd name="connsiteY7" fmla="*/ 8820 h 10000"/>
              <a:gd name="connsiteX8" fmla="*/ 7302 w 10000"/>
              <a:gd name="connsiteY8" fmla="*/ 9045 h 10000"/>
              <a:gd name="connsiteX9" fmla="*/ 7205 w 10000"/>
              <a:gd name="connsiteY9" fmla="*/ 9157 h 10000"/>
              <a:gd name="connsiteX10" fmla="*/ 6821 w 10000"/>
              <a:gd name="connsiteY10" fmla="*/ 9382 h 10000"/>
              <a:gd name="connsiteX11" fmla="*/ 6340 w 10000"/>
              <a:gd name="connsiteY11" fmla="*/ 9494 h 10000"/>
              <a:gd name="connsiteX12" fmla="*/ 6244 w 10000"/>
              <a:gd name="connsiteY12" fmla="*/ 9719 h 10000"/>
              <a:gd name="connsiteX13" fmla="*/ 5859 w 10000"/>
              <a:gd name="connsiteY13" fmla="*/ 9831 h 10000"/>
              <a:gd name="connsiteX14" fmla="*/ 5570 w 10000"/>
              <a:gd name="connsiteY14" fmla="*/ 10000 h 10000"/>
              <a:gd name="connsiteX15" fmla="*/ 4897 w 10000"/>
              <a:gd name="connsiteY15" fmla="*/ 10000 h 10000"/>
              <a:gd name="connsiteX16" fmla="*/ 4322 w 10000"/>
              <a:gd name="connsiteY16" fmla="*/ 10000 h 10000"/>
              <a:gd name="connsiteX17" fmla="*/ 3840 w 10000"/>
              <a:gd name="connsiteY17" fmla="*/ 9831 h 10000"/>
              <a:gd name="connsiteX18" fmla="*/ 3553 w 10000"/>
              <a:gd name="connsiteY18" fmla="*/ 9719 h 10000"/>
              <a:gd name="connsiteX19" fmla="*/ 3456 w 10000"/>
              <a:gd name="connsiteY19" fmla="*/ 9494 h 10000"/>
              <a:gd name="connsiteX20" fmla="*/ 3071 w 10000"/>
              <a:gd name="connsiteY20" fmla="*/ 9382 h 10000"/>
              <a:gd name="connsiteX21" fmla="*/ 2687 w 10000"/>
              <a:gd name="connsiteY21" fmla="*/ 9157 h 10000"/>
              <a:gd name="connsiteX22" fmla="*/ 2495 w 10000"/>
              <a:gd name="connsiteY22" fmla="*/ 9045 h 10000"/>
              <a:gd name="connsiteX23" fmla="*/ 2399 w 10000"/>
              <a:gd name="connsiteY23" fmla="*/ 8820 h 10000"/>
              <a:gd name="connsiteX24" fmla="*/ 2399 w 10000"/>
              <a:gd name="connsiteY24" fmla="*/ 8202 h 10000"/>
              <a:gd name="connsiteX0" fmla="*/ 7500 w 10103"/>
              <a:gd name="connsiteY0" fmla="*/ 5730 h 10000"/>
              <a:gd name="connsiteX1" fmla="*/ 9943 w 10103"/>
              <a:gd name="connsiteY1" fmla="*/ 3293 h 10000"/>
              <a:gd name="connsiteX2" fmla="*/ 5000 w 10103"/>
              <a:gd name="connsiteY2" fmla="*/ 1 h 10000"/>
              <a:gd name="connsiteX3" fmla="*/ 103 w 10103"/>
              <a:gd name="connsiteY3" fmla="*/ 3078 h 10000"/>
              <a:gd name="connsiteX4" fmla="*/ 2502 w 10103"/>
              <a:gd name="connsiteY4" fmla="*/ 5730 h 10000"/>
              <a:gd name="connsiteX5" fmla="*/ 2502 w 10103"/>
              <a:gd name="connsiteY5" fmla="*/ 7191 h 10000"/>
              <a:gd name="connsiteX6" fmla="*/ 7500 w 10103"/>
              <a:gd name="connsiteY6" fmla="*/ 7191 h 10000"/>
              <a:gd name="connsiteX7" fmla="*/ 7500 w 10103"/>
              <a:gd name="connsiteY7" fmla="*/ 8820 h 10000"/>
              <a:gd name="connsiteX8" fmla="*/ 7405 w 10103"/>
              <a:gd name="connsiteY8" fmla="*/ 9045 h 10000"/>
              <a:gd name="connsiteX9" fmla="*/ 7308 w 10103"/>
              <a:gd name="connsiteY9" fmla="*/ 9157 h 10000"/>
              <a:gd name="connsiteX10" fmla="*/ 6924 w 10103"/>
              <a:gd name="connsiteY10" fmla="*/ 9382 h 10000"/>
              <a:gd name="connsiteX11" fmla="*/ 6443 w 10103"/>
              <a:gd name="connsiteY11" fmla="*/ 9494 h 10000"/>
              <a:gd name="connsiteX12" fmla="*/ 6347 w 10103"/>
              <a:gd name="connsiteY12" fmla="*/ 9719 h 10000"/>
              <a:gd name="connsiteX13" fmla="*/ 5962 w 10103"/>
              <a:gd name="connsiteY13" fmla="*/ 9831 h 10000"/>
              <a:gd name="connsiteX14" fmla="*/ 5673 w 10103"/>
              <a:gd name="connsiteY14" fmla="*/ 10000 h 10000"/>
              <a:gd name="connsiteX15" fmla="*/ 5000 w 10103"/>
              <a:gd name="connsiteY15" fmla="*/ 10000 h 10000"/>
              <a:gd name="connsiteX16" fmla="*/ 4425 w 10103"/>
              <a:gd name="connsiteY16" fmla="*/ 10000 h 10000"/>
              <a:gd name="connsiteX17" fmla="*/ 3943 w 10103"/>
              <a:gd name="connsiteY17" fmla="*/ 9831 h 10000"/>
              <a:gd name="connsiteX18" fmla="*/ 3656 w 10103"/>
              <a:gd name="connsiteY18" fmla="*/ 9719 h 10000"/>
              <a:gd name="connsiteX19" fmla="*/ 3559 w 10103"/>
              <a:gd name="connsiteY19" fmla="*/ 9494 h 10000"/>
              <a:gd name="connsiteX20" fmla="*/ 3174 w 10103"/>
              <a:gd name="connsiteY20" fmla="*/ 9382 h 10000"/>
              <a:gd name="connsiteX21" fmla="*/ 2790 w 10103"/>
              <a:gd name="connsiteY21" fmla="*/ 9157 h 10000"/>
              <a:gd name="connsiteX22" fmla="*/ 2598 w 10103"/>
              <a:gd name="connsiteY22" fmla="*/ 9045 h 10000"/>
              <a:gd name="connsiteX23" fmla="*/ 2502 w 10103"/>
              <a:gd name="connsiteY23" fmla="*/ 8820 h 10000"/>
              <a:gd name="connsiteX24" fmla="*/ 2502 w 10103"/>
              <a:gd name="connsiteY24" fmla="*/ 8202 h 10000"/>
              <a:gd name="connsiteX0" fmla="*/ 7407 w 10010"/>
              <a:gd name="connsiteY0" fmla="*/ 5730 h 10000"/>
              <a:gd name="connsiteX1" fmla="*/ 9850 w 10010"/>
              <a:gd name="connsiteY1" fmla="*/ 3293 h 10000"/>
              <a:gd name="connsiteX2" fmla="*/ 4907 w 10010"/>
              <a:gd name="connsiteY2" fmla="*/ 1 h 10000"/>
              <a:gd name="connsiteX3" fmla="*/ 10 w 10010"/>
              <a:gd name="connsiteY3" fmla="*/ 3078 h 10000"/>
              <a:gd name="connsiteX4" fmla="*/ 2409 w 10010"/>
              <a:gd name="connsiteY4" fmla="*/ 5730 h 10000"/>
              <a:gd name="connsiteX5" fmla="*/ 2409 w 10010"/>
              <a:gd name="connsiteY5" fmla="*/ 7191 h 10000"/>
              <a:gd name="connsiteX6" fmla="*/ 7407 w 10010"/>
              <a:gd name="connsiteY6" fmla="*/ 7191 h 10000"/>
              <a:gd name="connsiteX7" fmla="*/ 7407 w 10010"/>
              <a:gd name="connsiteY7" fmla="*/ 8820 h 10000"/>
              <a:gd name="connsiteX8" fmla="*/ 7312 w 10010"/>
              <a:gd name="connsiteY8" fmla="*/ 9045 h 10000"/>
              <a:gd name="connsiteX9" fmla="*/ 7215 w 10010"/>
              <a:gd name="connsiteY9" fmla="*/ 9157 h 10000"/>
              <a:gd name="connsiteX10" fmla="*/ 6831 w 10010"/>
              <a:gd name="connsiteY10" fmla="*/ 9382 h 10000"/>
              <a:gd name="connsiteX11" fmla="*/ 6350 w 10010"/>
              <a:gd name="connsiteY11" fmla="*/ 9494 h 10000"/>
              <a:gd name="connsiteX12" fmla="*/ 6254 w 10010"/>
              <a:gd name="connsiteY12" fmla="*/ 9719 h 10000"/>
              <a:gd name="connsiteX13" fmla="*/ 5869 w 10010"/>
              <a:gd name="connsiteY13" fmla="*/ 9831 h 10000"/>
              <a:gd name="connsiteX14" fmla="*/ 5580 w 10010"/>
              <a:gd name="connsiteY14" fmla="*/ 10000 h 10000"/>
              <a:gd name="connsiteX15" fmla="*/ 4907 w 10010"/>
              <a:gd name="connsiteY15" fmla="*/ 10000 h 10000"/>
              <a:gd name="connsiteX16" fmla="*/ 4332 w 10010"/>
              <a:gd name="connsiteY16" fmla="*/ 10000 h 10000"/>
              <a:gd name="connsiteX17" fmla="*/ 3850 w 10010"/>
              <a:gd name="connsiteY17" fmla="*/ 9831 h 10000"/>
              <a:gd name="connsiteX18" fmla="*/ 3563 w 10010"/>
              <a:gd name="connsiteY18" fmla="*/ 9719 h 10000"/>
              <a:gd name="connsiteX19" fmla="*/ 3466 w 10010"/>
              <a:gd name="connsiteY19" fmla="*/ 9494 h 10000"/>
              <a:gd name="connsiteX20" fmla="*/ 3081 w 10010"/>
              <a:gd name="connsiteY20" fmla="*/ 9382 h 10000"/>
              <a:gd name="connsiteX21" fmla="*/ 2697 w 10010"/>
              <a:gd name="connsiteY21" fmla="*/ 9157 h 10000"/>
              <a:gd name="connsiteX22" fmla="*/ 2505 w 10010"/>
              <a:gd name="connsiteY22" fmla="*/ 9045 h 10000"/>
              <a:gd name="connsiteX23" fmla="*/ 2409 w 10010"/>
              <a:gd name="connsiteY23" fmla="*/ 8820 h 10000"/>
              <a:gd name="connsiteX24" fmla="*/ 2409 w 10010"/>
              <a:gd name="connsiteY24" fmla="*/ 8202 h 10000"/>
              <a:gd name="connsiteX0" fmla="*/ 7698 w 10303"/>
              <a:gd name="connsiteY0" fmla="*/ 5735 h 10005"/>
              <a:gd name="connsiteX1" fmla="*/ 10141 w 10303"/>
              <a:gd name="connsiteY1" fmla="*/ 3298 h 10005"/>
              <a:gd name="connsiteX2" fmla="*/ 5198 w 10303"/>
              <a:gd name="connsiteY2" fmla="*/ 6 h 10005"/>
              <a:gd name="connsiteX3" fmla="*/ 8 w 10303"/>
              <a:gd name="connsiteY3" fmla="*/ 2619 h 10005"/>
              <a:gd name="connsiteX4" fmla="*/ 2700 w 10303"/>
              <a:gd name="connsiteY4" fmla="*/ 5735 h 10005"/>
              <a:gd name="connsiteX5" fmla="*/ 2700 w 10303"/>
              <a:gd name="connsiteY5" fmla="*/ 7196 h 10005"/>
              <a:gd name="connsiteX6" fmla="*/ 7698 w 10303"/>
              <a:gd name="connsiteY6" fmla="*/ 7196 h 10005"/>
              <a:gd name="connsiteX7" fmla="*/ 7698 w 10303"/>
              <a:gd name="connsiteY7" fmla="*/ 8825 h 10005"/>
              <a:gd name="connsiteX8" fmla="*/ 7603 w 10303"/>
              <a:gd name="connsiteY8" fmla="*/ 9050 h 10005"/>
              <a:gd name="connsiteX9" fmla="*/ 7506 w 10303"/>
              <a:gd name="connsiteY9" fmla="*/ 9162 h 10005"/>
              <a:gd name="connsiteX10" fmla="*/ 7122 w 10303"/>
              <a:gd name="connsiteY10" fmla="*/ 9387 h 10005"/>
              <a:gd name="connsiteX11" fmla="*/ 6641 w 10303"/>
              <a:gd name="connsiteY11" fmla="*/ 9499 h 10005"/>
              <a:gd name="connsiteX12" fmla="*/ 6545 w 10303"/>
              <a:gd name="connsiteY12" fmla="*/ 9724 h 10005"/>
              <a:gd name="connsiteX13" fmla="*/ 6160 w 10303"/>
              <a:gd name="connsiteY13" fmla="*/ 9836 h 10005"/>
              <a:gd name="connsiteX14" fmla="*/ 5871 w 10303"/>
              <a:gd name="connsiteY14" fmla="*/ 10005 h 10005"/>
              <a:gd name="connsiteX15" fmla="*/ 5198 w 10303"/>
              <a:gd name="connsiteY15" fmla="*/ 10005 h 10005"/>
              <a:gd name="connsiteX16" fmla="*/ 4623 w 10303"/>
              <a:gd name="connsiteY16" fmla="*/ 10005 h 10005"/>
              <a:gd name="connsiteX17" fmla="*/ 4141 w 10303"/>
              <a:gd name="connsiteY17" fmla="*/ 9836 h 10005"/>
              <a:gd name="connsiteX18" fmla="*/ 3854 w 10303"/>
              <a:gd name="connsiteY18" fmla="*/ 9724 h 10005"/>
              <a:gd name="connsiteX19" fmla="*/ 3757 w 10303"/>
              <a:gd name="connsiteY19" fmla="*/ 9499 h 10005"/>
              <a:gd name="connsiteX20" fmla="*/ 3372 w 10303"/>
              <a:gd name="connsiteY20" fmla="*/ 9387 h 10005"/>
              <a:gd name="connsiteX21" fmla="*/ 2988 w 10303"/>
              <a:gd name="connsiteY21" fmla="*/ 9162 h 10005"/>
              <a:gd name="connsiteX22" fmla="*/ 2796 w 10303"/>
              <a:gd name="connsiteY22" fmla="*/ 9050 h 10005"/>
              <a:gd name="connsiteX23" fmla="*/ 2700 w 10303"/>
              <a:gd name="connsiteY23" fmla="*/ 8825 h 10005"/>
              <a:gd name="connsiteX24" fmla="*/ 2700 w 10303"/>
              <a:gd name="connsiteY24" fmla="*/ 8207 h 10005"/>
              <a:gd name="connsiteX0" fmla="*/ 7693 w 10298"/>
              <a:gd name="connsiteY0" fmla="*/ 5735 h 10005"/>
              <a:gd name="connsiteX1" fmla="*/ 10136 w 10298"/>
              <a:gd name="connsiteY1" fmla="*/ 3298 h 10005"/>
              <a:gd name="connsiteX2" fmla="*/ 5193 w 10298"/>
              <a:gd name="connsiteY2" fmla="*/ 6 h 10005"/>
              <a:gd name="connsiteX3" fmla="*/ 3 w 10298"/>
              <a:gd name="connsiteY3" fmla="*/ 2619 h 10005"/>
              <a:gd name="connsiteX4" fmla="*/ 2695 w 10298"/>
              <a:gd name="connsiteY4" fmla="*/ 5735 h 10005"/>
              <a:gd name="connsiteX5" fmla="*/ 2695 w 10298"/>
              <a:gd name="connsiteY5" fmla="*/ 7196 h 10005"/>
              <a:gd name="connsiteX6" fmla="*/ 7693 w 10298"/>
              <a:gd name="connsiteY6" fmla="*/ 7196 h 10005"/>
              <a:gd name="connsiteX7" fmla="*/ 7693 w 10298"/>
              <a:gd name="connsiteY7" fmla="*/ 8825 h 10005"/>
              <a:gd name="connsiteX8" fmla="*/ 7598 w 10298"/>
              <a:gd name="connsiteY8" fmla="*/ 9050 h 10005"/>
              <a:gd name="connsiteX9" fmla="*/ 7501 w 10298"/>
              <a:gd name="connsiteY9" fmla="*/ 9162 h 10005"/>
              <a:gd name="connsiteX10" fmla="*/ 7117 w 10298"/>
              <a:gd name="connsiteY10" fmla="*/ 9387 h 10005"/>
              <a:gd name="connsiteX11" fmla="*/ 6636 w 10298"/>
              <a:gd name="connsiteY11" fmla="*/ 9499 h 10005"/>
              <a:gd name="connsiteX12" fmla="*/ 6540 w 10298"/>
              <a:gd name="connsiteY12" fmla="*/ 9724 h 10005"/>
              <a:gd name="connsiteX13" fmla="*/ 6155 w 10298"/>
              <a:gd name="connsiteY13" fmla="*/ 9836 h 10005"/>
              <a:gd name="connsiteX14" fmla="*/ 5866 w 10298"/>
              <a:gd name="connsiteY14" fmla="*/ 10005 h 10005"/>
              <a:gd name="connsiteX15" fmla="*/ 5193 w 10298"/>
              <a:gd name="connsiteY15" fmla="*/ 10005 h 10005"/>
              <a:gd name="connsiteX16" fmla="*/ 4618 w 10298"/>
              <a:gd name="connsiteY16" fmla="*/ 10005 h 10005"/>
              <a:gd name="connsiteX17" fmla="*/ 4136 w 10298"/>
              <a:gd name="connsiteY17" fmla="*/ 9836 h 10005"/>
              <a:gd name="connsiteX18" fmla="*/ 3849 w 10298"/>
              <a:gd name="connsiteY18" fmla="*/ 9724 h 10005"/>
              <a:gd name="connsiteX19" fmla="*/ 3752 w 10298"/>
              <a:gd name="connsiteY19" fmla="*/ 9499 h 10005"/>
              <a:gd name="connsiteX20" fmla="*/ 3367 w 10298"/>
              <a:gd name="connsiteY20" fmla="*/ 9387 h 10005"/>
              <a:gd name="connsiteX21" fmla="*/ 2983 w 10298"/>
              <a:gd name="connsiteY21" fmla="*/ 9162 h 10005"/>
              <a:gd name="connsiteX22" fmla="*/ 2791 w 10298"/>
              <a:gd name="connsiteY22" fmla="*/ 9050 h 10005"/>
              <a:gd name="connsiteX23" fmla="*/ 2695 w 10298"/>
              <a:gd name="connsiteY23" fmla="*/ 8825 h 10005"/>
              <a:gd name="connsiteX24" fmla="*/ 2695 w 10298"/>
              <a:gd name="connsiteY24" fmla="*/ 8207 h 10005"/>
              <a:gd name="connsiteX0" fmla="*/ 7205 w 9807"/>
              <a:gd name="connsiteY0" fmla="*/ 5735 h 10005"/>
              <a:gd name="connsiteX1" fmla="*/ 9648 w 9807"/>
              <a:gd name="connsiteY1" fmla="*/ 3298 h 10005"/>
              <a:gd name="connsiteX2" fmla="*/ 4705 w 9807"/>
              <a:gd name="connsiteY2" fmla="*/ 6 h 10005"/>
              <a:gd name="connsiteX3" fmla="*/ 4 w 9807"/>
              <a:gd name="connsiteY3" fmla="*/ 2619 h 10005"/>
              <a:gd name="connsiteX4" fmla="*/ 2207 w 9807"/>
              <a:gd name="connsiteY4" fmla="*/ 5735 h 10005"/>
              <a:gd name="connsiteX5" fmla="*/ 2207 w 9807"/>
              <a:gd name="connsiteY5" fmla="*/ 7196 h 10005"/>
              <a:gd name="connsiteX6" fmla="*/ 7205 w 9807"/>
              <a:gd name="connsiteY6" fmla="*/ 7196 h 10005"/>
              <a:gd name="connsiteX7" fmla="*/ 7205 w 9807"/>
              <a:gd name="connsiteY7" fmla="*/ 8825 h 10005"/>
              <a:gd name="connsiteX8" fmla="*/ 7110 w 9807"/>
              <a:gd name="connsiteY8" fmla="*/ 9050 h 10005"/>
              <a:gd name="connsiteX9" fmla="*/ 7013 w 9807"/>
              <a:gd name="connsiteY9" fmla="*/ 9162 h 10005"/>
              <a:gd name="connsiteX10" fmla="*/ 6629 w 9807"/>
              <a:gd name="connsiteY10" fmla="*/ 9387 h 10005"/>
              <a:gd name="connsiteX11" fmla="*/ 6148 w 9807"/>
              <a:gd name="connsiteY11" fmla="*/ 9499 h 10005"/>
              <a:gd name="connsiteX12" fmla="*/ 6052 w 9807"/>
              <a:gd name="connsiteY12" fmla="*/ 9724 h 10005"/>
              <a:gd name="connsiteX13" fmla="*/ 5667 w 9807"/>
              <a:gd name="connsiteY13" fmla="*/ 9836 h 10005"/>
              <a:gd name="connsiteX14" fmla="*/ 5378 w 9807"/>
              <a:gd name="connsiteY14" fmla="*/ 10005 h 10005"/>
              <a:gd name="connsiteX15" fmla="*/ 4705 w 9807"/>
              <a:gd name="connsiteY15" fmla="*/ 10005 h 10005"/>
              <a:gd name="connsiteX16" fmla="*/ 4130 w 9807"/>
              <a:gd name="connsiteY16" fmla="*/ 10005 h 10005"/>
              <a:gd name="connsiteX17" fmla="*/ 3648 w 9807"/>
              <a:gd name="connsiteY17" fmla="*/ 9836 h 10005"/>
              <a:gd name="connsiteX18" fmla="*/ 3361 w 9807"/>
              <a:gd name="connsiteY18" fmla="*/ 9724 h 10005"/>
              <a:gd name="connsiteX19" fmla="*/ 3264 w 9807"/>
              <a:gd name="connsiteY19" fmla="*/ 9499 h 10005"/>
              <a:gd name="connsiteX20" fmla="*/ 2879 w 9807"/>
              <a:gd name="connsiteY20" fmla="*/ 9387 h 10005"/>
              <a:gd name="connsiteX21" fmla="*/ 2495 w 9807"/>
              <a:gd name="connsiteY21" fmla="*/ 9162 h 10005"/>
              <a:gd name="connsiteX22" fmla="*/ 2303 w 9807"/>
              <a:gd name="connsiteY22" fmla="*/ 9050 h 10005"/>
              <a:gd name="connsiteX23" fmla="*/ 2207 w 9807"/>
              <a:gd name="connsiteY23" fmla="*/ 8825 h 10005"/>
              <a:gd name="connsiteX24" fmla="*/ 2207 w 9807"/>
              <a:gd name="connsiteY24" fmla="*/ 8207 h 10005"/>
              <a:gd name="connsiteX0" fmla="*/ 7347 w 10000"/>
              <a:gd name="connsiteY0" fmla="*/ 5734 h 10002"/>
              <a:gd name="connsiteX1" fmla="*/ 9838 w 10000"/>
              <a:gd name="connsiteY1" fmla="*/ 3298 h 10002"/>
              <a:gd name="connsiteX2" fmla="*/ 4798 w 10000"/>
              <a:gd name="connsiteY2" fmla="*/ 8 h 10002"/>
              <a:gd name="connsiteX3" fmla="*/ 4 w 10000"/>
              <a:gd name="connsiteY3" fmla="*/ 2620 h 10002"/>
              <a:gd name="connsiteX4" fmla="*/ 2250 w 10000"/>
              <a:gd name="connsiteY4" fmla="*/ 5734 h 10002"/>
              <a:gd name="connsiteX5" fmla="*/ 2250 w 10000"/>
              <a:gd name="connsiteY5" fmla="*/ 7194 h 10002"/>
              <a:gd name="connsiteX6" fmla="*/ 7347 w 10000"/>
              <a:gd name="connsiteY6" fmla="*/ 7194 h 10002"/>
              <a:gd name="connsiteX7" fmla="*/ 7347 w 10000"/>
              <a:gd name="connsiteY7" fmla="*/ 8823 h 10002"/>
              <a:gd name="connsiteX8" fmla="*/ 7250 w 10000"/>
              <a:gd name="connsiteY8" fmla="*/ 9047 h 10002"/>
              <a:gd name="connsiteX9" fmla="*/ 7151 w 10000"/>
              <a:gd name="connsiteY9" fmla="*/ 9159 h 10002"/>
              <a:gd name="connsiteX10" fmla="*/ 6759 w 10000"/>
              <a:gd name="connsiteY10" fmla="*/ 9384 h 10002"/>
              <a:gd name="connsiteX11" fmla="*/ 6269 w 10000"/>
              <a:gd name="connsiteY11" fmla="*/ 9496 h 10002"/>
              <a:gd name="connsiteX12" fmla="*/ 6171 w 10000"/>
              <a:gd name="connsiteY12" fmla="*/ 9721 h 10002"/>
              <a:gd name="connsiteX13" fmla="*/ 5779 w 10000"/>
              <a:gd name="connsiteY13" fmla="*/ 9833 h 10002"/>
              <a:gd name="connsiteX14" fmla="*/ 5484 w 10000"/>
              <a:gd name="connsiteY14" fmla="*/ 10002 h 10002"/>
              <a:gd name="connsiteX15" fmla="*/ 4798 w 10000"/>
              <a:gd name="connsiteY15" fmla="*/ 10002 h 10002"/>
              <a:gd name="connsiteX16" fmla="*/ 4211 w 10000"/>
              <a:gd name="connsiteY16" fmla="*/ 10002 h 10002"/>
              <a:gd name="connsiteX17" fmla="*/ 3720 w 10000"/>
              <a:gd name="connsiteY17" fmla="*/ 9833 h 10002"/>
              <a:gd name="connsiteX18" fmla="*/ 3427 w 10000"/>
              <a:gd name="connsiteY18" fmla="*/ 9721 h 10002"/>
              <a:gd name="connsiteX19" fmla="*/ 3328 w 10000"/>
              <a:gd name="connsiteY19" fmla="*/ 9496 h 10002"/>
              <a:gd name="connsiteX20" fmla="*/ 2936 w 10000"/>
              <a:gd name="connsiteY20" fmla="*/ 9384 h 10002"/>
              <a:gd name="connsiteX21" fmla="*/ 2544 w 10000"/>
              <a:gd name="connsiteY21" fmla="*/ 9159 h 10002"/>
              <a:gd name="connsiteX22" fmla="*/ 2348 w 10000"/>
              <a:gd name="connsiteY22" fmla="*/ 9047 h 10002"/>
              <a:gd name="connsiteX23" fmla="*/ 2250 w 10000"/>
              <a:gd name="connsiteY23" fmla="*/ 8823 h 10002"/>
              <a:gd name="connsiteX24" fmla="*/ 2250 w 10000"/>
              <a:gd name="connsiteY24" fmla="*/ 8205 h 10002"/>
              <a:gd name="connsiteX0" fmla="*/ 7347 w 9807"/>
              <a:gd name="connsiteY0" fmla="*/ 5727 h 9995"/>
              <a:gd name="connsiteX1" fmla="*/ 9639 w 9807"/>
              <a:gd name="connsiteY1" fmla="*/ 2827 h 9995"/>
              <a:gd name="connsiteX2" fmla="*/ 4798 w 9807"/>
              <a:gd name="connsiteY2" fmla="*/ 1 h 9995"/>
              <a:gd name="connsiteX3" fmla="*/ 4 w 9807"/>
              <a:gd name="connsiteY3" fmla="*/ 2613 h 9995"/>
              <a:gd name="connsiteX4" fmla="*/ 2250 w 9807"/>
              <a:gd name="connsiteY4" fmla="*/ 5727 h 9995"/>
              <a:gd name="connsiteX5" fmla="*/ 2250 w 9807"/>
              <a:gd name="connsiteY5" fmla="*/ 7187 h 9995"/>
              <a:gd name="connsiteX6" fmla="*/ 7347 w 9807"/>
              <a:gd name="connsiteY6" fmla="*/ 7187 h 9995"/>
              <a:gd name="connsiteX7" fmla="*/ 7347 w 9807"/>
              <a:gd name="connsiteY7" fmla="*/ 8816 h 9995"/>
              <a:gd name="connsiteX8" fmla="*/ 7250 w 9807"/>
              <a:gd name="connsiteY8" fmla="*/ 9040 h 9995"/>
              <a:gd name="connsiteX9" fmla="*/ 7151 w 9807"/>
              <a:gd name="connsiteY9" fmla="*/ 9152 h 9995"/>
              <a:gd name="connsiteX10" fmla="*/ 6759 w 9807"/>
              <a:gd name="connsiteY10" fmla="*/ 9377 h 9995"/>
              <a:gd name="connsiteX11" fmla="*/ 6269 w 9807"/>
              <a:gd name="connsiteY11" fmla="*/ 9489 h 9995"/>
              <a:gd name="connsiteX12" fmla="*/ 6171 w 9807"/>
              <a:gd name="connsiteY12" fmla="*/ 9714 h 9995"/>
              <a:gd name="connsiteX13" fmla="*/ 5779 w 9807"/>
              <a:gd name="connsiteY13" fmla="*/ 9826 h 9995"/>
              <a:gd name="connsiteX14" fmla="*/ 5484 w 9807"/>
              <a:gd name="connsiteY14" fmla="*/ 9995 h 9995"/>
              <a:gd name="connsiteX15" fmla="*/ 4798 w 9807"/>
              <a:gd name="connsiteY15" fmla="*/ 9995 h 9995"/>
              <a:gd name="connsiteX16" fmla="*/ 4211 w 9807"/>
              <a:gd name="connsiteY16" fmla="*/ 9995 h 9995"/>
              <a:gd name="connsiteX17" fmla="*/ 3720 w 9807"/>
              <a:gd name="connsiteY17" fmla="*/ 9826 h 9995"/>
              <a:gd name="connsiteX18" fmla="*/ 3427 w 9807"/>
              <a:gd name="connsiteY18" fmla="*/ 9714 h 9995"/>
              <a:gd name="connsiteX19" fmla="*/ 3328 w 9807"/>
              <a:gd name="connsiteY19" fmla="*/ 9489 h 9995"/>
              <a:gd name="connsiteX20" fmla="*/ 2936 w 9807"/>
              <a:gd name="connsiteY20" fmla="*/ 9377 h 9995"/>
              <a:gd name="connsiteX21" fmla="*/ 2544 w 9807"/>
              <a:gd name="connsiteY21" fmla="*/ 9152 h 9995"/>
              <a:gd name="connsiteX22" fmla="*/ 2348 w 9807"/>
              <a:gd name="connsiteY22" fmla="*/ 9040 h 9995"/>
              <a:gd name="connsiteX23" fmla="*/ 2250 w 9807"/>
              <a:gd name="connsiteY23" fmla="*/ 8816 h 9995"/>
              <a:gd name="connsiteX24" fmla="*/ 2250 w 9807"/>
              <a:gd name="connsiteY24" fmla="*/ 8198 h 9995"/>
              <a:gd name="connsiteX0" fmla="*/ 7492 w 9835"/>
              <a:gd name="connsiteY0" fmla="*/ 5730 h 10000"/>
              <a:gd name="connsiteX1" fmla="*/ 9829 w 9835"/>
              <a:gd name="connsiteY1" fmla="*/ 2828 h 10000"/>
              <a:gd name="connsiteX2" fmla="*/ 4892 w 9835"/>
              <a:gd name="connsiteY2" fmla="*/ 1 h 10000"/>
              <a:gd name="connsiteX3" fmla="*/ 4 w 9835"/>
              <a:gd name="connsiteY3" fmla="*/ 2614 h 10000"/>
              <a:gd name="connsiteX4" fmla="*/ 2294 w 9835"/>
              <a:gd name="connsiteY4" fmla="*/ 5730 h 10000"/>
              <a:gd name="connsiteX5" fmla="*/ 2294 w 9835"/>
              <a:gd name="connsiteY5" fmla="*/ 7191 h 10000"/>
              <a:gd name="connsiteX6" fmla="*/ 7492 w 9835"/>
              <a:gd name="connsiteY6" fmla="*/ 7191 h 10000"/>
              <a:gd name="connsiteX7" fmla="*/ 7492 w 9835"/>
              <a:gd name="connsiteY7" fmla="*/ 8820 h 10000"/>
              <a:gd name="connsiteX8" fmla="*/ 7393 w 9835"/>
              <a:gd name="connsiteY8" fmla="*/ 9045 h 10000"/>
              <a:gd name="connsiteX9" fmla="*/ 7292 w 9835"/>
              <a:gd name="connsiteY9" fmla="*/ 9157 h 10000"/>
              <a:gd name="connsiteX10" fmla="*/ 6892 w 9835"/>
              <a:gd name="connsiteY10" fmla="*/ 9382 h 10000"/>
              <a:gd name="connsiteX11" fmla="*/ 6392 w 9835"/>
              <a:gd name="connsiteY11" fmla="*/ 9494 h 10000"/>
              <a:gd name="connsiteX12" fmla="*/ 6292 w 9835"/>
              <a:gd name="connsiteY12" fmla="*/ 9719 h 10000"/>
              <a:gd name="connsiteX13" fmla="*/ 5893 w 9835"/>
              <a:gd name="connsiteY13" fmla="*/ 9831 h 10000"/>
              <a:gd name="connsiteX14" fmla="*/ 5592 w 9835"/>
              <a:gd name="connsiteY14" fmla="*/ 10000 h 10000"/>
              <a:gd name="connsiteX15" fmla="*/ 4892 w 9835"/>
              <a:gd name="connsiteY15" fmla="*/ 10000 h 10000"/>
              <a:gd name="connsiteX16" fmla="*/ 4294 w 9835"/>
              <a:gd name="connsiteY16" fmla="*/ 10000 h 10000"/>
              <a:gd name="connsiteX17" fmla="*/ 3793 w 9835"/>
              <a:gd name="connsiteY17" fmla="*/ 9831 h 10000"/>
              <a:gd name="connsiteX18" fmla="*/ 3494 w 9835"/>
              <a:gd name="connsiteY18" fmla="*/ 9719 h 10000"/>
              <a:gd name="connsiteX19" fmla="*/ 3393 w 9835"/>
              <a:gd name="connsiteY19" fmla="*/ 9494 h 10000"/>
              <a:gd name="connsiteX20" fmla="*/ 2994 w 9835"/>
              <a:gd name="connsiteY20" fmla="*/ 9382 h 10000"/>
              <a:gd name="connsiteX21" fmla="*/ 2594 w 9835"/>
              <a:gd name="connsiteY21" fmla="*/ 9157 h 10000"/>
              <a:gd name="connsiteX22" fmla="*/ 2394 w 9835"/>
              <a:gd name="connsiteY22" fmla="*/ 9045 h 10000"/>
              <a:gd name="connsiteX23" fmla="*/ 2294 w 9835"/>
              <a:gd name="connsiteY23" fmla="*/ 8820 h 10000"/>
              <a:gd name="connsiteX24" fmla="*/ 2294 w 9835"/>
              <a:gd name="connsiteY24" fmla="*/ 8202 h 10000"/>
              <a:gd name="connsiteX0" fmla="*/ 7618 w 10000"/>
              <a:gd name="connsiteY0" fmla="*/ 5730 h 10000"/>
              <a:gd name="connsiteX1" fmla="*/ 9994 w 10000"/>
              <a:gd name="connsiteY1" fmla="*/ 2828 h 10000"/>
              <a:gd name="connsiteX2" fmla="*/ 4974 w 10000"/>
              <a:gd name="connsiteY2" fmla="*/ 1 h 10000"/>
              <a:gd name="connsiteX3" fmla="*/ 4 w 10000"/>
              <a:gd name="connsiteY3" fmla="*/ 2614 h 10000"/>
              <a:gd name="connsiteX4" fmla="*/ 2332 w 10000"/>
              <a:gd name="connsiteY4" fmla="*/ 5730 h 10000"/>
              <a:gd name="connsiteX5" fmla="*/ 2332 w 10000"/>
              <a:gd name="connsiteY5" fmla="*/ 7191 h 10000"/>
              <a:gd name="connsiteX6" fmla="*/ 7618 w 10000"/>
              <a:gd name="connsiteY6" fmla="*/ 7191 h 10000"/>
              <a:gd name="connsiteX7" fmla="*/ 7618 w 10000"/>
              <a:gd name="connsiteY7" fmla="*/ 8820 h 10000"/>
              <a:gd name="connsiteX8" fmla="*/ 7517 w 10000"/>
              <a:gd name="connsiteY8" fmla="*/ 9045 h 10000"/>
              <a:gd name="connsiteX9" fmla="*/ 7414 w 10000"/>
              <a:gd name="connsiteY9" fmla="*/ 9157 h 10000"/>
              <a:gd name="connsiteX10" fmla="*/ 7008 w 10000"/>
              <a:gd name="connsiteY10" fmla="*/ 9382 h 10000"/>
              <a:gd name="connsiteX11" fmla="*/ 6499 w 10000"/>
              <a:gd name="connsiteY11" fmla="*/ 9494 h 10000"/>
              <a:gd name="connsiteX12" fmla="*/ 6398 w 10000"/>
              <a:gd name="connsiteY12" fmla="*/ 9719 h 10000"/>
              <a:gd name="connsiteX13" fmla="*/ 5992 w 10000"/>
              <a:gd name="connsiteY13" fmla="*/ 9831 h 10000"/>
              <a:gd name="connsiteX14" fmla="*/ 5686 w 10000"/>
              <a:gd name="connsiteY14" fmla="*/ 10000 h 10000"/>
              <a:gd name="connsiteX15" fmla="*/ 4974 w 10000"/>
              <a:gd name="connsiteY15" fmla="*/ 10000 h 10000"/>
              <a:gd name="connsiteX16" fmla="*/ 4366 w 10000"/>
              <a:gd name="connsiteY16" fmla="*/ 10000 h 10000"/>
              <a:gd name="connsiteX17" fmla="*/ 3857 w 10000"/>
              <a:gd name="connsiteY17" fmla="*/ 9831 h 10000"/>
              <a:gd name="connsiteX18" fmla="*/ 3553 w 10000"/>
              <a:gd name="connsiteY18" fmla="*/ 9719 h 10000"/>
              <a:gd name="connsiteX19" fmla="*/ 3450 w 10000"/>
              <a:gd name="connsiteY19" fmla="*/ 9494 h 10000"/>
              <a:gd name="connsiteX20" fmla="*/ 3044 w 10000"/>
              <a:gd name="connsiteY20" fmla="*/ 9382 h 10000"/>
              <a:gd name="connsiteX21" fmla="*/ 2638 w 10000"/>
              <a:gd name="connsiteY21" fmla="*/ 9157 h 10000"/>
              <a:gd name="connsiteX22" fmla="*/ 2434 w 10000"/>
              <a:gd name="connsiteY22" fmla="*/ 9045 h 10000"/>
              <a:gd name="connsiteX23" fmla="*/ 2332 w 10000"/>
              <a:gd name="connsiteY23" fmla="*/ 8820 h 10000"/>
              <a:gd name="connsiteX24" fmla="*/ 2332 w 10000"/>
              <a:gd name="connsiteY24" fmla="*/ 8202 h 10000"/>
              <a:gd name="connsiteX0" fmla="*/ 7678 w 10060"/>
              <a:gd name="connsiteY0" fmla="*/ 5730 h 10000"/>
              <a:gd name="connsiteX1" fmla="*/ 10054 w 10060"/>
              <a:gd name="connsiteY1" fmla="*/ 2828 h 10000"/>
              <a:gd name="connsiteX2" fmla="*/ 5034 w 10060"/>
              <a:gd name="connsiteY2" fmla="*/ 1 h 10000"/>
              <a:gd name="connsiteX3" fmla="*/ 64 w 10060"/>
              <a:gd name="connsiteY3" fmla="*/ 2614 h 10000"/>
              <a:gd name="connsiteX4" fmla="*/ 2392 w 10060"/>
              <a:gd name="connsiteY4" fmla="*/ 5730 h 10000"/>
              <a:gd name="connsiteX5" fmla="*/ 2392 w 10060"/>
              <a:gd name="connsiteY5" fmla="*/ 7191 h 10000"/>
              <a:gd name="connsiteX6" fmla="*/ 7678 w 10060"/>
              <a:gd name="connsiteY6" fmla="*/ 7191 h 10000"/>
              <a:gd name="connsiteX7" fmla="*/ 7678 w 10060"/>
              <a:gd name="connsiteY7" fmla="*/ 8820 h 10000"/>
              <a:gd name="connsiteX8" fmla="*/ 7577 w 10060"/>
              <a:gd name="connsiteY8" fmla="*/ 9045 h 10000"/>
              <a:gd name="connsiteX9" fmla="*/ 7474 w 10060"/>
              <a:gd name="connsiteY9" fmla="*/ 9157 h 10000"/>
              <a:gd name="connsiteX10" fmla="*/ 7068 w 10060"/>
              <a:gd name="connsiteY10" fmla="*/ 9382 h 10000"/>
              <a:gd name="connsiteX11" fmla="*/ 6559 w 10060"/>
              <a:gd name="connsiteY11" fmla="*/ 9494 h 10000"/>
              <a:gd name="connsiteX12" fmla="*/ 6458 w 10060"/>
              <a:gd name="connsiteY12" fmla="*/ 9719 h 10000"/>
              <a:gd name="connsiteX13" fmla="*/ 6052 w 10060"/>
              <a:gd name="connsiteY13" fmla="*/ 9831 h 10000"/>
              <a:gd name="connsiteX14" fmla="*/ 5746 w 10060"/>
              <a:gd name="connsiteY14" fmla="*/ 10000 h 10000"/>
              <a:gd name="connsiteX15" fmla="*/ 5034 w 10060"/>
              <a:gd name="connsiteY15" fmla="*/ 10000 h 10000"/>
              <a:gd name="connsiteX16" fmla="*/ 4426 w 10060"/>
              <a:gd name="connsiteY16" fmla="*/ 10000 h 10000"/>
              <a:gd name="connsiteX17" fmla="*/ 3917 w 10060"/>
              <a:gd name="connsiteY17" fmla="*/ 9831 h 10000"/>
              <a:gd name="connsiteX18" fmla="*/ 3613 w 10060"/>
              <a:gd name="connsiteY18" fmla="*/ 9719 h 10000"/>
              <a:gd name="connsiteX19" fmla="*/ 3510 w 10060"/>
              <a:gd name="connsiteY19" fmla="*/ 9494 h 10000"/>
              <a:gd name="connsiteX20" fmla="*/ 3104 w 10060"/>
              <a:gd name="connsiteY20" fmla="*/ 9382 h 10000"/>
              <a:gd name="connsiteX21" fmla="*/ 2698 w 10060"/>
              <a:gd name="connsiteY21" fmla="*/ 9157 h 10000"/>
              <a:gd name="connsiteX22" fmla="*/ 2494 w 10060"/>
              <a:gd name="connsiteY22" fmla="*/ 9045 h 10000"/>
              <a:gd name="connsiteX23" fmla="*/ 2392 w 10060"/>
              <a:gd name="connsiteY23" fmla="*/ 8820 h 10000"/>
              <a:gd name="connsiteX24" fmla="*/ 2392 w 10060"/>
              <a:gd name="connsiteY24" fmla="*/ 8202 h 10000"/>
              <a:gd name="connsiteX0" fmla="*/ 7662 w 10044"/>
              <a:gd name="connsiteY0" fmla="*/ 5730 h 10000"/>
              <a:gd name="connsiteX1" fmla="*/ 10038 w 10044"/>
              <a:gd name="connsiteY1" fmla="*/ 2828 h 10000"/>
              <a:gd name="connsiteX2" fmla="*/ 5018 w 10044"/>
              <a:gd name="connsiteY2" fmla="*/ 1 h 10000"/>
              <a:gd name="connsiteX3" fmla="*/ 48 w 10044"/>
              <a:gd name="connsiteY3" fmla="*/ 2614 h 10000"/>
              <a:gd name="connsiteX4" fmla="*/ 2376 w 10044"/>
              <a:gd name="connsiteY4" fmla="*/ 5730 h 10000"/>
              <a:gd name="connsiteX5" fmla="*/ 2376 w 10044"/>
              <a:gd name="connsiteY5" fmla="*/ 7191 h 10000"/>
              <a:gd name="connsiteX6" fmla="*/ 7662 w 10044"/>
              <a:gd name="connsiteY6" fmla="*/ 7191 h 10000"/>
              <a:gd name="connsiteX7" fmla="*/ 7662 w 10044"/>
              <a:gd name="connsiteY7" fmla="*/ 8820 h 10000"/>
              <a:gd name="connsiteX8" fmla="*/ 7561 w 10044"/>
              <a:gd name="connsiteY8" fmla="*/ 9045 h 10000"/>
              <a:gd name="connsiteX9" fmla="*/ 7458 w 10044"/>
              <a:gd name="connsiteY9" fmla="*/ 9157 h 10000"/>
              <a:gd name="connsiteX10" fmla="*/ 7052 w 10044"/>
              <a:gd name="connsiteY10" fmla="*/ 9382 h 10000"/>
              <a:gd name="connsiteX11" fmla="*/ 6543 w 10044"/>
              <a:gd name="connsiteY11" fmla="*/ 9494 h 10000"/>
              <a:gd name="connsiteX12" fmla="*/ 6442 w 10044"/>
              <a:gd name="connsiteY12" fmla="*/ 9719 h 10000"/>
              <a:gd name="connsiteX13" fmla="*/ 6036 w 10044"/>
              <a:gd name="connsiteY13" fmla="*/ 9831 h 10000"/>
              <a:gd name="connsiteX14" fmla="*/ 5730 w 10044"/>
              <a:gd name="connsiteY14" fmla="*/ 10000 h 10000"/>
              <a:gd name="connsiteX15" fmla="*/ 5018 w 10044"/>
              <a:gd name="connsiteY15" fmla="*/ 10000 h 10000"/>
              <a:gd name="connsiteX16" fmla="*/ 4410 w 10044"/>
              <a:gd name="connsiteY16" fmla="*/ 10000 h 10000"/>
              <a:gd name="connsiteX17" fmla="*/ 3901 w 10044"/>
              <a:gd name="connsiteY17" fmla="*/ 9831 h 10000"/>
              <a:gd name="connsiteX18" fmla="*/ 3597 w 10044"/>
              <a:gd name="connsiteY18" fmla="*/ 9719 h 10000"/>
              <a:gd name="connsiteX19" fmla="*/ 3494 w 10044"/>
              <a:gd name="connsiteY19" fmla="*/ 9494 h 10000"/>
              <a:gd name="connsiteX20" fmla="*/ 3088 w 10044"/>
              <a:gd name="connsiteY20" fmla="*/ 9382 h 10000"/>
              <a:gd name="connsiteX21" fmla="*/ 2682 w 10044"/>
              <a:gd name="connsiteY21" fmla="*/ 9157 h 10000"/>
              <a:gd name="connsiteX22" fmla="*/ 2478 w 10044"/>
              <a:gd name="connsiteY22" fmla="*/ 9045 h 10000"/>
              <a:gd name="connsiteX23" fmla="*/ 2376 w 10044"/>
              <a:gd name="connsiteY23" fmla="*/ 8820 h 10000"/>
              <a:gd name="connsiteX24" fmla="*/ 2376 w 10044"/>
              <a:gd name="connsiteY24" fmla="*/ 8202 h 10000"/>
              <a:gd name="connsiteX0" fmla="*/ 7617 w 9999"/>
              <a:gd name="connsiteY0" fmla="*/ 5730 h 10000"/>
              <a:gd name="connsiteX1" fmla="*/ 9993 w 9999"/>
              <a:gd name="connsiteY1" fmla="*/ 2828 h 10000"/>
              <a:gd name="connsiteX2" fmla="*/ 4973 w 9999"/>
              <a:gd name="connsiteY2" fmla="*/ 1 h 10000"/>
              <a:gd name="connsiteX3" fmla="*/ 3 w 9999"/>
              <a:gd name="connsiteY3" fmla="*/ 2614 h 10000"/>
              <a:gd name="connsiteX4" fmla="*/ 2331 w 9999"/>
              <a:gd name="connsiteY4" fmla="*/ 5730 h 10000"/>
              <a:gd name="connsiteX5" fmla="*/ 2331 w 9999"/>
              <a:gd name="connsiteY5" fmla="*/ 7191 h 10000"/>
              <a:gd name="connsiteX6" fmla="*/ 7617 w 9999"/>
              <a:gd name="connsiteY6" fmla="*/ 7191 h 10000"/>
              <a:gd name="connsiteX7" fmla="*/ 7617 w 9999"/>
              <a:gd name="connsiteY7" fmla="*/ 8820 h 10000"/>
              <a:gd name="connsiteX8" fmla="*/ 7516 w 9999"/>
              <a:gd name="connsiteY8" fmla="*/ 9045 h 10000"/>
              <a:gd name="connsiteX9" fmla="*/ 7413 w 9999"/>
              <a:gd name="connsiteY9" fmla="*/ 9157 h 10000"/>
              <a:gd name="connsiteX10" fmla="*/ 7007 w 9999"/>
              <a:gd name="connsiteY10" fmla="*/ 9382 h 10000"/>
              <a:gd name="connsiteX11" fmla="*/ 6498 w 9999"/>
              <a:gd name="connsiteY11" fmla="*/ 9494 h 10000"/>
              <a:gd name="connsiteX12" fmla="*/ 6397 w 9999"/>
              <a:gd name="connsiteY12" fmla="*/ 9719 h 10000"/>
              <a:gd name="connsiteX13" fmla="*/ 5991 w 9999"/>
              <a:gd name="connsiteY13" fmla="*/ 9831 h 10000"/>
              <a:gd name="connsiteX14" fmla="*/ 5685 w 9999"/>
              <a:gd name="connsiteY14" fmla="*/ 10000 h 10000"/>
              <a:gd name="connsiteX15" fmla="*/ 4973 w 9999"/>
              <a:gd name="connsiteY15" fmla="*/ 10000 h 10000"/>
              <a:gd name="connsiteX16" fmla="*/ 4365 w 9999"/>
              <a:gd name="connsiteY16" fmla="*/ 10000 h 10000"/>
              <a:gd name="connsiteX17" fmla="*/ 3856 w 9999"/>
              <a:gd name="connsiteY17" fmla="*/ 9831 h 10000"/>
              <a:gd name="connsiteX18" fmla="*/ 3552 w 9999"/>
              <a:gd name="connsiteY18" fmla="*/ 9719 h 10000"/>
              <a:gd name="connsiteX19" fmla="*/ 3449 w 9999"/>
              <a:gd name="connsiteY19" fmla="*/ 9494 h 10000"/>
              <a:gd name="connsiteX20" fmla="*/ 3043 w 9999"/>
              <a:gd name="connsiteY20" fmla="*/ 9382 h 10000"/>
              <a:gd name="connsiteX21" fmla="*/ 2637 w 9999"/>
              <a:gd name="connsiteY21" fmla="*/ 9157 h 10000"/>
              <a:gd name="connsiteX22" fmla="*/ 2433 w 9999"/>
              <a:gd name="connsiteY22" fmla="*/ 9045 h 10000"/>
              <a:gd name="connsiteX23" fmla="*/ 2331 w 9999"/>
              <a:gd name="connsiteY23" fmla="*/ 8820 h 10000"/>
              <a:gd name="connsiteX24" fmla="*/ 2331 w 9999"/>
              <a:gd name="connsiteY24" fmla="*/ 8202 h 10000"/>
              <a:gd name="connsiteX0" fmla="*/ 7616 w 9998"/>
              <a:gd name="connsiteY0" fmla="*/ 5730 h 10000"/>
              <a:gd name="connsiteX1" fmla="*/ 9992 w 9998"/>
              <a:gd name="connsiteY1" fmla="*/ 2828 h 10000"/>
              <a:gd name="connsiteX2" fmla="*/ 4971 w 9998"/>
              <a:gd name="connsiteY2" fmla="*/ 1 h 10000"/>
              <a:gd name="connsiteX3" fmla="*/ 1 w 9998"/>
              <a:gd name="connsiteY3" fmla="*/ 2614 h 10000"/>
              <a:gd name="connsiteX4" fmla="*/ 2329 w 9998"/>
              <a:gd name="connsiteY4" fmla="*/ 5730 h 10000"/>
              <a:gd name="connsiteX5" fmla="*/ 2329 w 9998"/>
              <a:gd name="connsiteY5" fmla="*/ 7191 h 10000"/>
              <a:gd name="connsiteX6" fmla="*/ 7616 w 9998"/>
              <a:gd name="connsiteY6" fmla="*/ 7191 h 10000"/>
              <a:gd name="connsiteX7" fmla="*/ 7616 w 9998"/>
              <a:gd name="connsiteY7" fmla="*/ 8820 h 10000"/>
              <a:gd name="connsiteX8" fmla="*/ 7515 w 9998"/>
              <a:gd name="connsiteY8" fmla="*/ 9045 h 10000"/>
              <a:gd name="connsiteX9" fmla="*/ 7412 w 9998"/>
              <a:gd name="connsiteY9" fmla="*/ 9157 h 10000"/>
              <a:gd name="connsiteX10" fmla="*/ 7006 w 9998"/>
              <a:gd name="connsiteY10" fmla="*/ 9382 h 10000"/>
              <a:gd name="connsiteX11" fmla="*/ 6497 w 9998"/>
              <a:gd name="connsiteY11" fmla="*/ 9494 h 10000"/>
              <a:gd name="connsiteX12" fmla="*/ 6396 w 9998"/>
              <a:gd name="connsiteY12" fmla="*/ 9719 h 10000"/>
              <a:gd name="connsiteX13" fmla="*/ 5990 w 9998"/>
              <a:gd name="connsiteY13" fmla="*/ 9831 h 10000"/>
              <a:gd name="connsiteX14" fmla="*/ 5684 w 9998"/>
              <a:gd name="connsiteY14" fmla="*/ 10000 h 10000"/>
              <a:gd name="connsiteX15" fmla="*/ 4971 w 9998"/>
              <a:gd name="connsiteY15" fmla="*/ 10000 h 10000"/>
              <a:gd name="connsiteX16" fmla="*/ 4363 w 9998"/>
              <a:gd name="connsiteY16" fmla="*/ 10000 h 10000"/>
              <a:gd name="connsiteX17" fmla="*/ 3854 w 9998"/>
              <a:gd name="connsiteY17" fmla="*/ 9831 h 10000"/>
              <a:gd name="connsiteX18" fmla="*/ 3550 w 9998"/>
              <a:gd name="connsiteY18" fmla="*/ 9719 h 10000"/>
              <a:gd name="connsiteX19" fmla="*/ 3447 w 9998"/>
              <a:gd name="connsiteY19" fmla="*/ 9494 h 10000"/>
              <a:gd name="connsiteX20" fmla="*/ 3041 w 9998"/>
              <a:gd name="connsiteY20" fmla="*/ 9382 h 10000"/>
              <a:gd name="connsiteX21" fmla="*/ 2635 w 9998"/>
              <a:gd name="connsiteY21" fmla="*/ 9157 h 10000"/>
              <a:gd name="connsiteX22" fmla="*/ 2431 w 9998"/>
              <a:gd name="connsiteY22" fmla="*/ 9045 h 10000"/>
              <a:gd name="connsiteX23" fmla="*/ 2329 w 9998"/>
              <a:gd name="connsiteY23" fmla="*/ 8820 h 10000"/>
              <a:gd name="connsiteX24" fmla="*/ 2329 w 9998"/>
              <a:gd name="connsiteY24" fmla="*/ 8202 h 10000"/>
              <a:gd name="connsiteX0" fmla="*/ 7618 w 10000"/>
              <a:gd name="connsiteY0" fmla="*/ 5730 h 10000"/>
              <a:gd name="connsiteX1" fmla="*/ 9994 w 10000"/>
              <a:gd name="connsiteY1" fmla="*/ 2828 h 10000"/>
              <a:gd name="connsiteX2" fmla="*/ 4972 w 10000"/>
              <a:gd name="connsiteY2" fmla="*/ 1 h 10000"/>
              <a:gd name="connsiteX3" fmla="*/ 1 w 10000"/>
              <a:gd name="connsiteY3" fmla="*/ 2614 h 10000"/>
              <a:gd name="connsiteX4" fmla="*/ 2329 w 10000"/>
              <a:gd name="connsiteY4" fmla="*/ 5730 h 10000"/>
              <a:gd name="connsiteX5" fmla="*/ 2329 w 10000"/>
              <a:gd name="connsiteY5" fmla="*/ 7191 h 10000"/>
              <a:gd name="connsiteX6" fmla="*/ 7618 w 10000"/>
              <a:gd name="connsiteY6" fmla="*/ 7191 h 10000"/>
              <a:gd name="connsiteX7" fmla="*/ 7618 w 10000"/>
              <a:gd name="connsiteY7" fmla="*/ 8820 h 10000"/>
              <a:gd name="connsiteX8" fmla="*/ 7517 w 10000"/>
              <a:gd name="connsiteY8" fmla="*/ 9045 h 10000"/>
              <a:gd name="connsiteX9" fmla="*/ 7413 w 10000"/>
              <a:gd name="connsiteY9" fmla="*/ 9157 h 10000"/>
              <a:gd name="connsiteX10" fmla="*/ 7007 w 10000"/>
              <a:gd name="connsiteY10" fmla="*/ 9382 h 10000"/>
              <a:gd name="connsiteX11" fmla="*/ 6498 w 10000"/>
              <a:gd name="connsiteY11" fmla="*/ 9494 h 10000"/>
              <a:gd name="connsiteX12" fmla="*/ 6397 w 10000"/>
              <a:gd name="connsiteY12" fmla="*/ 9719 h 10000"/>
              <a:gd name="connsiteX13" fmla="*/ 5991 w 10000"/>
              <a:gd name="connsiteY13" fmla="*/ 9831 h 10000"/>
              <a:gd name="connsiteX14" fmla="*/ 5685 w 10000"/>
              <a:gd name="connsiteY14" fmla="*/ 10000 h 10000"/>
              <a:gd name="connsiteX15" fmla="*/ 4972 w 10000"/>
              <a:gd name="connsiteY15" fmla="*/ 10000 h 10000"/>
              <a:gd name="connsiteX16" fmla="*/ 4364 w 10000"/>
              <a:gd name="connsiteY16" fmla="*/ 10000 h 10000"/>
              <a:gd name="connsiteX17" fmla="*/ 3855 w 10000"/>
              <a:gd name="connsiteY17" fmla="*/ 9831 h 10000"/>
              <a:gd name="connsiteX18" fmla="*/ 3551 w 10000"/>
              <a:gd name="connsiteY18" fmla="*/ 9719 h 10000"/>
              <a:gd name="connsiteX19" fmla="*/ 3448 w 10000"/>
              <a:gd name="connsiteY19" fmla="*/ 9494 h 10000"/>
              <a:gd name="connsiteX20" fmla="*/ 3042 w 10000"/>
              <a:gd name="connsiteY20" fmla="*/ 9382 h 10000"/>
              <a:gd name="connsiteX21" fmla="*/ 2636 w 10000"/>
              <a:gd name="connsiteY21" fmla="*/ 9157 h 10000"/>
              <a:gd name="connsiteX22" fmla="*/ 2431 w 10000"/>
              <a:gd name="connsiteY22" fmla="*/ 9045 h 10000"/>
              <a:gd name="connsiteX23" fmla="*/ 2329 w 10000"/>
              <a:gd name="connsiteY23" fmla="*/ 8820 h 10000"/>
              <a:gd name="connsiteX24" fmla="*/ 2329 w 10000"/>
              <a:gd name="connsiteY24" fmla="*/ 8202 h 10000"/>
              <a:gd name="connsiteX0" fmla="*/ 7618 w 9967"/>
              <a:gd name="connsiteY0" fmla="*/ 5730 h 10000"/>
              <a:gd name="connsiteX1" fmla="*/ 9961 w 9967"/>
              <a:gd name="connsiteY1" fmla="*/ 2622 h 10000"/>
              <a:gd name="connsiteX2" fmla="*/ 4972 w 9967"/>
              <a:gd name="connsiteY2" fmla="*/ 1 h 10000"/>
              <a:gd name="connsiteX3" fmla="*/ 1 w 9967"/>
              <a:gd name="connsiteY3" fmla="*/ 2614 h 10000"/>
              <a:gd name="connsiteX4" fmla="*/ 2329 w 9967"/>
              <a:gd name="connsiteY4" fmla="*/ 5730 h 10000"/>
              <a:gd name="connsiteX5" fmla="*/ 2329 w 9967"/>
              <a:gd name="connsiteY5" fmla="*/ 7191 h 10000"/>
              <a:gd name="connsiteX6" fmla="*/ 7618 w 9967"/>
              <a:gd name="connsiteY6" fmla="*/ 7191 h 10000"/>
              <a:gd name="connsiteX7" fmla="*/ 7618 w 9967"/>
              <a:gd name="connsiteY7" fmla="*/ 8820 h 10000"/>
              <a:gd name="connsiteX8" fmla="*/ 7517 w 9967"/>
              <a:gd name="connsiteY8" fmla="*/ 9045 h 10000"/>
              <a:gd name="connsiteX9" fmla="*/ 7413 w 9967"/>
              <a:gd name="connsiteY9" fmla="*/ 9157 h 10000"/>
              <a:gd name="connsiteX10" fmla="*/ 7007 w 9967"/>
              <a:gd name="connsiteY10" fmla="*/ 9382 h 10000"/>
              <a:gd name="connsiteX11" fmla="*/ 6498 w 9967"/>
              <a:gd name="connsiteY11" fmla="*/ 9494 h 10000"/>
              <a:gd name="connsiteX12" fmla="*/ 6397 w 9967"/>
              <a:gd name="connsiteY12" fmla="*/ 9719 h 10000"/>
              <a:gd name="connsiteX13" fmla="*/ 5991 w 9967"/>
              <a:gd name="connsiteY13" fmla="*/ 9831 h 10000"/>
              <a:gd name="connsiteX14" fmla="*/ 5685 w 9967"/>
              <a:gd name="connsiteY14" fmla="*/ 10000 h 10000"/>
              <a:gd name="connsiteX15" fmla="*/ 4972 w 9967"/>
              <a:gd name="connsiteY15" fmla="*/ 10000 h 10000"/>
              <a:gd name="connsiteX16" fmla="*/ 4364 w 9967"/>
              <a:gd name="connsiteY16" fmla="*/ 10000 h 10000"/>
              <a:gd name="connsiteX17" fmla="*/ 3855 w 9967"/>
              <a:gd name="connsiteY17" fmla="*/ 9831 h 10000"/>
              <a:gd name="connsiteX18" fmla="*/ 3551 w 9967"/>
              <a:gd name="connsiteY18" fmla="*/ 9719 h 10000"/>
              <a:gd name="connsiteX19" fmla="*/ 3448 w 9967"/>
              <a:gd name="connsiteY19" fmla="*/ 9494 h 10000"/>
              <a:gd name="connsiteX20" fmla="*/ 3042 w 9967"/>
              <a:gd name="connsiteY20" fmla="*/ 9382 h 10000"/>
              <a:gd name="connsiteX21" fmla="*/ 2636 w 9967"/>
              <a:gd name="connsiteY21" fmla="*/ 9157 h 10000"/>
              <a:gd name="connsiteX22" fmla="*/ 2431 w 9967"/>
              <a:gd name="connsiteY22" fmla="*/ 9045 h 10000"/>
              <a:gd name="connsiteX23" fmla="*/ 2329 w 9967"/>
              <a:gd name="connsiteY23" fmla="*/ 8820 h 10000"/>
              <a:gd name="connsiteX24" fmla="*/ 2329 w 9967"/>
              <a:gd name="connsiteY24" fmla="*/ 8202 h 10000"/>
              <a:gd name="connsiteX0" fmla="*/ 7643 w 9994"/>
              <a:gd name="connsiteY0" fmla="*/ 5730 h 10000"/>
              <a:gd name="connsiteX1" fmla="*/ 9994 w 9994"/>
              <a:gd name="connsiteY1" fmla="*/ 2622 h 10000"/>
              <a:gd name="connsiteX2" fmla="*/ 4988 w 9994"/>
              <a:gd name="connsiteY2" fmla="*/ 1 h 10000"/>
              <a:gd name="connsiteX3" fmla="*/ 1 w 9994"/>
              <a:gd name="connsiteY3" fmla="*/ 2614 h 10000"/>
              <a:gd name="connsiteX4" fmla="*/ 2337 w 9994"/>
              <a:gd name="connsiteY4" fmla="*/ 5730 h 10000"/>
              <a:gd name="connsiteX5" fmla="*/ 2337 w 9994"/>
              <a:gd name="connsiteY5" fmla="*/ 7191 h 10000"/>
              <a:gd name="connsiteX6" fmla="*/ 7643 w 9994"/>
              <a:gd name="connsiteY6" fmla="*/ 7191 h 10000"/>
              <a:gd name="connsiteX7" fmla="*/ 7643 w 9994"/>
              <a:gd name="connsiteY7" fmla="*/ 8820 h 10000"/>
              <a:gd name="connsiteX8" fmla="*/ 7542 w 9994"/>
              <a:gd name="connsiteY8" fmla="*/ 9045 h 10000"/>
              <a:gd name="connsiteX9" fmla="*/ 7438 w 9994"/>
              <a:gd name="connsiteY9" fmla="*/ 9157 h 10000"/>
              <a:gd name="connsiteX10" fmla="*/ 7030 w 9994"/>
              <a:gd name="connsiteY10" fmla="*/ 9382 h 10000"/>
              <a:gd name="connsiteX11" fmla="*/ 6520 w 9994"/>
              <a:gd name="connsiteY11" fmla="*/ 9494 h 10000"/>
              <a:gd name="connsiteX12" fmla="*/ 6418 w 9994"/>
              <a:gd name="connsiteY12" fmla="*/ 9719 h 10000"/>
              <a:gd name="connsiteX13" fmla="*/ 6011 w 9994"/>
              <a:gd name="connsiteY13" fmla="*/ 9831 h 10000"/>
              <a:gd name="connsiteX14" fmla="*/ 5704 w 9994"/>
              <a:gd name="connsiteY14" fmla="*/ 10000 h 10000"/>
              <a:gd name="connsiteX15" fmla="*/ 4988 w 9994"/>
              <a:gd name="connsiteY15" fmla="*/ 10000 h 10000"/>
              <a:gd name="connsiteX16" fmla="*/ 4378 w 9994"/>
              <a:gd name="connsiteY16" fmla="*/ 10000 h 10000"/>
              <a:gd name="connsiteX17" fmla="*/ 3868 w 9994"/>
              <a:gd name="connsiteY17" fmla="*/ 9831 h 10000"/>
              <a:gd name="connsiteX18" fmla="*/ 3563 w 9994"/>
              <a:gd name="connsiteY18" fmla="*/ 9719 h 10000"/>
              <a:gd name="connsiteX19" fmla="*/ 3459 w 9994"/>
              <a:gd name="connsiteY19" fmla="*/ 9494 h 10000"/>
              <a:gd name="connsiteX20" fmla="*/ 3052 w 9994"/>
              <a:gd name="connsiteY20" fmla="*/ 9382 h 10000"/>
              <a:gd name="connsiteX21" fmla="*/ 2645 w 9994"/>
              <a:gd name="connsiteY21" fmla="*/ 9157 h 10000"/>
              <a:gd name="connsiteX22" fmla="*/ 2439 w 9994"/>
              <a:gd name="connsiteY22" fmla="*/ 9045 h 10000"/>
              <a:gd name="connsiteX23" fmla="*/ 2337 w 9994"/>
              <a:gd name="connsiteY23" fmla="*/ 8820 h 10000"/>
              <a:gd name="connsiteX24" fmla="*/ 2337 w 9994"/>
              <a:gd name="connsiteY24" fmla="*/ 820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94" h="10000">
                <a:moveTo>
                  <a:pt x="7643" y="5730"/>
                </a:moveTo>
                <a:cubicBezTo>
                  <a:pt x="7589" y="4431"/>
                  <a:pt x="10049" y="4661"/>
                  <a:pt x="9994" y="2622"/>
                </a:cubicBezTo>
                <a:cubicBezTo>
                  <a:pt x="9939" y="583"/>
                  <a:pt x="6654" y="2"/>
                  <a:pt x="4988" y="1"/>
                </a:cubicBezTo>
                <a:cubicBezTo>
                  <a:pt x="3323" y="0"/>
                  <a:pt x="-43" y="693"/>
                  <a:pt x="1" y="2614"/>
                </a:cubicBezTo>
                <a:cubicBezTo>
                  <a:pt x="45" y="4535"/>
                  <a:pt x="2344" y="4799"/>
                  <a:pt x="2337" y="5730"/>
                </a:cubicBezTo>
                <a:lnTo>
                  <a:pt x="2337" y="7191"/>
                </a:lnTo>
                <a:lnTo>
                  <a:pt x="7643" y="7191"/>
                </a:lnTo>
                <a:lnTo>
                  <a:pt x="7643" y="8820"/>
                </a:lnTo>
                <a:cubicBezTo>
                  <a:pt x="7608" y="8895"/>
                  <a:pt x="7575" y="8970"/>
                  <a:pt x="7542" y="9045"/>
                </a:cubicBezTo>
                <a:cubicBezTo>
                  <a:pt x="7505" y="9082"/>
                  <a:pt x="7473" y="9120"/>
                  <a:pt x="7438" y="9157"/>
                </a:cubicBezTo>
                <a:lnTo>
                  <a:pt x="7030" y="9382"/>
                </a:lnTo>
                <a:lnTo>
                  <a:pt x="6520" y="9494"/>
                </a:lnTo>
                <a:lnTo>
                  <a:pt x="6418" y="9719"/>
                </a:lnTo>
                <a:lnTo>
                  <a:pt x="6011" y="9831"/>
                </a:lnTo>
                <a:lnTo>
                  <a:pt x="5704" y="10000"/>
                </a:lnTo>
                <a:lnTo>
                  <a:pt x="4988" y="10000"/>
                </a:lnTo>
                <a:lnTo>
                  <a:pt x="4378" y="10000"/>
                </a:lnTo>
                <a:lnTo>
                  <a:pt x="3868" y="9831"/>
                </a:lnTo>
                <a:lnTo>
                  <a:pt x="3563" y="9719"/>
                </a:lnTo>
                <a:cubicBezTo>
                  <a:pt x="3528" y="9644"/>
                  <a:pt x="3496" y="9569"/>
                  <a:pt x="3459" y="9494"/>
                </a:cubicBezTo>
                <a:lnTo>
                  <a:pt x="3052" y="9382"/>
                </a:lnTo>
                <a:lnTo>
                  <a:pt x="2645" y="9157"/>
                </a:lnTo>
                <a:lnTo>
                  <a:pt x="2439" y="9045"/>
                </a:lnTo>
                <a:cubicBezTo>
                  <a:pt x="2407" y="8970"/>
                  <a:pt x="2373" y="8895"/>
                  <a:pt x="2337" y="8820"/>
                </a:cubicBezTo>
                <a:lnTo>
                  <a:pt x="2337" y="8202"/>
                </a:lnTo>
              </a:path>
            </a:pathLst>
          </a:custGeom>
          <a:solidFill>
            <a:srgbClr val="FBBA00"/>
          </a:solidFill>
          <a:ln w="19050" cmpd="sng">
            <a:solidFill>
              <a:schemeClr val="bg1"/>
            </a:solidFill>
            <a:prstDash val="solid"/>
            <a:round/>
            <a:headEnd/>
            <a:tailEnd/>
          </a:ln>
        </p:spPr>
        <p:txBody>
          <a:bodyPr/>
          <a:lstStyle/>
          <a:p>
            <a:endParaRPr lang="de-DE" dirty="0"/>
          </a:p>
        </p:txBody>
      </p:sp>
      <p:sp>
        <p:nvSpPr>
          <p:cNvPr id="23" name="Line 1242">
            <a:extLst>
              <a:ext uri="{FF2B5EF4-FFF2-40B4-BE49-F238E27FC236}">
                <a16:creationId xmlns:a16="http://schemas.microsoft.com/office/drawing/2014/main" id="{78713DD0-80D0-6D94-DC6D-4D05EFF23963}"/>
              </a:ext>
            </a:extLst>
          </p:cNvPr>
          <p:cNvSpPr>
            <a:spLocks noChangeShapeType="1"/>
          </p:cNvSpPr>
          <p:nvPr/>
        </p:nvSpPr>
        <p:spPr bwMode="auto">
          <a:xfrm flipH="1" flipV="1">
            <a:off x="1339901" y="2429786"/>
            <a:ext cx="0" cy="55964"/>
          </a:xfrm>
          <a:prstGeom prst="line">
            <a:avLst/>
          </a:prstGeom>
          <a:solidFill>
            <a:srgbClr val="FBBA00"/>
          </a:solidFill>
          <a:ln w="19050" cmpd="sng">
            <a:solidFill>
              <a:schemeClr val="bg1"/>
            </a:solidFill>
            <a:round/>
            <a:headEnd/>
            <a:tailEnd/>
          </a:ln>
        </p:spPr>
        <p:txBody>
          <a:bodyPr/>
          <a:lstStyle/>
          <a:p>
            <a:endParaRPr lang="de-DE" dirty="0"/>
          </a:p>
        </p:txBody>
      </p:sp>
      <p:sp>
        <p:nvSpPr>
          <p:cNvPr id="24" name="Line 1243">
            <a:extLst>
              <a:ext uri="{FF2B5EF4-FFF2-40B4-BE49-F238E27FC236}">
                <a16:creationId xmlns:a16="http://schemas.microsoft.com/office/drawing/2014/main" id="{BDB3F261-AA8C-B7B9-303B-E1EFD1ED1AB2}"/>
              </a:ext>
            </a:extLst>
          </p:cNvPr>
          <p:cNvSpPr>
            <a:spLocks noChangeShapeType="1"/>
          </p:cNvSpPr>
          <p:nvPr/>
        </p:nvSpPr>
        <p:spPr bwMode="auto">
          <a:xfrm flipV="1">
            <a:off x="1424179" y="2508138"/>
            <a:ext cx="47922" cy="27982"/>
          </a:xfrm>
          <a:prstGeom prst="line">
            <a:avLst/>
          </a:prstGeom>
          <a:solidFill>
            <a:srgbClr val="FBBA00"/>
          </a:solidFill>
          <a:ln w="19050" cmpd="sng">
            <a:solidFill>
              <a:schemeClr val="bg1"/>
            </a:solidFill>
            <a:round/>
            <a:headEnd/>
            <a:tailEnd/>
          </a:ln>
        </p:spPr>
        <p:txBody>
          <a:bodyPr/>
          <a:lstStyle/>
          <a:p>
            <a:endParaRPr lang="de-DE" dirty="0"/>
          </a:p>
        </p:txBody>
      </p:sp>
      <p:sp>
        <p:nvSpPr>
          <p:cNvPr id="25" name="Line 1244">
            <a:extLst>
              <a:ext uri="{FF2B5EF4-FFF2-40B4-BE49-F238E27FC236}">
                <a16:creationId xmlns:a16="http://schemas.microsoft.com/office/drawing/2014/main" id="{7FB69295-C0DA-D3A5-F4E2-12B62F75A809}"/>
              </a:ext>
            </a:extLst>
          </p:cNvPr>
          <p:cNvSpPr>
            <a:spLocks noChangeShapeType="1"/>
          </p:cNvSpPr>
          <p:nvPr/>
        </p:nvSpPr>
        <p:spPr bwMode="auto">
          <a:xfrm>
            <a:off x="1426998" y="2639653"/>
            <a:ext cx="50740" cy="27982"/>
          </a:xfrm>
          <a:prstGeom prst="line">
            <a:avLst/>
          </a:prstGeom>
          <a:solidFill>
            <a:srgbClr val="FBBA00"/>
          </a:solidFill>
          <a:ln w="19050" cmpd="sng">
            <a:solidFill>
              <a:schemeClr val="bg1"/>
            </a:solidFill>
            <a:round/>
            <a:headEnd/>
            <a:tailEnd/>
          </a:ln>
        </p:spPr>
        <p:txBody>
          <a:bodyPr/>
          <a:lstStyle/>
          <a:p>
            <a:endParaRPr lang="de-DE" dirty="0"/>
          </a:p>
        </p:txBody>
      </p:sp>
      <p:sp>
        <p:nvSpPr>
          <p:cNvPr id="26" name="Line 1245">
            <a:extLst>
              <a:ext uri="{FF2B5EF4-FFF2-40B4-BE49-F238E27FC236}">
                <a16:creationId xmlns:a16="http://schemas.microsoft.com/office/drawing/2014/main" id="{AE4A89BD-8896-B7B1-D14D-BD560B0F6659}"/>
              </a:ext>
            </a:extLst>
          </p:cNvPr>
          <p:cNvSpPr>
            <a:spLocks noChangeShapeType="1"/>
          </p:cNvSpPr>
          <p:nvPr/>
        </p:nvSpPr>
        <p:spPr bwMode="auto">
          <a:xfrm flipH="1">
            <a:off x="1195846" y="2645250"/>
            <a:ext cx="47922" cy="27982"/>
          </a:xfrm>
          <a:prstGeom prst="line">
            <a:avLst/>
          </a:prstGeom>
          <a:solidFill>
            <a:srgbClr val="FBBA00"/>
          </a:solidFill>
          <a:ln w="19050" cmpd="sng">
            <a:solidFill>
              <a:schemeClr val="bg1"/>
            </a:solidFill>
            <a:round/>
            <a:headEnd/>
            <a:tailEnd/>
          </a:ln>
        </p:spPr>
        <p:txBody>
          <a:bodyPr/>
          <a:lstStyle/>
          <a:p>
            <a:endParaRPr lang="de-DE" dirty="0"/>
          </a:p>
        </p:txBody>
      </p:sp>
      <p:sp>
        <p:nvSpPr>
          <p:cNvPr id="27" name="Line 1246">
            <a:extLst>
              <a:ext uri="{FF2B5EF4-FFF2-40B4-BE49-F238E27FC236}">
                <a16:creationId xmlns:a16="http://schemas.microsoft.com/office/drawing/2014/main" id="{567D7B3F-E730-484D-B66D-3A1832DC13B4}"/>
              </a:ext>
            </a:extLst>
          </p:cNvPr>
          <p:cNvSpPr>
            <a:spLocks noChangeShapeType="1"/>
          </p:cNvSpPr>
          <p:nvPr/>
        </p:nvSpPr>
        <p:spPr bwMode="auto">
          <a:xfrm flipH="1" flipV="1">
            <a:off x="1193030" y="2513732"/>
            <a:ext cx="50740" cy="25185"/>
          </a:xfrm>
          <a:prstGeom prst="line">
            <a:avLst/>
          </a:prstGeom>
          <a:solidFill>
            <a:srgbClr val="FBBA00"/>
          </a:solidFill>
          <a:ln w="19050" cmpd="sng">
            <a:solidFill>
              <a:schemeClr val="bg1"/>
            </a:solidFill>
            <a:round/>
            <a:headEnd/>
            <a:tailEnd/>
          </a:ln>
        </p:spPr>
        <p:txBody>
          <a:bodyPr/>
          <a:lstStyle/>
          <a:p>
            <a:endParaRPr lang="de-DE" dirty="0"/>
          </a:p>
        </p:txBody>
      </p:sp>
      <p:sp>
        <p:nvSpPr>
          <p:cNvPr id="28" name="7 CuadroTexto">
            <a:extLst>
              <a:ext uri="{FF2B5EF4-FFF2-40B4-BE49-F238E27FC236}">
                <a16:creationId xmlns:a16="http://schemas.microsoft.com/office/drawing/2014/main" id="{B88E6ACF-DAFC-D71A-5DB8-F41429EEB531}"/>
              </a:ext>
            </a:extLst>
          </p:cNvPr>
          <p:cNvSpPr txBox="1"/>
          <p:nvPr/>
        </p:nvSpPr>
        <p:spPr>
          <a:xfrm>
            <a:off x="1487314" y="2879367"/>
            <a:ext cx="8647285" cy="2314352"/>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Nur „spontane“ Zusage einer Kapitalabfindung begründet bei beherrschenden Gesellschafter-Geschäftsführern die Annahme einer verdeckten Gewinnausschüttung</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Bestehende Zusagen sollten auf die </a:t>
            </a:r>
            <a:r>
              <a:rPr lang="de-DE" sz="1400" i="1" dirty="0">
                <a:latin typeface="Segoe UI" panose="020B0502040204020203" pitchFamily="34" charset="0"/>
                <a:cs typeface="Segoe UI" panose="020B0502040204020203" pitchFamily="34" charset="0"/>
                <a:sym typeface="Wingdings" panose="05000000000000000000" pitchFamily="2" charset="2"/>
              </a:rPr>
              <a:t>Möglichkeit</a:t>
            </a:r>
            <a:r>
              <a:rPr lang="de-DE" sz="1400" dirty="0">
                <a:latin typeface="Segoe UI" panose="020B0502040204020203" pitchFamily="34" charset="0"/>
                <a:cs typeface="Segoe UI" panose="020B0502040204020203" pitchFamily="34" charset="0"/>
                <a:sym typeface="Wingdings" panose="05000000000000000000" pitchFamily="2" charset="2"/>
              </a:rPr>
              <a:t> einer einmaligen Abfindung überprüft und ggf. angepasst werden   </a:t>
            </a: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Nachträgliche Aufnahme darf allerdings nicht im zeitlichen Zusammenhang mit dem Unternehmensverkauf stehen, sonst wird ebenso eine verdeckte Gewinnausschüttung angenommen </a:t>
            </a:r>
          </a:p>
          <a:p>
            <a:pPr>
              <a:lnSpc>
                <a:spcPct val="150000"/>
              </a:lnSpc>
            </a:pPr>
            <a:endParaRPr lang="de-DE"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4123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21D884-50DB-7CFB-FBFE-4102ECAE8256}"/>
            </a:ext>
          </a:extLst>
        </p:cNvPr>
        <p:cNvGrpSpPr/>
        <p:nvPr/>
      </p:nvGrpSpPr>
      <p:grpSpPr>
        <a:xfrm>
          <a:off x="0" y="0"/>
          <a:ext cx="0" cy="0"/>
          <a:chOff x="0" y="0"/>
          <a:chExt cx="0" cy="0"/>
        </a:xfrm>
      </p:grpSpPr>
      <p:sp>
        <p:nvSpPr>
          <p:cNvPr id="5" name="TextBox 1">
            <a:extLst>
              <a:ext uri="{FF2B5EF4-FFF2-40B4-BE49-F238E27FC236}">
                <a16:creationId xmlns:a16="http://schemas.microsoft.com/office/drawing/2014/main" id="{66735047-F571-AEB2-24FA-170E5915090A}"/>
              </a:ext>
            </a:extLst>
          </p:cNvPr>
          <p:cNvSpPr txBox="1"/>
          <p:nvPr/>
        </p:nvSpPr>
        <p:spPr>
          <a:xfrm>
            <a:off x="1670424" y="1084321"/>
            <a:ext cx="9324678" cy="584775"/>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Abfind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einer</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Pensionszusage</a:t>
            </a:r>
            <a:endPar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endParaRPr>
          </a:p>
        </p:txBody>
      </p:sp>
      <p:sp>
        <p:nvSpPr>
          <p:cNvPr id="21" name="Oval 205">
            <a:extLst>
              <a:ext uri="{FF2B5EF4-FFF2-40B4-BE49-F238E27FC236}">
                <a16:creationId xmlns:a16="http://schemas.microsoft.com/office/drawing/2014/main" id="{DD1F31C8-4884-AB64-CA99-C671B24FA83A}"/>
              </a:ext>
            </a:extLst>
          </p:cNvPr>
          <p:cNvSpPr/>
          <p:nvPr/>
        </p:nvSpPr>
        <p:spPr>
          <a:xfrm>
            <a:off x="1077559" y="2372792"/>
            <a:ext cx="506575" cy="506575"/>
          </a:xfrm>
          <a:prstGeom prst="ellipse">
            <a:avLst/>
          </a:prstGeom>
          <a:solidFill>
            <a:srgbClr val="FBBA00"/>
          </a:solidFill>
          <a:ln w="28575" cmpd="sng">
            <a:noFill/>
          </a:ln>
          <a:effectLst>
            <a:outerShdw blurRad="1270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solidFill>
                <a:schemeClr val="tx2">
                  <a:lumMod val="50000"/>
                </a:schemeClr>
              </a:solidFill>
            </a:endParaRPr>
          </a:p>
        </p:txBody>
      </p:sp>
      <p:sp>
        <p:nvSpPr>
          <p:cNvPr id="22" name="Freeform 1240">
            <a:extLst>
              <a:ext uri="{FF2B5EF4-FFF2-40B4-BE49-F238E27FC236}">
                <a16:creationId xmlns:a16="http://schemas.microsoft.com/office/drawing/2014/main" id="{5BBD9D78-193E-ADAB-78E4-FE071506B551}"/>
              </a:ext>
            </a:extLst>
          </p:cNvPr>
          <p:cNvSpPr>
            <a:spLocks/>
          </p:cNvSpPr>
          <p:nvPr/>
        </p:nvSpPr>
        <p:spPr bwMode="auto">
          <a:xfrm rot="10800000" flipV="1">
            <a:off x="1259881" y="2515364"/>
            <a:ext cx="145365" cy="259772"/>
          </a:xfrm>
          <a:custGeom>
            <a:avLst/>
            <a:gdLst>
              <a:gd name="T0" fmla="*/ 135563 w 109"/>
              <a:gd name="T1" fmla="*/ 171269 h 178"/>
              <a:gd name="T2" fmla="*/ 155898 w 109"/>
              <a:gd name="T3" fmla="*/ 157836 h 178"/>
              <a:gd name="T4" fmla="*/ 171149 w 109"/>
              <a:gd name="T5" fmla="*/ 139366 h 178"/>
              <a:gd name="T6" fmla="*/ 181316 w 109"/>
              <a:gd name="T7" fmla="*/ 115858 h 178"/>
              <a:gd name="T8" fmla="*/ 184705 w 109"/>
              <a:gd name="T9" fmla="*/ 88993 h 178"/>
              <a:gd name="T10" fmla="*/ 183010 w 109"/>
              <a:gd name="T11" fmla="*/ 70522 h 178"/>
              <a:gd name="T12" fmla="*/ 169454 w 109"/>
              <a:gd name="T13" fmla="*/ 38619 h 178"/>
              <a:gd name="T14" fmla="*/ 144036 w 109"/>
              <a:gd name="T15" fmla="*/ 13433 h 178"/>
              <a:gd name="T16" fmla="*/ 110145 w 109"/>
              <a:gd name="T17" fmla="*/ 0 h 178"/>
              <a:gd name="T18" fmla="*/ 91505 w 109"/>
              <a:gd name="T19" fmla="*/ 0 h 178"/>
              <a:gd name="T20" fmla="*/ 54225 w 109"/>
              <a:gd name="T21" fmla="*/ 5037 h 178"/>
              <a:gd name="T22" fmla="*/ 25418 w 109"/>
              <a:gd name="T23" fmla="*/ 25187 h 178"/>
              <a:gd name="T24" fmla="*/ 5084 w 109"/>
              <a:gd name="T25" fmla="*/ 55411 h 178"/>
              <a:gd name="T26" fmla="*/ 0 w 109"/>
              <a:gd name="T27" fmla="*/ 88993 h 178"/>
              <a:gd name="T28" fmla="*/ 0 w 109"/>
              <a:gd name="T29" fmla="*/ 104105 h 178"/>
              <a:gd name="T30" fmla="*/ 6778 w 109"/>
              <a:gd name="T31" fmla="*/ 125933 h 178"/>
              <a:gd name="T32" fmla="*/ 20334 w 109"/>
              <a:gd name="T33" fmla="*/ 146082 h 178"/>
              <a:gd name="T34" fmla="*/ 35585 w 109"/>
              <a:gd name="T35" fmla="*/ 164552 h 178"/>
              <a:gd name="T36" fmla="*/ 47447 w 109"/>
              <a:gd name="T37" fmla="*/ 214926 h 178"/>
              <a:gd name="T38" fmla="*/ 135563 w 109"/>
              <a:gd name="T39" fmla="*/ 263620 h 178"/>
              <a:gd name="T40" fmla="*/ 133869 w 109"/>
              <a:gd name="T41" fmla="*/ 270336 h 178"/>
              <a:gd name="T42" fmla="*/ 125396 w 109"/>
              <a:gd name="T43" fmla="*/ 280411 h 178"/>
              <a:gd name="T44" fmla="*/ 116923 w 109"/>
              <a:gd name="T45" fmla="*/ 283769 h 178"/>
              <a:gd name="T46" fmla="*/ 116923 w 109"/>
              <a:gd name="T47" fmla="*/ 283769 h 178"/>
              <a:gd name="T48" fmla="*/ 108451 w 109"/>
              <a:gd name="T49" fmla="*/ 293844 h 178"/>
              <a:gd name="T50" fmla="*/ 91505 w 109"/>
              <a:gd name="T51" fmla="*/ 298881 h 178"/>
              <a:gd name="T52" fmla="*/ 81338 w 109"/>
              <a:gd name="T53" fmla="*/ 298881 h 178"/>
              <a:gd name="T54" fmla="*/ 67782 w 109"/>
              <a:gd name="T55" fmla="*/ 290485 h 178"/>
              <a:gd name="T56" fmla="*/ 66087 w 109"/>
              <a:gd name="T57" fmla="*/ 283769 h 178"/>
              <a:gd name="T58" fmla="*/ 66087 w 109"/>
              <a:gd name="T59" fmla="*/ 283769 h 178"/>
              <a:gd name="T60" fmla="*/ 52531 w 109"/>
              <a:gd name="T61" fmla="*/ 273694 h 178"/>
              <a:gd name="T62" fmla="*/ 47447 w 109"/>
              <a:gd name="T63" fmla="*/ 263620 h 17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9"/>
              <a:gd name="T97" fmla="*/ 0 h 178"/>
              <a:gd name="T98" fmla="*/ 109 w 109"/>
              <a:gd name="T99" fmla="*/ 178 h 178"/>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9266 w 10000"/>
              <a:gd name="connsiteY5" fmla="*/ 4663 h 10000"/>
              <a:gd name="connsiteX6" fmla="*/ 9541 w 10000"/>
              <a:gd name="connsiteY6" fmla="*/ 4213 h 10000"/>
              <a:gd name="connsiteX7" fmla="*/ 9817 w 10000"/>
              <a:gd name="connsiteY7" fmla="*/ 3876 h 10000"/>
              <a:gd name="connsiteX8" fmla="*/ 9908 w 10000"/>
              <a:gd name="connsiteY8" fmla="*/ 3483 h 10000"/>
              <a:gd name="connsiteX9" fmla="*/ 10000 w 10000"/>
              <a:gd name="connsiteY9" fmla="*/ 2978 h 10000"/>
              <a:gd name="connsiteX10" fmla="*/ 9908 w 10000"/>
              <a:gd name="connsiteY10" fmla="*/ 2360 h 10000"/>
              <a:gd name="connsiteX11" fmla="*/ 9541 w 10000"/>
              <a:gd name="connsiteY11" fmla="*/ 1854 h 10000"/>
              <a:gd name="connsiteX12" fmla="*/ 9174 w 10000"/>
              <a:gd name="connsiteY12" fmla="*/ 1292 h 10000"/>
              <a:gd name="connsiteX13" fmla="*/ 8440 w 10000"/>
              <a:gd name="connsiteY13" fmla="*/ 843 h 10000"/>
              <a:gd name="connsiteX14" fmla="*/ 7798 w 10000"/>
              <a:gd name="connsiteY14" fmla="*/ 449 h 10000"/>
              <a:gd name="connsiteX15" fmla="*/ 6881 w 10000"/>
              <a:gd name="connsiteY15" fmla="*/ 169 h 10000"/>
              <a:gd name="connsiteX16" fmla="*/ 5963 w 10000"/>
              <a:gd name="connsiteY16" fmla="*/ 0 h 10000"/>
              <a:gd name="connsiteX17" fmla="*/ 4954 w 10000"/>
              <a:gd name="connsiteY17" fmla="*/ 0 h 10000"/>
              <a:gd name="connsiteX18" fmla="*/ 3945 w 10000"/>
              <a:gd name="connsiteY18" fmla="*/ 0 h 10000"/>
              <a:gd name="connsiteX19" fmla="*/ 2936 w 10000"/>
              <a:gd name="connsiteY19" fmla="*/ 169 h 10000"/>
              <a:gd name="connsiteX20" fmla="*/ 2202 w 10000"/>
              <a:gd name="connsiteY20" fmla="*/ 449 h 10000"/>
              <a:gd name="connsiteX21" fmla="*/ 1376 w 10000"/>
              <a:gd name="connsiteY21" fmla="*/ 843 h 10000"/>
              <a:gd name="connsiteX22" fmla="*/ 826 w 10000"/>
              <a:gd name="connsiteY22" fmla="*/ 1292 h 10000"/>
              <a:gd name="connsiteX23" fmla="*/ 275 w 10000"/>
              <a:gd name="connsiteY23" fmla="*/ 1854 h 10000"/>
              <a:gd name="connsiteX24" fmla="*/ 92 w 10000"/>
              <a:gd name="connsiteY24" fmla="*/ 2360 h 10000"/>
              <a:gd name="connsiteX25" fmla="*/ 0 w 10000"/>
              <a:gd name="connsiteY25" fmla="*/ 2978 h 10000"/>
              <a:gd name="connsiteX26" fmla="*/ 0 w 10000"/>
              <a:gd name="connsiteY26" fmla="*/ 3483 h 10000"/>
              <a:gd name="connsiteX27" fmla="*/ 183 w 10000"/>
              <a:gd name="connsiteY27" fmla="*/ 3876 h 10000"/>
              <a:gd name="connsiteX28" fmla="*/ 367 w 10000"/>
              <a:gd name="connsiteY28" fmla="*/ 4213 h 10000"/>
              <a:gd name="connsiteX29" fmla="*/ 642 w 10000"/>
              <a:gd name="connsiteY29" fmla="*/ 4663 h 10000"/>
              <a:gd name="connsiteX30" fmla="*/ 1101 w 10000"/>
              <a:gd name="connsiteY30" fmla="*/ 4888 h 10000"/>
              <a:gd name="connsiteX31" fmla="*/ 1560 w 10000"/>
              <a:gd name="connsiteY31" fmla="*/ 5281 h 10000"/>
              <a:gd name="connsiteX32" fmla="*/ 1927 w 10000"/>
              <a:gd name="connsiteY32" fmla="*/ 5506 h 10000"/>
              <a:gd name="connsiteX33" fmla="*/ 2569 w 10000"/>
              <a:gd name="connsiteY33" fmla="*/ 5730 h 10000"/>
              <a:gd name="connsiteX34" fmla="*/ 2569 w 10000"/>
              <a:gd name="connsiteY34" fmla="*/ 7191 h 10000"/>
              <a:gd name="connsiteX35" fmla="*/ 7339 w 10000"/>
              <a:gd name="connsiteY35" fmla="*/ 7191 h 10000"/>
              <a:gd name="connsiteX36" fmla="*/ 7339 w 10000"/>
              <a:gd name="connsiteY36" fmla="*/ 8820 h 10000"/>
              <a:gd name="connsiteX37" fmla="*/ 7248 w 10000"/>
              <a:gd name="connsiteY37" fmla="*/ 9045 h 10000"/>
              <a:gd name="connsiteX38" fmla="*/ 7156 w 10000"/>
              <a:gd name="connsiteY38" fmla="*/ 9157 h 10000"/>
              <a:gd name="connsiteX39" fmla="*/ 6789 w 10000"/>
              <a:gd name="connsiteY39" fmla="*/ 9382 h 10000"/>
              <a:gd name="connsiteX40" fmla="*/ 6330 w 10000"/>
              <a:gd name="connsiteY40" fmla="*/ 9494 h 10000"/>
              <a:gd name="connsiteX41" fmla="*/ 6239 w 10000"/>
              <a:gd name="connsiteY41" fmla="*/ 9719 h 10000"/>
              <a:gd name="connsiteX42" fmla="*/ 5872 w 10000"/>
              <a:gd name="connsiteY42" fmla="*/ 9831 h 10000"/>
              <a:gd name="connsiteX43" fmla="*/ 5596 w 10000"/>
              <a:gd name="connsiteY43" fmla="*/ 10000 h 10000"/>
              <a:gd name="connsiteX44" fmla="*/ 4954 w 10000"/>
              <a:gd name="connsiteY44" fmla="*/ 10000 h 10000"/>
              <a:gd name="connsiteX45" fmla="*/ 4404 w 10000"/>
              <a:gd name="connsiteY45" fmla="*/ 10000 h 10000"/>
              <a:gd name="connsiteX46" fmla="*/ 3945 w 10000"/>
              <a:gd name="connsiteY46" fmla="*/ 9831 h 10000"/>
              <a:gd name="connsiteX47" fmla="*/ 3670 w 10000"/>
              <a:gd name="connsiteY47" fmla="*/ 9719 h 10000"/>
              <a:gd name="connsiteX48" fmla="*/ 3578 w 10000"/>
              <a:gd name="connsiteY48" fmla="*/ 9494 h 10000"/>
              <a:gd name="connsiteX49" fmla="*/ 3211 w 10000"/>
              <a:gd name="connsiteY49" fmla="*/ 9382 h 10000"/>
              <a:gd name="connsiteX50" fmla="*/ 2844 w 10000"/>
              <a:gd name="connsiteY50" fmla="*/ 9157 h 10000"/>
              <a:gd name="connsiteX51" fmla="*/ 2661 w 10000"/>
              <a:gd name="connsiteY51" fmla="*/ 9045 h 10000"/>
              <a:gd name="connsiteX52" fmla="*/ 2569 w 10000"/>
              <a:gd name="connsiteY52" fmla="*/ 8820 h 10000"/>
              <a:gd name="connsiteX53" fmla="*/ 2569 w 10000"/>
              <a:gd name="connsiteY53"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9266 w 10000"/>
              <a:gd name="connsiteY5" fmla="*/ 4663 h 10000"/>
              <a:gd name="connsiteX6" fmla="*/ 9541 w 10000"/>
              <a:gd name="connsiteY6" fmla="*/ 4213 h 10000"/>
              <a:gd name="connsiteX7" fmla="*/ 9817 w 10000"/>
              <a:gd name="connsiteY7" fmla="*/ 3876 h 10000"/>
              <a:gd name="connsiteX8" fmla="*/ 10000 w 10000"/>
              <a:gd name="connsiteY8" fmla="*/ 2978 h 10000"/>
              <a:gd name="connsiteX9" fmla="*/ 9908 w 10000"/>
              <a:gd name="connsiteY9" fmla="*/ 2360 h 10000"/>
              <a:gd name="connsiteX10" fmla="*/ 9541 w 10000"/>
              <a:gd name="connsiteY10" fmla="*/ 1854 h 10000"/>
              <a:gd name="connsiteX11" fmla="*/ 9174 w 10000"/>
              <a:gd name="connsiteY11" fmla="*/ 1292 h 10000"/>
              <a:gd name="connsiteX12" fmla="*/ 8440 w 10000"/>
              <a:gd name="connsiteY12" fmla="*/ 843 h 10000"/>
              <a:gd name="connsiteX13" fmla="*/ 7798 w 10000"/>
              <a:gd name="connsiteY13" fmla="*/ 449 h 10000"/>
              <a:gd name="connsiteX14" fmla="*/ 6881 w 10000"/>
              <a:gd name="connsiteY14" fmla="*/ 169 h 10000"/>
              <a:gd name="connsiteX15" fmla="*/ 5963 w 10000"/>
              <a:gd name="connsiteY15" fmla="*/ 0 h 10000"/>
              <a:gd name="connsiteX16" fmla="*/ 4954 w 10000"/>
              <a:gd name="connsiteY16" fmla="*/ 0 h 10000"/>
              <a:gd name="connsiteX17" fmla="*/ 3945 w 10000"/>
              <a:gd name="connsiteY17" fmla="*/ 0 h 10000"/>
              <a:gd name="connsiteX18" fmla="*/ 2936 w 10000"/>
              <a:gd name="connsiteY18" fmla="*/ 169 h 10000"/>
              <a:gd name="connsiteX19" fmla="*/ 2202 w 10000"/>
              <a:gd name="connsiteY19" fmla="*/ 449 h 10000"/>
              <a:gd name="connsiteX20" fmla="*/ 1376 w 10000"/>
              <a:gd name="connsiteY20" fmla="*/ 843 h 10000"/>
              <a:gd name="connsiteX21" fmla="*/ 826 w 10000"/>
              <a:gd name="connsiteY21" fmla="*/ 1292 h 10000"/>
              <a:gd name="connsiteX22" fmla="*/ 275 w 10000"/>
              <a:gd name="connsiteY22" fmla="*/ 1854 h 10000"/>
              <a:gd name="connsiteX23" fmla="*/ 92 w 10000"/>
              <a:gd name="connsiteY23" fmla="*/ 2360 h 10000"/>
              <a:gd name="connsiteX24" fmla="*/ 0 w 10000"/>
              <a:gd name="connsiteY24" fmla="*/ 2978 h 10000"/>
              <a:gd name="connsiteX25" fmla="*/ 0 w 10000"/>
              <a:gd name="connsiteY25" fmla="*/ 3483 h 10000"/>
              <a:gd name="connsiteX26" fmla="*/ 183 w 10000"/>
              <a:gd name="connsiteY26" fmla="*/ 3876 h 10000"/>
              <a:gd name="connsiteX27" fmla="*/ 367 w 10000"/>
              <a:gd name="connsiteY27" fmla="*/ 4213 h 10000"/>
              <a:gd name="connsiteX28" fmla="*/ 642 w 10000"/>
              <a:gd name="connsiteY28" fmla="*/ 4663 h 10000"/>
              <a:gd name="connsiteX29" fmla="*/ 1101 w 10000"/>
              <a:gd name="connsiteY29" fmla="*/ 4888 h 10000"/>
              <a:gd name="connsiteX30" fmla="*/ 1560 w 10000"/>
              <a:gd name="connsiteY30" fmla="*/ 5281 h 10000"/>
              <a:gd name="connsiteX31" fmla="*/ 1927 w 10000"/>
              <a:gd name="connsiteY31" fmla="*/ 5506 h 10000"/>
              <a:gd name="connsiteX32" fmla="*/ 2569 w 10000"/>
              <a:gd name="connsiteY32" fmla="*/ 5730 h 10000"/>
              <a:gd name="connsiteX33" fmla="*/ 2569 w 10000"/>
              <a:gd name="connsiteY33" fmla="*/ 7191 h 10000"/>
              <a:gd name="connsiteX34" fmla="*/ 7339 w 10000"/>
              <a:gd name="connsiteY34" fmla="*/ 7191 h 10000"/>
              <a:gd name="connsiteX35" fmla="*/ 7339 w 10000"/>
              <a:gd name="connsiteY35" fmla="*/ 8820 h 10000"/>
              <a:gd name="connsiteX36" fmla="*/ 7248 w 10000"/>
              <a:gd name="connsiteY36" fmla="*/ 9045 h 10000"/>
              <a:gd name="connsiteX37" fmla="*/ 7156 w 10000"/>
              <a:gd name="connsiteY37" fmla="*/ 9157 h 10000"/>
              <a:gd name="connsiteX38" fmla="*/ 6789 w 10000"/>
              <a:gd name="connsiteY38" fmla="*/ 9382 h 10000"/>
              <a:gd name="connsiteX39" fmla="*/ 6330 w 10000"/>
              <a:gd name="connsiteY39" fmla="*/ 9494 h 10000"/>
              <a:gd name="connsiteX40" fmla="*/ 6239 w 10000"/>
              <a:gd name="connsiteY40" fmla="*/ 9719 h 10000"/>
              <a:gd name="connsiteX41" fmla="*/ 5872 w 10000"/>
              <a:gd name="connsiteY41" fmla="*/ 9831 h 10000"/>
              <a:gd name="connsiteX42" fmla="*/ 5596 w 10000"/>
              <a:gd name="connsiteY42" fmla="*/ 10000 h 10000"/>
              <a:gd name="connsiteX43" fmla="*/ 4954 w 10000"/>
              <a:gd name="connsiteY43" fmla="*/ 10000 h 10000"/>
              <a:gd name="connsiteX44" fmla="*/ 4404 w 10000"/>
              <a:gd name="connsiteY44" fmla="*/ 10000 h 10000"/>
              <a:gd name="connsiteX45" fmla="*/ 3945 w 10000"/>
              <a:gd name="connsiteY45" fmla="*/ 9831 h 10000"/>
              <a:gd name="connsiteX46" fmla="*/ 3670 w 10000"/>
              <a:gd name="connsiteY46" fmla="*/ 9719 h 10000"/>
              <a:gd name="connsiteX47" fmla="*/ 3578 w 10000"/>
              <a:gd name="connsiteY47" fmla="*/ 9494 h 10000"/>
              <a:gd name="connsiteX48" fmla="*/ 3211 w 10000"/>
              <a:gd name="connsiteY48" fmla="*/ 9382 h 10000"/>
              <a:gd name="connsiteX49" fmla="*/ 2844 w 10000"/>
              <a:gd name="connsiteY49" fmla="*/ 9157 h 10000"/>
              <a:gd name="connsiteX50" fmla="*/ 2661 w 10000"/>
              <a:gd name="connsiteY50" fmla="*/ 9045 h 10000"/>
              <a:gd name="connsiteX51" fmla="*/ 2569 w 10000"/>
              <a:gd name="connsiteY51" fmla="*/ 8820 h 10000"/>
              <a:gd name="connsiteX52" fmla="*/ 2569 w 10000"/>
              <a:gd name="connsiteY52"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9266 w 10000"/>
              <a:gd name="connsiteY5" fmla="*/ 4663 h 10000"/>
              <a:gd name="connsiteX6" fmla="*/ 9541 w 10000"/>
              <a:gd name="connsiteY6" fmla="*/ 4213 h 10000"/>
              <a:gd name="connsiteX7" fmla="*/ 10000 w 10000"/>
              <a:gd name="connsiteY7" fmla="*/ 2978 h 10000"/>
              <a:gd name="connsiteX8" fmla="*/ 9908 w 10000"/>
              <a:gd name="connsiteY8" fmla="*/ 2360 h 10000"/>
              <a:gd name="connsiteX9" fmla="*/ 9541 w 10000"/>
              <a:gd name="connsiteY9" fmla="*/ 1854 h 10000"/>
              <a:gd name="connsiteX10" fmla="*/ 9174 w 10000"/>
              <a:gd name="connsiteY10" fmla="*/ 1292 h 10000"/>
              <a:gd name="connsiteX11" fmla="*/ 8440 w 10000"/>
              <a:gd name="connsiteY11" fmla="*/ 843 h 10000"/>
              <a:gd name="connsiteX12" fmla="*/ 7798 w 10000"/>
              <a:gd name="connsiteY12" fmla="*/ 449 h 10000"/>
              <a:gd name="connsiteX13" fmla="*/ 6881 w 10000"/>
              <a:gd name="connsiteY13" fmla="*/ 169 h 10000"/>
              <a:gd name="connsiteX14" fmla="*/ 5963 w 10000"/>
              <a:gd name="connsiteY14" fmla="*/ 0 h 10000"/>
              <a:gd name="connsiteX15" fmla="*/ 4954 w 10000"/>
              <a:gd name="connsiteY15" fmla="*/ 0 h 10000"/>
              <a:gd name="connsiteX16" fmla="*/ 3945 w 10000"/>
              <a:gd name="connsiteY16" fmla="*/ 0 h 10000"/>
              <a:gd name="connsiteX17" fmla="*/ 2936 w 10000"/>
              <a:gd name="connsiteY17" fmla="*/ 169 h 10000"/>
              <a:gd name="connsiteX18" fmla="*/ 2202 w 10000"/>
              <a:gd name="connsiteY18" fmla="*/ 449 h 10000"/>
              <a:gd name="connsiteX19" fmla="*/ 1376 w 10000"/>
              <a:gd name="connsiteY19" fmla="*/ 843 h 10000"/>
              <a:gd name="connsiteX20" fmla="*/ 826 w 10000"/>
              <a:gd name="connsiteY20" fmla="*/ 1292 h 10000"/>
              <a:gd name="connsiteX21" fmla="*/ 275 w 10000"/>
              <a:gd name="connsiteY21" fmla="*/ 1854 h 10000"/>
              <a:gd name="connsiteX22" fmla="*/ 92 w 10000"/>
              <a:gd name="connsiteY22" fmla="*/ 2360 h 10000"/>
              <a:gd name="connsiteX23" fmla="*/ 0 w 10000"/>
              <a:gd name="connsiteY23" fmla="*/ 2978 h 10000"/>
              <a:gd name="connsiteX24" fmla="*/ 0 w 10000"/>
              <a:gd name="connsiteY24" fmla="*/ 3483 h 10000"/>
              <a:gd name="connsiteX25" fmla="*/ 183 w 10000"/>
              <a:gd name="connsiteY25" fmla="*/ 3876 h 10000"/>
              <a:gd name="connsiteX26" fmla="*/ 367 w 10000"/>
              <a:gd name="connsiteY26" fmla="*/ 4213 h 10000"/>
              <a:gd name="connsiteX27" fmla="*/ 642 w 10000"/>
              <a:gd name="connsiteY27" fmla="*/ 4663 h 10000"/>
              <a:gd name="connsiteX28" fmla="*/ 1101 w 10000"/>
              <a:gd name="connsiteY28" fmla="*/ 4888 h 10000"/>
              <a:gd name="connsiteX29" fmla="*/ 1560 w 10000"/>
              <a:gd name="connsiteY29" fmla="*/ 5281 h 10000"/>
              <a:gd name="connsiteX30" fmla="*/ 1927 w 10000"/>
              <a:gd name="connsiteY30" fmla="*/ 5506 h 10000"/>
              <a:gd name="connsiteX31" fmla="*/ 2569 w 10000"/>
              <a:gd name="connsiteY31" fmla="*/ 5730 h 10000"/>
              <a:gd name="connsiteX32" fmla="*/ 2569 w 10000"/>
              <a:gd name="connsiteY32" fmla="*/ 7191 h 10000"/>
              <a:gd name="connsiteX33" fmla="*/ 7339 w 10000"/>
              <a:gd name="connsiteY33" fmla="*/ 7191 h 10000"/>
              <a:gd name="connsiteX34" fmla="*/ 7339 w 10000"/>
              <a:gd name="connsiteY34" fmla="*/ 8820 h 10000"/>
              <a:gd name="connsiteX35" fmla="*/ 7248 w 10000"/>
              <a:gd name="connsiteY35" fmla="*/ 9045 h 10000"/>
              <a:gd name="connsiteX36" fmla="*/ 7156 w 10000"/>
              <a:gd name="connsiteY36" fmla="*/ 9157 h 10000"/>
              <a:gd name="connsiteX37" fmla="*/ 6789 w 10000"/>
              <a:gd name="connsiteY37" fmla="*/ 9382 h 10000"/>
              <a:gd name="connsiteX38" fmla="*/ 6330 w 10000"/>
              <a:gd name="connsiteY38" fmla="*/ 9494 h 10000"/>
              <a:gd name="connsiteX39" fmla="*/ 6239 w 10000"/>
              <a:gd name="connsiteY39" fmla="*/ 9719 h 10000"/>
              <a:gd name="connsiteX40" fmla="*/ 5872 w 10000"/>
              <a:gd name="connsiteY40" fmla="*/ 9831 h 10000"/>
              <a:gd name="connsiteX41" fmla="*/ 5596 w 10000"/>
              <a:gd name="connsiteY41" fmla="*/ 10000 h 10000"/>
              <a:gd name="connsiteX42" fmla="*/ 4954 w 10000"/>
              <a:gd name="connsiteY42" fmla="*/ 10000 h 10000"/>
              <a:gd name="connsiteX43" fmla="*/ 4404 w 10000"/>
              <a:gd name="connsiteY43" fmla="*/ 10000 h 10000"/>
              <a:gd name="connsiteX44" fmla="*/ 3945 w 10000"/>
              <a:gd name="connsiteY44" fmla="*/ 9831 h 10000"/>
              <a:gd name="connsiteX45" fmla="*/ 3670 w 10000"/>
              <a:gd name="connsiteY45" fmla="*/ 9719 h 10000"/>
              <a:gd name="connsiteX46" fmla="*/ 3578 w 10000"/>
              <a:gd name="connsiteY46" fmla="*/ 9494 h 10000"/>
              <a:gd name="connsiteX47" fmla="*/ 3211 w 10000"/>
              <a:gd name="connsiteY47" fmla="*/ 9382 h 10000"/>
              <a:gd name="connsiteX48" fmla="*/ 2844 w 10000"/>
              <a:gd name="connsiteY48" fmla="*/ 9157 h 10000"/>
              <a:gd name="connsiteX49" fmla="*/ 2661 w 10000"/>
              <a:gd name="connsiteY49" fmla="*/ 9045 h 10000"/>
              <a:gd name="connsiteX50" fmla="*/ 2569 w 10000"/>
              <a:gd name="connsiteY50" fmla="*/ 8820 h 10000"/>
              <a:gd name="connsiteX51" fmla="*/ 2569 w 10000"/>
              <a:gd name="connsiteY51"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9266 w 10000"/>
              <a:gd name="connsiteY5" fmla="*/ 4663 h 10000"/>
              <a:gd name="connsiteX6" fmla="*/ 10000 w 10000"/>
              <a:gd name="connsiteY6" fmla="*/ 2978 h 10000"/>
              <a:gd name="connsiteX7" fmla="*/ 9908 w 10000"/>
              <a:gd name="connsiteY7" fmla="*/ 2360 h 10000"/>
              <a:gd name="connsiteX8" fmla="*/ 9541 w 10000"/>
              <a:gd name="connsiteY8" fmla="*/ 1854 h 10000"/>
              <a:gd name="connsiteX9" fmla="*/ 9174 w 10000"/>
              <a:gd name="connsiteY9" fmla="*/ 1292 h 10000"/>
              <a:gd name="connsiteX10" fmla="*/ 8440 w 10000"/>
              <a:gd name="connsiteY10" fmla="*/ 843 h 10000"/>
              <a:gd name="connsiteX11" fmla="*/ 7798 w 10000"/>
              <a:gd name="connsiteY11" fmla="*/ 449 h 10000"/>
              <a:gd name="connsiteX12" fmla="*/ 6881 w 10000"/>
              <a:gd name="connsiteY12" fmla="*/ 169 h 10000"/>
              <a:gd name="connsiteX13" fmla="*/ 5963 w 10000"/>
              <a:gd name="connsiteY13" fmla="*/ 0 h 10000"/>
              <a:gd name="connsiteX14" fmla="*/ 4954 w 10000"/>
              <a:gd name="connsiteY14" fmla="*/ 0 h 10000"/>
              <a:gd name="connsiteX15" fmla="*/ 3945 w 10000"/>
              <a:gd name="connsiteY15" fmla="*/ 0 h 10000"/>
              <a:gd name="connsiteX16" fmla="*/ 2936 w 10000"/>
              <a:gd name="connsiteY16" fmla="*/ 169 h 10000"/>
              <a:gd name="connsiteX17" fmla="*/ 2202 w 10000"/>
              <a:gd name="connsiteY17" fmla="*/ 449 h 10000"/>
              <a:gd name="connsiteX18" fmla="*/ 1376 w 10000"/>
              <a:gd name="connsiteY18" fmla="*/ 843 h 10000"/>
              <a:gd name="connsiteX19" fmla="*/ 826 w 10000"/>
              <a:gd name="connsiteY19" fmla="*/ 1292 h 10000"/>
              <a:gd name="connsiteX20" fmla="*/ 275 w 10000"/>
              <a:gd name="connsiteY20" fmla="*/ 1854 h 10000"/>
              <a:gd name="connsiteX21" fmla="*/ 92 w 10000"/>
              <a:gd name="connsiteY21" fmla="*/ 2360 h 10000"/>
              <a:gd name="connsiteX22" fmla="*/ 0 w 10000"/>
              <a:gd name="connsiteY22" fmla="*/ 2978 h 10000"/>
              <a:gd name="connsiteX23" fmla="*/ 0 w 10000"/>
              <a:gd name="connsiteY23" fmla="*/ 3483 h 10000"/>
              <a:gd name="connsiteX24" fmla="*/ 183 w 10000"/>
              <a:gd name="connsiteY24" fmla="*/ 3876 h 10000"/>
              <a:gd name="connsiteX25" fmla="*/ 367 w 10000"/>
              <a:gd name="connsiteY25" fmla="*/ 4213 h 10000"/>
              <a:gd name="connsiteX26" fmla="*/ 642 w 10000"/>
              <a:gd name="connsiteY26" fmla="*/ 4663 h 10000"/>
              <a:gd name="connsiteX27" fmla="*/ 1101 w 10000"/>
              <a:gd name="connsiteY27" fmla="*/ 4888 h 10000"/>
              <a:gd name="connsiteX28" fmla="*/ 1560 w 10000"/>
              <a:gd name="connsiteY28" fmla="*/ 5281 h 10000"/>
              <a:gd name="connsiteX29" fmla="*/ 1927 w 10000"/>
              <a:gd name="connsiteY29" fmla="*/ 5506 h 10000"/>
              <a:gd name="connsiteX30" fmla="*/ 2569 w 10000"/>
              <a:gd name="connsiteY30" fmla="*/ 5730 h 10000"/>
              <a:gd name="connsiteX31" fmla="*/ 2569 w 10000"/>
              <a:gd name="connsiteY31" fmla="*/ 7191 h 10000"/>
              <a:gd name="connsiteX32" fmla="*/ 7339 w 10000"/>
              <a:gd name="connsiteY32" fmla="*/ 7191 h 10000"/>
              <a:gd name="connsiteX33" fmla="*/ 7339 w 10000"/>
              <a:gd name="connsiteY33" fmla="*/ 8820 h 10000"/>
              <a:gd name="connsiteX34" fmla="*/ 7248 w 10000"/>
              <a:gd name="connsiteY34" fmla="*/ 9045 h 10000"/>
              <a:gd name="connsiteX35" fmla="*/ 7156 w 10000"/>
              <a:gd name="connsiteY35" fmla="*/ 9157 h 10000"/>
              <a:gd name="connsiteX36" fmla="*/ 6789 w 10000"/>
              <a:gd name="connsiteY36" fmla="*/ 9382 h 10000"/>
              <a:gd name="connsiteX37" fmla="*/ 6330 w 10000"/>
              <a:gd name="connsiteY37" fmla="*/ 9494 h 10000"/>
              <a:gd name="connsiteX38" fmla="*/ 6239 w 10000"/>
              <a:gd name="connsiteY38" fmla="*/ 9719 h 10000"/>
              <a:gd name="connsiteX39" fmla="*/ 5872 w 10000"/>
              <a:gd name="connsiteY39" fmla="*/ 9831 h 10000"/>
              <a:gd name="connsiteX40" fmla="*/ 5596 w 10000"/>
              <a:gd name="connsiteY40" fmla="*/ 10000 h 10000"/>
              <a:gd name="connsiteX41" fmla="*/ 4954 w 10000"/>
              <a:gd name="connsiteY41" fmla="*/ 10000 h 10000"/>
              <a:gd name="connsiteX42" fmla="*/ 4404 w 10000"/>
              <a:gd name="connsiteY42" fmla="*/ 10000 h 10000"/>
              <a:gd name="connsiteX43" fmla="*/ 3945 w 10000"/>
              <a:gd name="connsiteY43" fmla="*/ 9831 h 10000"/>
              <a:gd name="connsiteX44" fmla="*/ 3670 w 10000"/>
              <a:gd name="connsiteY44" fmla="*/ 9719 h 10000"/>
              <a:gd name="connsiteX45" fmla="*/ 3578 w 10000"/>
              <a:gd name="connsiteY45" fmla="*/ 9494 h 10000"/>
              <a:gd name="connsiteX46" fmla="*/ 3211 w 10000"/>
              <a:gd name="connsiteY46" fmla="*/ 9382 h 10000"/>
              <a:gd name="connsiteX47" fmla="*/ 2844 w 10000"/>
              <a:gd name="connsiteY47" fmla="*/ 9157 h 10000"/>
              <a:gd name="connsiteX48" fmla="*/ 2661 w 10000"/>
              <a:gd name="connsiteY48" fmla="*/ 9045 h 10000"/>
              <a:gd name="connsiteX49" fmla="*/ 2569 w 10000"/>
              <a:gd name="connsiteY49" fmla="*/ 8820 h 10000"/>
              <a:gd name="connsiteX50" fmla="*/ 2569 w 10000"/>
              <a:gd name="connsiteY50"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8899 w 10000"/>
              <a:gd name="connsiteY4" fmla="*/ 4888 h 10000"/>
              <a:gd name="connsiteX5" fmla="*/ 10000 w 10000"/>
              <a:gd name="connsiteY5" fmla="*/ 2978 h 10000"/>
              <a:gd name="connsiteX6" fmla="*/ 9908 w 10000"/>
              <a:gd name="connsiteY6" fmla="*/ 2360 h 10000"/>
              <a:gd name="connsiteX7" fmla="*/ 9541 w 10000"/>
              <a:gd name="connsiteY7" fmla="*/ 1854 h 10000"/>
              <a:gd name="connsiteX8" fmla="*/ 9174 w 10000"/>
              <a:gd name="connsiteY8" fmla="*/ 1292 h 10000"/>
              <a:gd name="connsiteX9" fmla="*/ 8440 w 10000"/>
              <a:gd name="connsiteY9" fmla="*/ 843 h 10000"/>
              <a:gd name="connsiteX10" fmla="*/ 7798 w 10000"/>
              <a:gd name="connsiteY10" fmla="*/ 449 h 10000"/>
              <a:gd name="connsiteX11" fmla="*/ 6881 w 10000"/>
              <a:gd name="connsiteY11" fmla="*/ 169 h 10000"/>
              <a:gd name="connsiteX12" fmla="*/ 5963 w 10000"/>
              <a:gd name="connsiteY12" fmla="*/ 0 h 10000"/>
              <a:gd name="connsiteX13" fmla="*/ 4954 w 10000"/>
              <a:gd name="connsiteY13" fmla="*/ 0 h 10000"/>
              <a:gd name="connsiteX14" fmla="*/ 3945 w 10000"/>
              <a:gd name="connsiteY14" fmla="*/ 0 h 10000"/>
              <a:gd name="connsiteX15" fmla="*/ 2936 w 10000"/>
              <a:gd name="connsiteY15" fmla="*/ 169 h 10000"/>
              <a:gd name="connsiteX16" fmla="*/ 2202 w 10000"/>
              <a:gd name="connsiteY16" fmla="*/ 449 h 10000"/>
              <a:gd name="connsiteX17" fmla="*/ 1376 w 10000"/>
              <a:gd name="connsiteY17" fmla="*/ 843 h 10000"/>
              <a:gd name="connsiteX18" fmla="*/ 826 w 10000"/>
              <a:gd name="connsiteY18" fmla="*/ 1292 h 10000"/>
              <a:gd name="connsiteX19" fmla="*/ 275 w 10000"/>
              <a:gd name="connsiteY19" fmla="*/ 1854 h 10000"/>
              <a:gd name="connsiteX20" fmla="*/ 92 w 10000"/>
              <a:gd name="connsiteY20" fmla="*/ 2360 h 10000"/>
              <a:gd name="connsiteX21" fmla="*/ 0 w 10000"/>
              <a:gd name="connsiteY21" fmla="*/ 2978 h 10000"/>
              <a:gd name="connsiteX22" fmla="*/ 0 w 10000"/>
              <a:gd name="connsiteY22" fmla="*/ 3483 h 10000"/>
              <a:gd name="connsiteX23" fmla="*/ 183 w 10000"/>
              <a:gd name="connsiteY23" fmla="*/ 3876 h 10000"/>
              <a:gd name="connsiteX24" fmla="*/ 367 w 10000"/>
              <a:gd name="connsiteY24" fmla="*/ 4213 h 10000"/>
              <a:gd name="connsiteX25" fmla="*/ 642 w 10000"/>
              <a:gd name="connsiteY25" fmla="*/ 4663 h 10000"/>
              <a:gd name="connsiteX26" fmla="*/ 1101 w 10000"/>
              <a:gd name="connsiteY26" fmla="*/ 4888 h 10000"/>
              <a:gd name="connsiteX27" fmla="*/ 1560 w 10000"/>
              <a:gd name="connsiteY27" fmla="*/ 5281 h 10000"/>
              <a:gd name="connsiteX28" fmla="*/ 1927 w 10000"/>
              <a:gd name="connsiteY28" fmla="*/ 5506 h 10000"/>
              <a:gd name="connsiteX29" fmla="*/ 2569 w 10000"/>
              <a:gd name="connsiteY29" fmla="*/ 5730 h 10000"/>
              <a:gd name="connsiteX30" fmla="*/ 2569 w 10000"/>
              <a:gd name="connsiteY30" fmla="*/ 7191 h 10000"/>
              <a:gd name="connsiteX31" fmla="*/ 7339 w 10000"/>
              <a:gd name="connsiteY31" fmla="*/ 7191 h 10000"/>
              <a:gd name="connsiteX32" fmla="*/ 7339 w 10000"/>
              <a:gd name="connsiteY32" fmla="*/ 8820 h 10000"/>
              <a:gd name="connsiteX33" fmla="*/ 7248 w 10000"/>
              <a:gd name="connsiteY33" fmla="*/ 9045 h 10000"/>
              <a:gd name="connsiteX34" fmla="*/ 7156 w 10000"/>
              <a:gd name="connsiteY34" fmla="*/ 9157 h 10000"/>
              <a:gd name="connsiteX35" fmla="*/ 6789 w 10000"/>
              <a:gd name="connsiteY35" fmla="*/ 9382 h 10000"/>
              <a:gd name="connsiteX36" fmla="*/ 6330 w 10000"/>
              <a:gd name="connsiteY36" fmla="*/ 9494 h 10000"/>
              <a:gd name="connsiteX37" fmla="*/ 6239 w 10000"/>
              <a:gd name="connsiteY37" fmla="*/ 9719 h 10000"/>
              <a:gd name="connsiteX38" fmla="*/ 5872 w 10000"/>
              <a:gd name="connsiteY38" fmla="*/ 9831 h 10000"/>
              <a:gd name="connsiteX39" fmla="*/ 5596 w 10000"/>
              <a:gd name="connsiteY39" fmla="*/ 10000 h 10000"/>
              <a:gd name="connsiteX40" fmla="*/ 4954 w 10000"/>
              <a:gd name="connsiteY40" fmla="*/ 10000 h 10000"/>
              <a:gd name="connsiteX41" fmla="*/ 4404 w 10000"/>
              <a:gd name="connsiteY41" fmla="*/ 10000 h 10000"/>
              <a:gd name="connsiteX42" fmla="*/ 3945 w 10000"/>
              <a:gd name="connsiteY42" fmla="*/ 9831 h 10000"/>
              <a:gd name="connsiteX43" fmla="*/ 3670 w 10000"/>
              <a:gd name="connsiteY43" fmla="*/ 9719 h 10000"/>
              <a:gd name="connsiteX44" fmla="*/ 3578 w 10000"/>
              <a:gd name="connsiteY44" fmla="*/ 9494 h 10000"/>
              <a:gd name="connsiteX45" fmla="*/ 3211 w 10000"/>
              <a:gd name="connsiteY45" fmla="*/ 9382 h 10000"/>
              <a:gd name="connsiteX46" fmla="*/ 2844 w 10000"/>
              <a:gd name="connsiteY46" fmla="*/ 9157 h 10000"/>
              <a:gd name="connsiteX47" fmla="*/ 2661 w 10000"/>
              <a:gd name="connsiteY47" fmla="*/ 9045 h 10000"/>
              <a:gd name="connsiteX48" fmla="*/ 2569 w 10000"/>
              <a:gd name="connsiteY48" fmla="*/ 8820 h 10000"/>
              <a:gd name="connsiteX49" fmla="*/ 2569 w 10000"/>
              <a:gd name="connsiteY49" fmla="*/ 8202 h 10000"/>
              <a:gd name="connsiteX0" fmla="*/ 7339 w 10000"/>
              <a:gd name="connsiteY0" fmla="*/ 5730 h 10000"/>
              <a:gd name="connsiteX1" fmla="*/ 7339 w 10000"/>
              <a:gd name="connsiteY1" fmla="*/ 5730 h 10000"/>
              <a:gd name="connsiteX2" fmla="*/ 7890 w 10000"/>
              <a:gd name="connsiteY2" fmla="*/ 5506 h 10000"/>
              <a:gd name="connsiteX3" fmla="*/ 8440 w 10000"/>
              <a:gd name="connsiteY3" fmla="*/ 5281 h 10000"/>
              <a:gd name="connsiteX4" fmla="*/ 10000 w 10000"/>
              <a:gd name="connsiteY4" fmla="*/ 2978 h 10000"/>
              <a:gd name="connsiteX5" fmla="*/ 9908 w 10000"/>
              <a:gd name="connsiteY5" fmla="*/ 2360 h 10000"/>
              <a:gd name="connsiteX6" fmla="*/ 9541 w 10000"/>
              <a:gd name="connsiteY6" fmla="*/ 1854 h 10000"/>
              <a:gd name="connsiteX7" fmla="*/ 9174 w 10000"/>
              <a:gd name="connsiteY7" fmla="*/ 1292 h 10000"/>
              <a:gd name="connsiteX8" fmla="*/ 8440 w 10000"/>
              <a:gd name="connsiteY8" fmla="*/ 843 h 10000"/>
              <a:gd name="connsiteX9" fmla="*/ 7798 w 10000"/>
              <a:gd name="connsiteY9" fmla="*/ 449 h 10000"/>
              <a:gd name="connsiteX10" fmla="*/ 6881 w 10000"/>
              <a:gd name="connsiteY10" fmla="*/ 169 h 10000"/>
              <a:gd name="connsiteX11" fmla="*/ 5963 w 10000"/>
              <a:gd name="connsiteY11" fmla="*/ 0 h 10000"/>
              <a:gd name="connsiteX12" fmla="*/ 4954 w 10000"/>
              <a:gd name="connsiteY12" fmla="*/ 0 h 10000"/>
              <a:gd name="connsiteX13" fmla="*/ 3945 w 10000"/>
              <a:gd name="connsiteY13" fmla="*/ 0 h 10000"/>
              <a:gd name="connsiteX14" fmla="*/ 2936 w 10000"/>
              <a:gd name="connsiteY14" fmla="*/ 169 h 10000"/>
              <a:gd name="connsiteX15" fmla="*/ 2202 w 10000"/>
              <a:gd name="connsiteY15" fmla="*/ 449 h 10000"/>
              <a:gd name="connsiteX16" fmla="*/ 1376 w 10000"/>
              <a:gd name="connsiteY16" fmla="*/ 843 h 10000"/>
              <a:gd name="connsiteX17" fmla="*/ 826 w 10000"/>
              <a:gd name="connsiteY17" fmla="*/ 1292 h 10000"/>
              <a:gd name="connsiteX18" fmla="*/ 275 w 10000"/>
              <a:gd name="connsiteY18" fmla="*/ 1854 h 10000"/>
              <a:gd name="connsiteX19" fmla="*/ 92 w 10000"/>
              <a:gd name="connsiteY19" fmla="*/ 2360 h 10000"/>
              <a:gd name="connsiteX20" fmla="*/ 0 w 10000"/>
              <a:gd name="connsiteY20" fmla="*/ 2978 h 10000"/>
              <a:gd name="connsiteX21" fmla="*/ 0 w 10000"/>
              <a:gd name="connsiteY21" fmla="*/ 3483 h 10000"/>
              <a:gd name="connsiteX22" fmla="*/ 183 w 10000"/>
              <a:gd name="connsiteY22" fmla="*/ 3876 h 10000"/>
              <a:gd name="connsiteX23" fmla="*/ 367 w 10000"/>
              <a:gd name="connsiteY23" fmla="*/ 4213 h 10000"/>
              <a:gd name="connsiteX24" fmla="*/ 642 w 10000"/>
              <a:gd name="connsiteY24" fmla="*/ 4663 h 10000"/>
              <a:gd name="connsiteX25" fmla="*/ 1101 w 10000"/>
              <a:gd name="connsiteY25" fmla="*/ 4888 h 10000"/>
              <a:gd name="connsiteX26" fmla="*/ 1560 w 10000"/>
              <a:gd name="connsiteY26" fmla="*/ 5281 h 10000"/>
              <a:gd name="connsiteX27" fmla="*/ 1927 w 10000"/>
              <a:gd name="connsiteY27" fmla="*/ 5506 h 10000"/>
              <a:gd name="connsiteX28" fmla="*/ 2569 w 10000"/>
              <a:gd name="connsiteY28" fmla="*/ 5730 h 10000"/>
              <a:gd name="connsiteX29" fmla="*/ 2569 w 10000"/>
              <a:gd name="connsiteY29" fmla="*/ 7191 h 10000"/>
              <a:gd name="connsiteX30" fmla="*/ 7339 w 10000"/>
              <a:gd name="connsiteY30" fmla="*/ 7191 h 10000"/>
              <a:gd name="connsiteX31" fmla="*/ 7339 w 10000"/>
              <a:gd name="connsiteY31" fmla="*/ 8820 h 10000"/>
              <a:gd name="connsiteX32" fmla="*/ 7248 w 10000"/>
              <a:gd name="connsiteY32" fmla="*/ 9045 h 10000"/>
              <a:gd name="connsiteX33" fmla="*/ 7156 w 10000"/>
              <a:gd name="connsiteY33" fmla="*/ 9157 h 10000"/>
              <a:gd name="connsiteX34" fmla="*/ 6789 w 10000"/>
              <a:gd name="connsiteY34" fmla="*/ 9382 h 10000"/>
              <a:gd name="connsiteX35" fmla="*/ 6330 w 10000"/>
              <a:gd name="connsiteY35" fmla="*/ 9494 h 10000"/>
              <a:gd name="connsiteX36" fmla="*/ 6239 w 10000"/>
              <a:gd name="connsiteY36" fmla="*/ 9719 h 10000"/>
              <a:gd name="connsiteX37" fmla="*/ 5872 w 10000"/>
              <a:gd name="connsiteY37" fmla="*/ 9831 h 10000"/>
              <a:gd name="connsiteX38" fmla="*/ 5596 w 10000"/>
              <a:gd name="connsiteY38" fmla="*/ 10000 h 10000"/>
              <a:gd name="connsiteX39" fmla="*/ 4954 w 10000"/>
              <a:gd name="connsiteY39" fmla="*/ 10000 h 10000"/>
              <a:gd name="connsiteX40" fmla="*/ 4404 w 10000"/>
              <a:gd name="connsiteY40" fmla="*/ 10000 h 10000"/>
              <a:gd name="connsiteX41" fmla="*/ 3945 w 10000"/>
              <a:gd name="connsiteY41" fmla="*/ 9831 h 10000"/>
              <a:gd name="connsiteX42" fmla="*/ 3670 w 10000"/>
              <a:gd name="connsiteY42" fmla="*/ 9719 h 10000"/>
              <a:gd name="connsiteX43" fmla="*/ 3578 w 10000"/>
              <a:gd name="connsiteY43" fmla="*/ 9494 h 10000"/>
              <a:gd name="connsiteX44" fmla="*/ 3211 w 10000"/>
              <a:gd name="connsiteY44" fmla="*/ 9382 h 10000"/>
              <a:gd name="connsiteX45" fmla="*/ 2844 w 10000"/>
              <a:gd name="connsiteY45" fmla="*/ 9157 h 10000"/>
              <a:gd name="connsiteX46" fmla="*/ 2661 w 10000"/>
              <a:gd name="connsiteY46" fmla="*/ 9045 h 10000"/>
              <a:gd name="connsiteX47" fmla="*/ 2569 w 10000"/>
              <a:gd name="connsiteY47" fmla="*/ 8820 h 10000"/>
              <a:gd name="connsiteX48" fmla="*/ 2569 w 10000"/>
              <a:gd name="connsiteY48" fmla="*/ 8202 h 10000"/>
              <a:gd name="connsiteX0" fmla="*/ 7339 w 10000"/>
              <a:gd name="connsiteY0" fmla="*/ 5730 h 10000"/>
              <a:gd name="connsiteX1" fmla="*/ 7339 w 10000"/>
              <a:gd name="connsiteY1" fmla="*/ 5730 h 10000"/>
              <a:gd name="connsiteX2" fmla="*/ 7890 w 10000"/>
              <a:gd name="connsiteY2" fmla="*/ 5506 h 10000"/>
              <a:gd name="connsiteX3" fmla="*/ 10000 w 10000"/>
              <a:gd name="connsiteY3" fmla="*/ 2978 h 10000"/>
              <a:gd name="connsiteX4" fmla="*/ 9908 w 10000"/>
              <a:gd name="connsiteY4" fmla="*/ 2360 h 10000"/>
              <a:gd name="connsiteX5" fmla="*/ 9541 w 10000"/>
              <a:gd name="connsiteY5" fmla="*/ 1854 h 10000"/>
              <a:gd name="connsiteX6" fmla="*/ 9174 w 10000"/>
              <a:gd name="connsiteY6" fmla="*/ 1292 h 10000"/>
              <a:gd name="connsiteX7" fmla="*/ 8440 w 10000"/>
              <a:gd name="connsiteY7" fmla="*/ 843 h 10000"/>
              <a:gd name="connsiteX8" fmla="*/ 7798 w 10000"/>
              <a:gd name="connsiteY8" fmla="*/ 449 h 10000"/>
              <a:gd name="connsiteX9" fmla="*/ 6881 w 10000"/>
              <a:gd name="connsiteY9" fmla="*/ 169 h 10000"/>
              <a:gd name="connsiteX10" fmla="*/ 5963 w 10000"/>
              <a:gd name="connsiteY10" fmla="*/ 0 h 10000"/>
              <a:gd name="connsiteX11" fmla="*/ 4954 w 10000"/>
              <a:gd name="connsiteY11" fmla="*/ 0 h 10000"/>
              <a:gd name="connsiteX12" fmla="*/ 3945 w 10000"/>
              <a:gd name="connsiteY12" fmla="*/ 0 h 10000"/>
              <a:gd name="connsiteX13" fmla="*/ 2936 w 10000"/>
              <a:gd name="connsiteY13" fmla="*/ 169 h 10000"/>
              <a:gd name="connsiteX14" fmla="*/ 2202 w 10000"/>
              <a:gd name="connsiteY14" fmla="*/ 449 h 10000"/>
              <a:gd name="connsiteX15" fmla="*/ 1376 w 10000"/>
              <a:gd name="connsiteY15" fmla="*/ 843 h 10000"/>
              <a:gd name="connsiteX16" fmla="*/ 826 w 10000"/>
              <a:gd name="connsiteY16" fmla="*/ 1292 h 10000"/>
              <a:gd name="connsiteX17" fmla="*/ 275 w 10000"/>
              <a:gd name="connsiteY17" fmla="*/ 1854 h 10000"/>
              <a:gd name="connsiteX18" fmla="*/ 92 w 10000"/>
              <a:gd name="connsiteY18" fmla="*/ 2360 h 10000"/>
              <a:gd name="connsiteX19" fmla="*/ 0 w 10000"/>
              <a:gd name="connsiteY19" fmla="*/ 2978 h 10000"/>
              <a:gd name="connsiteX20" fmla="*/ 0 w 10000"/>
              <a:gd name="connsiteY20" fmla="*/ 3483 h 10000"/>
              <a:gd name="connsiteX21" fmla="*/ 183 w 10000"/>
              <a:gd name="connsiteY21" fmla="*/ 3876 h 10000"/>
              <a:gd name="connsiteX22" fmla="*/ 367 w 10000"/>
              <a:gd name="connsiteY22" fmla="*/ 4213 h 10000"/>
              <a:gd name="connsiteX23" fmla="*/ 642 w 10000"/>
              <a:gd name="connsiteY23" fmla="*/ 4663 h 10000"/>
              <a:gd name="connsiteX24" fmla="*/ 1101 w 10000"/>
              <a:gd name="connsiteY24" fmla="*/ 4888 h 10000"/>
              <a:gd name="connsiteX25" fmla="*/ 1560 w 10000"/>
              <a:gd name="connsiteY25" fmla="*/ 5281 h 10000"/>
              <a:gd name="connsiteX26" fmla="*/ 1927 w 10000"/>
              <a:gd name="connsiteY26" fmla="*/ 5506 h 10000"/>
              <a:gd name="connsiteX27" fmla="*/ 2569 w 10000"/>
              <a:gd name="connsiteY27" fmla="*/ 5730 h 10000"/>
              <a:gd name="connsiteX28" fmla="*/ 2569 w 10000"/>
              <a:gd name="connsiteY28" fmla="*/ 7191 h 10000"/>
              <a:gd name="connsiteX29" fmla="*/ 7339 w 10000"/>
              <a:gd name="connsiteY29" fmla="*/ 7191 h 10000"/>
              <a:gd name="connsiteX30" fmla="*/ 7339 w 10000"/>
              <a:gd name="connsiteY30" fmla="*/ 8820 h 10000"/>
              <a:gd name="connsiteX31" fmla="*/ 7248 w 10000"/>
              <a:gd name="connsiteY31" fmla="*/ 9045 h 10000"/>
              <a:gd name="connsiteX32" fmla="*/ 7156 w 10000"/>
              <a:gd name="connsiteY32" fmla="*/ 9157 h 10000"/>
              <a:gd name="connsiteX33" fmla="*/ 6789 w 10000"/>
              <a:gd name="connsiteY33" fmla="*/ 9382 h 10000"/>
              <a:gd name="connsiteX34" fmla="*/ 6330 w 10000"/>
              <a:gd name="connsiteY34" fmla="*/ 9494 h 10000"/>
              <a:gd name="connsiteX35" fmla="*/ 6239 w 10000"/>
              <a:gd name="connsiteY35" fmla="*/ 9719 h 10000"/>
              <a:gd name="connsiteX36" fmla="*/ 5872 w 10000"/>
              <a:gd name="connsiteY36" fmla="*/ 9831 h 10000"/>
              <a:gd name="connsiteX37" fmla="*/ 5596 w 10000"/>
              <a:gd name="connsiteY37" fmla="*/ 10000 h 10000"/>
              <a:gd name="connsiteX38" fmla="*/ 4954 w 10000"/>
              <a:gd name="connsiteY38" fmla="*/ 10000 h 10000"/>
              <a:gd name="connsiteX39" fmla="*/ 4404 w 10000"/>
              <a:gd name="connsiteY39" fmla="*/ 10000 h 10000"/>
              <a:gd name="connsiteX40" fmla="*/ 3945 w 10000"/>
              <a:gd name="connsiteY40" fmla="*/ 9831 h 10000"/>
              <a:gd name="connsiteX41" fmla="*/ 3670 w 10000"/>
              <a:gd name="connsiteY41" fmla="*/ 9719 h 10000"/>
              <a:gd name="connsiteX42" fmla="*/ 3578 w 10000"/>
              <a:gd name="connsiteY42" fmla="*/ 9494 h 10000"/>
              <a:gd name="connsiteX43" fmla="*/ 3211 w 10000"/>
              <a:gd name="connsiteY43" fmla="*/ 9382 h 10000"/>
              <a:gd name="connsiteX44" fmla="*/ 2844 w 10000"/>
              <a:gd name="connsiteY44" fmla="*/ 9157 h 10000"/>
              <a:gd name="connsiteX45" fmla="*/ 2661 w 10000"/>
              <a:gd name="connsiteY45" fmla="*/ 9045 h 10000"/>
              <a:gd name="connsiteX46" fmla="*/ 2569 w 10000"/>
              <a:gd name="connsiteY46" fmla="*/ 8820 h 10000"/>
              <a:gd name="connsiteX47" fmla="*/ 2569 w 10000"/>
              <a:gd name="connsiteY47" fmla="*/ 8202 h 10000"/>
              <a:gd name="connsiteX0" fmla="*/ 7339 w 10000"/>
              <a:gd name="connsiteY0" fmla="*/ 5730 h 10000"/>
              <a:gd name="connsiteX1" fmla="*/ 7339 w 10000"/>
              <a:gd name="connsiteY1" fmla="*/ 5730 h 10000"/>
              <a:gd name="connsiteX2" fmla="*/ 10000 w 10000"/>
              <a:gd name="connsiteY2" fmla="*/ 2978 h 10000"/>
              <a:gd name="connsiteX3" fmla="*/ 9908 w 10000"/>
              <a:gd name="connsiteY3" fmla="*/ 2360 h 10000"/>
              <a:gd name="connsiteX4" fmla="*/ 9541 w 10000"/>
              <a:gd name="connsiteY4" fmla="*/ 1854 h 10000"/>
              <a:gd name="connsiteX5" fmla="*/ 9174 w 10000"/>
              <a:gd name="connsiteY5" fmla="*/ 1292 h 10000"/>
              <a:gd name="connsiteX6" fmla="*/ 8440 w 10000"/>
              <a:gd name="connsiteY6" fmla="*/ 843 h 10000"/>
              <a:gd name="connsiteX7" fmla="*/ 7798 w 10000"/>
              <a:gd name="connsiteY7" fmla="*/ 449 h 10000"/>
              <a:gd name="connsiteX8" fmla="*/ 6881 w 10000"/>
              <a:gd name="connsiteY8" fmla="*/ 169 h 10000"/>
              <a:gd name="connsiteX9" fmla="*/ 5963 w 10000"/>
              <a:gd name="connsiteY9" fmla="*/ 0 h 10000"/>
              <a:gd name="connsiteX10" fmla="*/ 4954 w 10000"/>
              <a:gd name="connsiteY10" fmla="*/ 0 h 10000"/>
              <a:gd name="connsiteX11" fmla="*/ 3945 w 10000"/>
              <a:gd name="connsiteY11" fmla="*/ 0 h 10000"/>
              <a:gd name="connsiteX12" fmla="*/ 2936 w 10000"/>
              <a:gd name="connsiteY12" fmla="*/ 169 h 10000"/>
              <a:gd name="connsiteX13" fmla="*/ 2202 w 10000"/>
              <a:gd name="connsiteY13" fmla="*/ 449 h 10000"/>
              <a:gd name="connsiteX14" fmla="*/ 1376 w 10000"/>
              <a:gd name="connsiteY14" fmla="*/ 843 h 10000"/>
              <a:gd name="connsiteX15" fmla="*/ 826 w 10000"/>
              <a:gd name="connsiteY15" fmla="*/ 1292 h 10000"/>
              <a:gd name="connsiteX16" fmla="*/ 275 w 10000"/>
              <a:gd name="connsiteY16" fmla="*/ 1854 h 10000"/>
              <a:gd name="connsiteX17" fmla="*/ 92 w 10000"/>
              <a:gd name="connsiteY17" fmla="*/ 2360 h 10000"/>
              <a:gd name="connsiteX18" fmla="*/ 0 w 10000"/>
              <a:gd name="connsiteY18" fmla="*/ 2978 h 10000"/>
              <a:gd name="connsiteX19" fmla="*/ 0 w 10000"/>
              <a:gd name="connsiteY19" fmla="*/ 3483 h 10000"/>
              <a:gd name="connsiteX20" fmla="*/ 183 w 10000"/>
              <a:gd name="connsiteY20" fmla="*/ 3876 h 10000"/>
              <a:gd name="connsiteX21" fmla="*/ 367 w 10000"/>
              <a:gd name="connsiteY21" fmla="*/ 4213 h 10000"/>
              <a:gd name="connsiteX22" fmla="*/ 642 w 10000"/>
              <a:gd name="connsiteY22" fmla="*/ 4663 h 10000"/>
              <a:gd name="connsiteX23" fmla="*/ 1101 w 10000"/>
              <a:gd name="connsiteY23" fmla="*/ 4888 h 10000"/>
              <a:gd name="connsiteX24" fmla="*/ 1560 w 10000"/>
              <a:gd name="connsiteY24" fmla="*/ 5281 h 10000"/>
              <a:gd name="connsiteX25" fmla="*/ 1927 w 10000"/>
              <a:gd name="connsiteY25" fmla="*/ 5506 h 10000"/>
              <a:gd name="connsiteX26" fmla="*/ 2569 w 10000"/>
              <a:gd name="connsiteY26" fmla="*/ 5730 h 10000"/>
              <a:gd name="connsiteX27" fmla="*/ 2569 w 10000"/>
              <a:gd name="connsiteY27" fmla="*/ 7191 h 10000"/>
              <a:gd name="connsiteX28" fmla="*/ 7339 w 10000"/>
              <a:gd name="connsiteY28" fmla="*/ 7191 h 10000"/>
              <a:gd name="connsiteX29" fmla="*/ 7339 w 10000"/>
              <a:gd name="connsiteY29" fmla="*/ 8820 h 10000"/>
              <a:gd name="connsiteX30" fmla="*/ 7248 w 10000"/>
              <a:gd name="connsiteY30" fmla="*/ 9045 h 10000"/>
              <a:gd name="connsiteX31" fmla="*/ 7156 w 10000"/>
              <a:gd name="connsiteY31" fmla="*/ 9157 h 10000"/>
              <a:gd name="connsiteX32" fmla="*/ 6789 w 10000"/>
              <a:gd name="connsiteY32" fmla="*/ 9382 h 10000"/>
              <a:gd name="connsiteX33" fmla="*/ 6330 w 10000"/>
              <a:gd name="connsiteY33" fmla="*/ 9494 h 10000"/>
              <a:gd name="connsiteX34" fmla="*/ 6239 w 10000"/>
              <a:gd name="connsiteY34" fmla="*/ 9719 h 10000"/>
              <a:gd name="connsiteX35" fmla="*/ 5872 w 10000"/>
              <a:gd name="connsiteY35" fmla="*/ 9831 h 10000"/>
              <a:gd name="connsiteX36" fmla="*/ 5596 w 10000"/>
              <a:gd name="connsiteY36" fmla="*/ 10000 h 10000"/>
              <a:gd name="connsiteX37" fmla="*/ 4954 w 10000"/>
              <a:gd name="connsiteY37" fmla="*/ 10000 h 10000"/>
              <a:gd name="connsiteX38" fmla="*/ 4404 w 10000"/>
              <a:gd name="connsiteY38" fmla="*/ 10000 h 10000"/>
              <a:gd name="connsiteX39" fmla="*/ 3945 w 10000"/>
              <a:gd name="connsiteY39" fmla="*/ 9831 h 10000"/>
              <a:gd name="connsiteX40" fmla="*/ 3670 w 10000"/>
              <a:gd name="connsiteY40" fmla="*/ 9719 h 10000"/>
              <a:gd name="connsiteX41" fmla="*/ 3578 w 10000"/>
              <a:gd name="connsiteY41" fmla="*/ 9494 h 10000"/>
              <a:gd name="connsiteX42" fmla="*/ 3211 w 10000"/>
              <a:gd name="connsiteY42" fmla="*/ 9382 h 10000"/>
              <a:gd name="connsiteX43" fmla="*/ 2844 w 10000"/>
              <a:gd name="connsiteY43" fmla="*/ 9157 h 10000"/>
              <a:gd name="connsiteX44" fmla="*/ 2661 w 10000"/>
              <a:gd name="connsiteY44" fmla="*/ 9045 h 10000"/>
              <a:gd name="connsiteX45" fmla="*/ 2569 w 10000"/>
              <a:gd name="connsiteY45" fmla="*/ 8820 h 10000"/>
              <a:gd name="connsiteX46" fmla="*/ 2569 w 10000"/>
              <a:gd name="connsiteY46" fmla="*/ 8202 h 10000"/>
              <a:gd name="connsiteX0" fmla="*/ 7339 w 12281"/>
              <a:gd name="connsiteY0" fmla="*/ 5730 h 10000"/>
              <a:gd name="connsiteX1" fmla="*/ 12281 w 12281"/>
              <a:gd name="connsiteY1" fmla="*/ 5033 h 10000"/>
              <a:gd name="connsiteX2" fmla="*/ 10000 w 12281"/>
              <a:gd name="connsiteY2" fmla="*/ 2978 h 10000"/>
              <a:gd name="connsiteX3" fmla="*/ 9908 w 12281"/>
              <a:gd name="connsiteY3" fmla="*/ 2360 h 10000"/>
              <a:gd name="connsiteX4" fmla="*/ 9541 w 12281"/>
              <a:gd name="connsiteY4" fmla="*/ 1854 h 10000"/>
              <a:gd name="connsiteX5" fmla="*/ 9174 w 12281"/>
              <a:gd name="connsiteY5" fmla="*/ 1292 h 10000"/>
              <a:gd name="connsiteX6" fmla="*/ 8440 w 12281"/>
              <a:gd name="connsiteY6" fmla="*/ 843 h 10000"/>
              <a:gd name="connsiteX7" fmla="*/ 7798 w 12281"/>
              <a:gd name="connsiteY7" fmla="*/ 449 h 10000"/>
              <a:gd name="connsiteX8" fmla="*/ 6881 w 12281"/>
              <a:gd name="connsiteY8" fmla="*/ 169 h 10000"/>
              <a:gd name="connsiteX9" fmla="*/ 5963 w 12281"/>
              <a:gd name="connsiteY9" fmla="*/ 0 h 10000"/>
              <a:gd name="connsiteX10" fmla="*/ 4954 w 12281"/>
              <a:gd name="connsiteY10" fmla="*/ 0 h 10000"/>
              <a:gd name="connsiteX11" fmla="*/ 3945 w 12281"/>
              <a:gd name="connsiteY11" fmla="*/ 0 h 10000"/>
              <a:gd name="connsiteX12" fmla="*/ 2936 w 12281"/>
              <a:gd name="connsiteY12" fmla="*/ 169 h 10000"/>
              <a:gd name="connsiteX13" fmla="*/ 2202 w 12281"/>
              <a:gd name="connsiteY13" fmla="*/ 449 h 10000"/>
              <a:gd name="connsiteX14" fmla="*/ 1376 w 12281"/>
              <a:gd name="connsiteY14" fmla="*/ 843 h 10000"/>
              <a:gd name="connsiteX15" fmla="*/ 826 w 12281"/>
              <a:gd name="connsiteY15" fmla="*/ 1292 h 10000"/>
              <a:gd name="connsiteX16" fmla="*/ 275 w 12281"/>
              <a:gd name="connsiteY16" fmla="*/ 1854 h 10000"/>
              <a:gd name="connsiteX17" fmla="*/ 92 w 12281"/>
              <a:gd name="connsiteY17" fmla="*/ 2360 h 10000"/>
              <a:gd name="connsiteX18" fmla="*/ 0 w 12281"/>
              <a:gd name="connsiteY18" fmla="*/ 2978 h 10000"/>
              <a:gd name="connsiteX19" fmla="*/ 0 w 12281"/>
              <a:gd name="connsiteY19" fmla="*/ 3483 h 10000"/>
              <a:gd name="connsiteX20" fmla="*/ 183 w 12281"/>
              <a:gd name="connsiteY20" fmla="*/ 3876 h 10000"/>
              <a:gd name="connsiteX21" fmla="*/ 367 w 12281"/>
              <a:gd name="connsiteY21" fmla="*/ 4213 h 10000"/>
              <a:gd name="connsiteX22" fmla="*/ 642 w 12281"/>
              <a:gd name="connsiteY22" fmla="*/ 4663 h 10000"/>
              <a:gd name="connsiteX23" fmla="*/ 1101 w 12281"/>
              <a:gd name="connsiteY23" fmla="*/ 4888 h 10000"/>
              <a:gd name="connsiteX24" fmla="*/ 1560 w 12281"/>
              <a:gd name="connsiteY24" fmla="*/ 5281 h 10000"/>
              <a:gd name="connsiteX25" fmla="*/ 1927 w 12281"/>
              <a:gd name="connsiteY25" fmla="*/ 5506 h 10000"/>
              <a:gd name="connsiteX26" fmla="*/ 2569 w 12281"/>
              <a:gd name="connsiteY26" fmla="*/ 5730 h 10000"/>
              <a:gd name="connsiteX27" fmla="*/ 2569 w 12281"/>
              <a:gd name="connsiteY27" fmla="*/ 7191 h 10000"/>
              <a:gd name="connsiteX28" fmla="*/ 7339 w 12281"/>
              <a:gd name="connsiteY28" fmla="*/ 7191 h 10000"/>
              <a:gd name="connsiteX29" fmla="*/ 7339 w 12281"/>
              <a:gd name="connsiteY29" fmla="*/ 8820 h 10000"/>
              <a:gd name="connsiteX30" fmla="*/ 7248 w 12281"/>
              <a:gd name="connsiteY30" fmla="*/ 9045 h 10000"/>
              <a:gd name="connsiteX31" fmla="*/ 7156 w 12281"/>
              <a:gd name="connsiteY31" fmla="*/ 9157 h 10000"/>
              <a:gd name="connsiteX32" fmla="*/ 6789 w 12281"/>
              <a:gd name="connsiteY32" fmla="*/ 9382 h 10000"/>
              <a:gd name="connsiteX33" fmla="*/ 6330 w 12281"/>
              <a:gd name="connsiteY33" fmla="*/ 9494 h 10000"/>
              <a:gd name="connsiteX34" fmla="*/ 6239 w 12281"/>
              <a:gd name="connsiteY34" fmla="*/ 9719 h 10000"/>
              <a:gd name="connsiteX35" fmla="*/ 5872 w 12281"/>
              <a:gd name="connsiteY35" fmla="*/ 9831 h 10000"/>
              <a:gd name="connsiteX36" fmla="*/ 5596 w 12281"/>
              <a:gd name="connsiteY36" fmla="*/ 10000 h 10000"/>
              <a:gd name="connsiteX37" fmla="*/ 4954 w 12281"/>
              <a:gd name="connsiteY37" fmla="*/ 10000 h 10000"/>
              <a:gd name="connsiteX38" fmla="*/ 4404 w 12281"/>
              <a:gd name="connsiteY38" fmla="*/ 10000 h 10000"/>
              <a:gd name="connsiteX39" fmla="*/ 3945 w 12281"/>
              <a:gd name="connsiteY39" fmla="*/ 9831 h 10000"/>
              <a:gd name="connsiteX40" fmla="*/ 3670 w 12281"/>
              <a:gd name="connsiteY40" fmla="*/ 9719 h 10000"/>
              <a:gd name="connsiteX41" fmla="*/ 3578 w 12281"/>
              <a:gd name="connsiteY41" fmla="*/ 9494 h 10000"/>
              <a:gd name="connsiteX42" fmla="*/ 3211 w 12281"/>
              <a:gd name="connsiteY42" fmla="*/ 9382 h 10000"/>
              <a:gd name="connsiteX43" fmla="*/ 2844 w 12281"/>
              <a:gd name="connsiteY43" fmla="*/ 9157 h 10000"/>
              <a:gd name="connsiteX44" fmla="*/ 2661 w 12281"/>
              <a:gd name="connsiteY44" fmla="*/ 9045 h 10000"/>
              <a:gd name="connsiteX45" fmla="*/ 2569 w 12281"/>
              <a:gd name="connsiteY45" fmla="*/ 8820 h 10000"/>
              <a:gd name="connsiteX46" fmla="*/ 2569 w 12281"/>
              <a:gd name="connsiteY46" fmla="*/ 8202 h 10000"/>
              <a:gd name="connsiteX0" fmla="*/ 7339 w 12337"/>
              <a:gd name="connsiteY0" fmla="*/ 5730 h 10000"/>
              <a:gd name="connsiteX1" fmla="*/ 12281 w 12337"/>
              <a:gd name="connsiteY1" fmla="*/ 5033 h 10000"/>
              <a:gd name="connsiteX2" fmla="*/ 10000 w 12337"/>
              <a:gd name="connsiteY2" fmla="*/ 2978 h 10000"/>
              <a:gd name="connsiteX3" fmla="*/ 9908 w 12337"/>
              <a:gd name="connsiteY3" fmla="*/ 2360 h 10000"/>
              <a:gd name="connsiteX4" fmla="*/ 9541 w 12337"/>
              <a:gd name="connsiteY4" fmla="*/ 1854 h 10000"/>
              <a:gd name="connsiteX5" fmla="*/ 9174 w 12337"/>
              <a:gd name="connsiteY5" fmla="*/ 1292 h 10000"/>
              <a:gd name="connsiteX6" fmla="*/ 8440 w 12337"/>
              <a:gd name="connsiteY6" fmla="*/ 843 h 10000"/>
              <a:gd name="connsiteX7" fmla="*/ 7798 w 12337"/>
              <a:gd name="connsiteY7" fmla="*/ 449 h 10000"/>
              <a:gd name="connsiteX8" fmla="*/ 6881 w 12337"/>
              <a:gd name="connsiteY8" fmla="*/ 169 h 10000"/>
              <a:gd name="connsiteX9" fmla="*/ 5963 w 12337"/>
              <a:gd name="connsiteY9" fmla="*/ 0 h 10000"/>
              <a:gd name="connsiteX10" fmla="*/ 4954 w 12337"/>
              <a:gd name="connsiteY10" fmla="*/ 0 h 10000"/>
              <a:gd name="connsiteX11" fmla="*/ 3945 w 12337"/>
              <a:gd name="connsiteY11" fmla="*/ 0 h 10000"/>
              <a:gd name="connsiteX12" fmla="*/ 2936 w 12337"/>
              <a:gd name="connsiteY12" fmla="*/ 169 h 10000"/>
              <a:gd name="connsiteX13" fmla="*/ 2202 w 12337"/>
              <a:gd name="connsiteY13" fmla="*/ 449 h 10000"/>
              <a:gd name="connsiteX14" fmla="*/ 1376 w 12337"/>
              <a:gd name="connsiteY14" fmla="*/ 843 h 10000"/>
              <a:gd name="connsiteX15" fmla="*/ 826 w 12337"/>
              <a:gd name="connsiteY15" fmla="*/ 1292 h 10000"/>
              <a:gd name="connsiteX16" fmla="*/ 275 w 12337"/>
              <a:gd name="connsiteY16" fmla="*/ 1854 h 10000"/>
              <a:gd name="connsiteX17" fmla="*/ 92 w 12337"/>
              <a:gd name="connsiteY17" fmla="*/ 2360 h 10000"/>
              <a:gd name="connsiteX18" fmla="*/ 0 w 12337"/>
              <a:gd name="connsiteY18" fmla="*/ 2978 h 10000"/>
              <a:gd name="connsiteX19" fmla="*/ 0 w 12337"/>
              <a:gd name="connsiteY19" fmla="*/ 3483 h 10000"/>
              <a:gd name="connsiteX20" fmla="*/ 183 w 12337"/>
              <a:gd name="connsiteY20" fmla="*/ 3876 h 10000"/>
              <a:gd name="connsiteX21" fmla="*/ 367 w 12337"/>
              <a:gd name="connsiteY21" fmla="*/ 4213 h 10000"/>
              <a:gd name="connsiteX22" fmla="*/ 642 w 12337"/>
              <a:gd name="connsiteY22" fmla="*/ 4663 h 10000"/>
              <a:gd name="connsiteX23" fmla="*/ 1101 w 12337"/>
              <a:gd name="connsiteY23" fmla="*/ 4888 h 10000"/>
              <a:gd name="connsiteX24" fmla="*/ 1560 w 12337"/>
              <a:gd name="connsiteY24" fmla="*/ 5281 h 10000"/>
              <a:gd name="connsiteX25" fmla="*/ 1927 w 12337"/>
              <a:gd name="connsiteY25" fmla="*/ 5506 h 10000"/>
              <a:gd name="connsiteX26" fmla="*/ 2569 w 12337"/>
              <a:gd name="connsiteY26" fmla="*/ 5730 h 10000"/>
              <a:gd name="connsiteX27" fmla="*/ 2569 w 12337"/>
              <a:gd name="connsiteY27" fmla="*/ 7191 h 10000"/>
              <a:gd name="connsiteX28" fmla="*/ 7339 w 12337"/>
              <a:gd name="connsiteY28" fmla="*/ 7191 h 10000"/>
              <a:gd name="connsiteX29" fmla="*/ 7339 w 12337"/>
              <a:gd name="connsiteY29" fmla="*/ 8820 h 10000"/>
              <a:gd name="connsiteX30" fmla="*/ 7248 w 12337"/>
              <a:gd name="connsiteY30" fmla="*/ 9045 h 10000"/>
              <a:gd name="connsiteX31" fmla="*/ 7156 w 12337"/>
              <a:gd name="connsiteY31" fmla="*/ 9157 h 10000"/>
              <a:gd name="connsiteX32" fmla="*/ 6789 w 12337"/>
              <a:gd name="connsiteY32" fmla="*/ 9382 h 10000"/>
              <a:gd name="connsiteX33" fmla="*/ 6330 w 12337"/>
              <a:gd name="connsiteY33" fmla="*/ 9494 h 10000"/>
              <a:gd name="connsiteX34" fmla="*/ 6239 w 12337"/>
              <a:gd name="connsiteY34" fmla="*/ 9719 h 10000"/>
              <a:gd name="connsiteX35" fmla="*/ 5872 w 12337"/>
              <a:gd name="connsiteY35" fmla="*/ 9831 h 10000"/>
              <a:gd name="connsiteX36" fmla="*/ 5596 w 12337"/>
              <a:gd name="connsiteY36" fmla="*/ 10000 h 10000"/>
              <a:gd name="connsiteX37" fmla="*/ 4954 w 12337"/>
              <a:gd name="connsiteY37" fmla="*/ 10000 h 10000"/>
              <a:gd name="connsiteX38" fmla="*/ 4404 w 12337"/>
              <a:gd name="connsiteY38" fmla="*/ 10000 h 10000"/>
              <a:gd name="connsiteX39" fmla="*/ 3945 w 12337"/>
              <a:gd name="connsiteY39" fmla="*/ 9831 h 10000"/>
              <a:gd name="connsiteX40" fmla="*/ 3670 w 12337"/>
              <a:gd name="connsiteY40" fmla="*/ 9719 h 10000"/>
              <a:gd name="connsiteX41" fmla="*/ 3578 w 12337"/>
              <a:gd name="connsiteY41" fmla="*/ 9494 h 10000"/>
              <a:gd name="connsiteX42" fmla="*/ 3211 w 12337"/>
              <a:gd name="connsiteY42" fmla="*/ 9382 h 10000"/>
              <a:gd name="connsiteX43" fmla="*/ 2844 w 12337"/>
              <a:gd name="connsiteY43" fmla="*/ 9157 h 10000"/>
              <a:gd name="connsiteX44" fmla="*/ 2661 w 12337"/>
              <a:gd name="connsiteY44" fmla="*/ 9045 h 10000"/>
              <a:gd name="connsiteX45" fmla="*/ 2569 w 12337"/>
              <a:gd name="connsiteY45" fmla="*/ 8820 h 10000"/>
              <a:gd name="connsiteX46" fmla="*/ 2569 w 12337"/>
              <a:gd name="connsiteY46" fmla="*/ 8202 h 10000"/>
              <a:gd name="connsiteX0" fmla="*/ 7339 w 10083"/>
              <a:gd name="connsiteY0" fmla="*/ 5730 h 10000"/>
              <a:gd name="connsiteX1" fmla="*/ 8831 w 10083"/>
              <a:gd name="connsiteY1" fmla="*/ 4917 h 10000"/>
              <a:gd name="connsiteX2" fmla="*/ 10000 w 10083"/>
              <a:gd name="connsiteY2" fmla="*/ 2978 h 10000"/>
              <a:gd name="connsiteX3" fmla="*/ 9908 w 10083"/>
              <a:gd name="connsiteY3" fmla="*/ 2360 h 10000"/>
              <a:gd name="connsiteX4" fmla="*/ 9541 w 10083"/>
              <a:gd name="connsiteY4" fmla="*/ 1854 h 10000"/>
              <a:gd name="connsiteX5" fmla="*/ 9174 w 10083"/>
              <a:gd name="connsiteY5" fmla="*/ 1292 h 10000"/>
              <a:gd name="connsiteX6" fmla="*/ 8440 w 10083"/>
              <a:gd name="connsiteY6" fmla="*/ 843 h 10000"/>
              <a:gd name="connsiteX7" fmla="*/ 7798 w 10083"/>
              <a:gd name="connsiteY7" fmla="*/ 449 h 10000"/>
              <a:gd name="connsiteX8" fmla="*/ 6881 w 10083"/>
              <a:gd name="connsiteY8" fmla="*/ 169 h 10000"/>
              <a:gd name="connsiteX9" fmla="*/ 5963 w 10083"/>
              <a:gd name="connsiteY9" fmla="*/ 0 h 10000"/>
              <a:gd name="connsiteX10" fmla="*/ 4954 w 10083"/>
              <a:gd name="connsiteY10" fmla="*/ 0 h 10000"/>
              <a:gd name="connsiteX11" fmla="*/ 3945 w 10083"/>
              <a:gd name="connsiteY11" fmla="*/ 0 h 10000"/>
              <a:gd name="connsiteX12" fmla="*/ 2936 w 10083"/>
              <a:gd name="connsiteY12" fmla="*/ 169 h 10000"/>
              <a:gd name="connsiteX13" fmla="*/ 2202 w 10083"/>
              <a:gd name="connsiteY13" fmla="*/ 449 h 10000"/>
              <a:gd name="connsiteX14" fmla="*/ 1376 w 10083"/>
              <a:gd name="connsiteY14" fmla="*/ 843 h 10000"/>
              <a:gd name="connsiteX15" fmla="*/ 826 w 10083"/>
              <a:gd name="connsiteY15" fmla="*/ 1292 h 10000"/>
              <a:gd name="connsiteX16" fmla="*/ 275 w 10083"/>
              <a:gd name="connsiteY16" fmla="*/ 1854 h 10000"/>
              <a:gd name="connsiteX17" fmla="*/ 92 w 10083"/>
              <a:gd name="connsiteY17" fmla="*/ 2360 h 10000"/>
              <a:gd name="connsiteX18" fmla="*/ 0 w 10083"/>
              <a:gd name="connsiteY18" fmla="*/ 2978 h 10000"/>
              <a:gd name="connsiteX19" fmla="*/ 0 w 10083"/>
              <a:gd name="connsiteY19" fmla="*/ 3483 h 10000"/>
              <a:gd name="connsiteX20" fmla="*/ 183 w 10083"/>
              <a:gd name="connsiteY20" fmla="*/ 3876 h 10000"/>
              <a:gd name="connsiteX21" fmla="*/ 367 w 10083"/>
              <a:gd name="connsiteY21" fmla="*/ 4213 h 10000"/>
              <a:gd name="connsiteX22" fmla="*/ 642 w 10083"/>
              <a:gd name="connsiteY22" fmla="*/ 4663 h 10000"/>
              <a:gd name="connsiteX23" fmla="*/ 1101 w 10083"/>
              <a:gd name="connsiteY23" fmla="*/ 4888 h 10000"/>
              <a:gd name="connsiteX24" fmla="*/ 1560 w 10083"/>
              <a:gd name="connsiteY24" fmla="*/ 5281 h 10000"/>
              <a:gd name="connsiteX25" fmla="*/ 1927 w 10083"/>
              <a:gd name="connsiteY25" fmla="*/ 5506 h 10000"/>
              <a:gd name="connsiteX26" fmla="*/ 2569 w 10083"/>
              <a:gd name="connsiteY26" fmla="*/ 5730 h 10000"/>
              <a:gd name="connsiteX27" fmla="*/ 2569 w 10083"/>
              <a:gd name="connsiteY27" fmla="*/ 7191 h 10000"/>
              <a:gd name="connsiteX28" fmla="*/ 7339 w 10083"/>
              <a:gd name="connsiteY28" fmla="*/ 7191 h 10000"/>
              <a:gd name="connsiteX29" fmla="*/ 7339 w 10083"/>
              <a:gd name="connsiteY29" fmla="*/ 8820 h 10000"/>
              <a:gd name="connsiteX30" fmla="*/ 7248 w 10083"/>
              <a:gd name="connsiteY30" fmla="*/ 9045 h 10000"/>
              <a:gd name="connsiteX31" fmla="*/ 7156 w 10083"/>
              <a:gd name="connsiteY31" fmla="*/ 9157 h 10000"/>
              <a:gd name="connsiteX32" fmla="*/ 6789 w 10083"/>
              <a:gd name="connsiteY32" fmla="*/ 9382 h 10000"/>
              <a:gd name="connsiteX33" fmla="*/ 6330 w 10083"/>
              <a:gd name="connsiteY33" fmla="*/ 9494 h 10000"/>
              <a:gd name="connsiteX34" fmla="*/ 6239 w 10083"/>
              <a:gd name="connsiteY34" fmla="*/ 9719 h 10000"/>
              <a:gd name="connsiteX35" fmla="*/ 5872 w 10083"/>
              <a:gd name="connsiteY35" fmla="*/ 9831 h 10000"/>
              <a:gd name="connsiteX36" fmla="*/ 5596 w 10083"/>
              <a:gd name="connsiteY36" fmla="*/ 10000 h 10000"/>
              <a:gd name="connsiteX37" fmla="*/ 4954 w 10083"/>
              <a:gd name="connsiteY37" fmla="*/ 10000 h 10000"/>
              <a:gd name="connsiteX38" fmla="*/ 4404 w 10083"/>
              <a:gd name="connsiteY38" fmla="*/ 10000 h 10000"/>
              <a:gd name="connsiteX39" fmla="*/ 3945 w 10083"/>
              <a:gd name="connsiteY39" fmla="*/ 9831 h 10000"/>
              <a:gd name="connsiteX40" fmla="*/ 3670 w 10083"/>
              <a:gd name="connsiteY40" fmla="*/ 9719 h 10000"/>
              <a:gd name="connsiteX41" fmla="*/ 3578 w 10083"/>
              <a:gd name="connsiteY41" fmla="*/ 9494 h 10000"/>
              <a:gd name="connsiteX42" fmla="*/ 3211 w 10083"/>
              <a:gd name="connsiteY42" fmla="*/ 9382 h 10000"/>
              <a:gd name="connsiteX43" fmla="*/ 2844 w 10083"/>
              <a:gd name="connsiteY43" fmla="*/ 9157 h 10000"/>
              <a:gd name="connsiteX44" fmla="*/ 2661 w 10083"/>
              <a:gd name="connsiteY44" fmla="*/ 9045 h 10000"/>
              <a:gd name="connsiteX45" fmla="*/ 2569 w 10083"/>
              <a:gd name="connsiteY45" fmla="*/ 8820 h 10000"/>
              <a:gd name="connsiteX46" fmla="*/ 2569 w 10083"/>
              <a:gd name="connsiteY46" fmla="*/ 8202 h 10000"/>
              <a:gd name="connsiteX0" fmla="*/ 7339 w 10189"/>
              <a:gd name="connsiteY0" fmla="*/ 5730 h 10000"/>
              <a:gd name="connsiteX1" fmla="*/ 9670 w 10189"/>
              <a:gd name="connsiteY1" fmla="*/ 4395 h 10000"/>
              <a:gd name="connsiteX2" fmla="*/ 10000 w 10189"/>
              <a:gd name="connsiteY2" fmla="*/ 2978 h 10000"/>
              <a:gd name="connsiteX3" fmla="*/ 9908 w 10189"/>
              <a:gd name="connsiteY3" fmla="*/ 2360 h 10000"/>
              <a:gd name="connsiteX4" fmla="*/ 9541 w 10189"/>
              <a:gd name="connsiteY4" fmla="*/ 1854 h 10000"/>
              <a:gd name="connsiteX5" fmla="*/ 9174 w 10189"/>
              <a:gd name="connsiteY5" fmla="*/ 1292 h 10000"/>
              <a:gd name="connsiteX6" fmla="*/ 8440 w 10189"/>
              <a:gd name="connsiteY6" fmla="*/ 843 h 10000"/>
              <a:gd name="connsiteX7" fmla="*/ 7798 w 10189"/>
              <a:gd name="connsiteY7" fmla="*/ 449 h 10000"/>
              <a:gd name="connsiteX8" fmla="*/ 6881 w 10189"/>
              <a:gd name="connsiteY8" fmla="*/ 169 h 10000"/>
              <a:gd name="connsiteX9" fmla="*/ 5963 w 10189"/>
              <a:gd name="connsiteY9" fmla="*/ 0 h 10000"/>
              <a:gd name="connsiteX10" fmla="*/ 4954 w 10189"/>
              <a:gd name="connsiteY10" fmla="*/ 0 h 10000"/>
              <a:gd name="connsiteX11" fmla="*/ 3945 w 10189"/>
              <a:gd name="connsiteY11" fmla="*/ 0 h 10000"/>
              <a:gd name="connsiteX12" fmla="*/ 2936 w 10189"/>
              <a:gd name="connsiteY12" fmla="*/ 169 h 10000"/>
              <a:gd name="connsiteX13" fmla="*/ 2202 w 10189"/>
              <a:gd name="connsiteY13" fmla="*/ 449 h 10000"/>
              <a:gd name="connsiteX14" fmla="*/ 1376 w 10189"/>
              <a:gd name="connsiteY14" fmla="*/ 843 h 10000"/>
              <a:gd name="connsiteX15" fmla="*/ 826 w 10189"/>
              <a:gd name="connsiteY15" fmla="*/ 1292 h 10000"/>
              <a:gd name="connsiteX16" fmla="*/ 275 w 10189"/>
              <a:gd name="connsiteY16" fmla="*/ 1854 h 10000"/>
              <a:gd name="connsiteX17" fmla="*/ 92 w 10189"/>
              <a:gd name="connsiteY17" fmla="*/ 2360 h 10000"/>
              <a:gd name="connsiteX18" fmla="*/ 0 w 10189"/>
              <a:gd name="connsiteY18" fmla="*/ 2978 h 10000"/>
              <a:gd name="connsiteX19" fmla="*/ 0 w 10189"/>
              <a:gd name="connsiteY19" fmla="*/ 3483 h 10000"/>
              <a:gd name="connsiteX20" fmla="*/ 183 w 10189"/>
              <a:gd name="connsiteY20" fmla="*/ 3876 h 10000"/>
              <a:gd name="connsiteX21" fmla="*/ 367 w 10189"/>
              <a:gd name="connsiteY21" fmla="*/ 4213 h 10000"/>
              <a:gd name="connsiteX22" fmla="*/ 642 w 10189"/>
              <a:gd name="connsiteY22" fmla="*/ 4663 h 10000"/>
              <a:gd name="connsiteX23" fmla="*/ 1101 w 10189"/>
              <a:gd name="connsiteY23" fmla="*/ 4888 h 10000"/>
              <a:gd name="connsiteX24" fmla="*/ 1560 w 10189"/>
              <a:gd name="connsiteY24" fmla="*/ 5281 h 10000"/>
              <a:gd name="connsiteX25" fmla="*/ 1927 w 10189"/>
              <a:gd name="connsiteY25" fmla="*/ 5506 h 10000"/>
              <a:gd name="connsiteX26" fmla="*/ 2569 w 10189"/>
              <a:gd name="connsiteY26" fmla="*/ 5730 h 10000"/>
              <a:gd name="connsiteX27" fmla="*/ 2569 w 10189"/>
              <a:gd name="connsiteY27" fmla="*/ 7191 h 10000"/>
              <a:gd name="connsiteX28" fmla="*/ 7339 w 10189"/>
              <a:gd name="connsiteY28" fmla="*/ 7191 h 10000"/>
              <a:gd name="connsiteX29" fmla="*/ 7339 w 10189"/>
              <a:gd name="connsiteY29" fmla="*/ 8820 h 10000"/>
              <a:gd name="connsiteX30" fmla="*/ 7248 w 10189"/>
              <a:gd name="connsiteY30" fmla="*/ 9045 h 10000"/>
              <a:gd name="connsiteX31" fmla="*/ 7156 w 10189"/>
              <a:gd name="connsiteY31" fmla="*/ 9157 h 10000"/>
              <a:gd name="connsiteX32" fmla="*/ 6789 w 10189"/>
              <a:gd name="connsiteY32" fmla="*/ 9382 h 10000"/>
              <a:gd name="connsiteX33" fmla="*/ 6330 w 10189"/>
              <a:gd name="connsiteY33" fmla="*/ 9494 h 10000"/>
              <a:gd name="connsiteX34" fmla="*/ 6239 w 10189"/>
              <a:gd name="connsiteY34" fmla="*/ 9719 h 10000"/>
              <a:gd name="connsiteX35" fmla="*/ 5872 w 10189"/>
              <a:gd name="connsiteY35" fmla="*/ 9831 h 10000"/>
              <a:gd name="connsiteX36" fmla="*/ 5596 w 10189"/>
              <a:gd name="connsiteY36" fmla="*/ 10000 h 10000"/>
              <a:gd name="connsiteX37" fmla="*/ 4954 w 10189"/>
              <a:gd name="connsiteY37" fmla="*/ 10000 h 10000"/>
              <a:gd name="connsiteX38" fmla="*/ 4404 w 10189"/>
              <a:gd name="connsiteY38" fmla="*/ 10000 h 10000"/>
              <a:gd name="connsiteX39" fmla="*/ 3945 w 10189"/>
              <a:gd name="connsiteY39" fmla="*/ 9831 h 10000"/>
              <a:gd name="connsiteX40" fmla="*/ 3670 w 10189"/>
              <a:gd name="connsiteY40" fmla="*/ 9719 h 10000"/>
              <a:gd name="connsiteX41" fmla="*/ 3578 w 10189"/>
              <a:gd name="connsiteY41" fmla="*/ 9494 h 10000"/>
              <a:gd name="connsiteX42" fmla="*/ 3211 w 10189"/>
              <a:gd name="connsiteY42" fmla="*/ 9382 h 10000"/>
              <a:gd name="connsiteX43" fmla="*/ 2844 w 10189"/>
              <a:gd name="connsiteY43" fmla="*/ 9157 h 10000"/>
              <a:gd name="connsiteX44" fmla="*/ 2661 w 10189"/>
              <a:gd name="connsiteY44" fmla="*/ 9045 h 10000"/>
              <a:gd name="connsiteX45" fmla="*/ 2569 w 10189"/>
              <a:gd name="connsiteY45" fmla="*/ 8820 h 10000"/>
              <a:gd name="connsiteX46" fmla="*/ 2569 w 10189"/>
              <a:gd name="connsiteY46" fmla="*/ 8202 h 10000"/>
              <a:gd name="connsiteX0" fmla="*/ 7339 w 10394"/>
              <a:gd name="connsiteY0" fmla="*/ 5730 h 10000"/>
              <a:gd name="connsiteX1" fmla="*/ 9670 w 10394"/>
              <a:gd name="connsiteY1" fmla="*/ 4395 h 10000"/>
              <a:gd name="connsiteX2" fmla="*/ 10000 w 10394"/>
              <a:gd name="connsiteY2" fmla="*/ 2978 h 10000"/>
              <a:gd name="connsiteX3" fmla="*/ 9908 w 10394"/>
              <a:gd name="connsiteY3" fmla="*/ 2360 h 10000"/>
              <a:gd name="connsiteX4" fmla="*/ 9541 w 10394"/>
              <a:gd name="connsiteY4" fmla="*/ 1854 h 10000"/>
              <a:gd name="connsiteX5" fmla="*/ 9174 w 10394"/>
              <a:gd name="connsiteY5" fmla="*/ 1292 h 10000"/>
              <a:gd name="connsiteX6" fmla="*/ 8440 w 10394"/>
              <a:gd name="connsiteY6" fmla="*/ 843 h 10000"/>
              <a:gd name="connsiteX7" fmla="*/ 7798 w 10394"/>
              <a:gd name="connsiteY7" fmla="*/ 449 h 10000"/>
              <a:gd name="connsiteX8" fmla="*/ 6881 w 10394"/>
              <a:gd name="connsiteY8" fmla="*/ 169 h 10000"/>
              <a:gd name="connsiteX9" fmla="*/ 5963 w 10394"/>
              <a:gd name="connsiteY9" fmla="*/ 0 h 10000"/>
              <a:gd name="connsiteX10" fmla="*/ 4954 w 10394"/>
              <a:gd name="connsiteY10" fmla="*/ 0 h 10000"/>
              <a:gd name="connsiteX11" fmla="*/ 3945 w 10394"/>
              <a:gd name="connsiteY11" fmla="*/ 0 h 10000"/>
              <a:gd name="connsiteX12" fmla="*/ 2936 w 10394"/>
              <a:gd name="connsiteY12" fmla="*/ 169 h 10000"/>
              <a:gd name="connsiteX13" fmla="*/ 2202 w 10394"/>
              <a:gd name="connsiteY13" fmla="*/ 449 h 10000"/>
              <a:gd name="connsiteX14" fmla="*/ 1376 w 10394"/>
              <a:gd name="connsiteY14" fmla="*/ 843 h 10000"/>
              <a:gd name="connsiteX15" fmla="*/ 826 w 10394"/>
              <a:gd name="connsiteY15" fmla="*/ 1292 h 10000"/>
              <a:gd name="connsiteX16" fmla="*/ 275 w 10394"/>
              <a:gd name="connsiteY16" fmla="*/ 1854 h 10000"/>
              <a:gd name="connsiteX17" fmla="*/ 92 w 10394"/>
              <a:gd name="connsiteY17" fmla="*/ 2360 h 10000"/>
              <a:gd name="connsiteX18" fmla="*/ 0 w 10394"/>
              <a:gd name="connsiteY18" fmla="*/ 2978 h 10000"/>
              <a:gd name="connsiteX19" fmla="*/ 0 w 10394"/>
              <a:gd name="connsiteY19" fmla="*/ 3483 h 10000"/>
              <a:gd name="connsiteX20" fmla="*/ 183 w 10394"/>
              <a:gd name="connsiteY20" fmla="*/ 3876 h 10000"/>
              <a:gd name="connsiteX21" fmla="*/ 367 w 10394"/>
              <a:gd name="connsiteY21" fmla="*/ 4213 h 10000"/>
              <a:gd name="connsiteX22" fmla="*/ 642 w 10394"/>
              <a:gd name="connsiteY22" fmla="*/ 4663 h 10000"/>
              <a:gd name="connsiteX23" fmla="*/ 1101 w 10394"/>
              <a:gd name="connsiteY23" fmla="*/ 4888 h 10000"/>
              <a:gd name="connsiteX24" fmla="*/ 1560 w 10394"/>
              <a:gd name="connsiteY24" fmla="*/ 5281 h 10000"/>
              <a:gd name="connsiteX25" fmla="*/ 1927 w 10394"/>
              <a:gd name="connsiteY25" fmla="*/ 5506 h 10000"/>
              <a:gd name="connsiteX26" fmla="*/ 2569 w 10394"/>
              <a:gd name="connsiteY26" fmla="*/ 5730 h 10000"/>
              <a:gd name="connsiteX27" fmla="*/ 2569 w 10394"/>
              <a:gd name="connsiteY27" fmla="*/ 7191 h 10000"/>
              <a:gd name="connsiteX28" fmla="*/ 7339 w 10394"/>
              <a:gd name="connsiteY28" fmla="*/ 7191 h 10000"/>
              <a:gd name="connsiteX29" fmla="*/ 7339 w 10394"/>
              <a:gd name="connsiteY29" fmla="*/ 8820 h 10000"/>
              <a:gd name="connsiteX30" fmla="*/ 7248 w 10394"/>
              <a:gd name="connsiteY30" fmla="*/ 9045 h 10000"/>
              <a:gd name="connsiteX31" fmla="*/ 7156 w 10394"/>
              <a:gd name="connsiteY31" fmla="*/ 9157 h 10000"/>
              <a:gd name="connsiteX32" fmla="*/ 6789 w 10394"/>
              <a:gd name="connsiteY32" fmla="*/ 9382 h 10000"/>
              <a:gd name="connsiteX33" fmla="*/ 6330 w 10394"/>
              <a:gd name="connsiteY33" fmla="*/ 9494 h 10000"/>
              <a:gd name="connsiteX34" fmla="*/ 6239 w 10394"/>
              <a:gd name="connsiteY34" fmla="*/ 9719 h 10000"/>
              <a:gd name="connsiteX35" fmla="*/ 5872 w 10394"/>
              <a:gd name="connsiteY35" fmla="*/ 9831 h 10000"/>
              <a:gd name="connsiteX36" fmla="*/ 5596 w 10394"/>
              <a:gd name="connsiteY36" fmla="*/ 10000 h 10000"/>
              <a:gd name="connsiteX37" fmla="*/ 4954 w 10394"/>
              <a:gd name="connsiteY37" fmla="*/ 10000 h 10000"/>
              <a:gd name="connsiteX38" fmla="*/ 4404 w 10394"/>
              <a:gd name="connsiteY38" fmla="*/ 10000 h 10000"/>
              <a:gd name="connsiteX39" fmla="*/ 3945 w 10394"/>
              <a:gd name="connsiteY39" fmla="*/ 9831 h 10000"/>
              <a:gd name="connsiteX40" fmla="*/ 3670 w 10394"/>
              <a:gd name="connsiteY40" fmla="*/ 9719 h 10000"/>
              <a:gd name="connsiteX41" fmla="*/ 3578 w 10394"/>
              <a:gd name="connsiteY41" fmla="*/ 9494 h 10000"/>
              <a:gd name="connsiteX42" fmla="*/ 3211 w 10394"/>
              <a:gd name="connsiteY42" fmla="*/ 9382 h 10000"/>
              <a:gd name="connsiteX43" fmla="*/ 2844 w 10394"/>
              <a:gd name="connsiteY43" fmla="*/ 9157 h 10000"/>
              <a:gd name="connsiteX44" fmla="*/ 2661 w 10394"/>
              <a:gd name="connsiteY44" fmla="*/ 9045 h 10000"/>
              <a:gd name="connsiteX45" fmla="*/ 2569 w 10394"/>
              <a:gd name="connsiteY45" fmla="*/ 8820 h 10000"/>
              <a:gd name="connsiteX46" fmla="*/ 2569 w 10394"/>
              <a:gd name="connsiteY46" fmla="*/ 8202 h 10000"/>
              <a:gd name="connsiteX0" fmla="*/ 7339 w 10394"/>
              <a:gd name="connsiteY0" fmla="*/ 5730 h 10000"/>
              <a:gd name="connsiteX1" fmla="*/ 9670 w 10394"/>
              <a:gd name="connsiteY1" fmla="*/ 4395 h 10000"/>
              <a:gd name="connsiteX2" fmla="*/ 10000 w 10394"/>
              <a:gd name="connsiteY2" fmla="*/ 2978 h 10000"/>
              <a:gd name="connsiteX3" fmla="*/ 9541 w 10394"/>
              <a:gd name="connsiteY3" fmla="*/ 1854 h 10000"/>
              <a:gd name="connsiteX4" fmla="*/ 9174 w 10394"/>
              <a:gd name="connsiteY4" fmla="*/ 1292 h 10000"/>
              <a:gd name="connsiteX5" fmla="*/ 8440 w 10394"/>
              <a:gd name="connsiteY5" fmla="*/ 843 h 10000"/>
              <a:gd name="connsiteX6" fmla="*/ 7798 w 10394"/>
              <a:gd name="connsiteY6" fmla="*/ 449 h 10000"/>
              <a:gd name="connsiteX7" fmla="*/ 6881 w 10394"/>
              <a:gd name="connsiteY7" fmla="*/ 169 h 10000"/>
              <a:gd name="connsiteX8" fmla="*/ 5963 w 10394"/>
              <a:gd name="connsiteY8" fmla="*/ 0 h 10000"/>
              <a:gd name="connsiteX9" fmla="*/ 4954 w 10394"/>
              <a:gd name="connsiteY9" fmla="*/ 0 h 10000"/>
              <a:gd name="connsiteX10" fmla="*/ 3945 w 10394"/>
              <a:gd name="connsiteY10" fmla="*/ 0 h 10000"/>
              <a:gd name="connsiteX11" fmla="*/ 2936 w 10394"/>
              <a:gd name="connsiteY11" fmla="*/ 169 h 10000"/>
              <a:gd name="connsiteX12" fmla="*/ 2202 w 10394"/>
              <a:gd name="connsiteY12" fmla="*/ 449 h 10000"/>
              <a:gd name="connsiteX13" fmla="*/ 1376 w 10394"/>
              <a:gd name="connsiteY13" fmla="*/ 843 h 10000"/>
              <a:gd name="connsiteX14" fmla="*/ 826 w 10394"/>
              <a:gd name="connsiteY14" fmla="*/ 1292 h 10000"/>
              <a:gd name="connsiteX15" fmla="*/ 275 w 10394"/>
              <a:gd name="connsiteY15" fmla="*/ 1854 h 10000"/>
              <a:gd name="connsiteX16" fmla="*/ 92 w 10394"/>
              <a:gd name="connsiteY16" fmla="*/ 2360 h 10000"/>
              <a:gd name="connsiteX17" fmla="*/ 0 w 10394"/>
              <a:gd name="connsiteY17" fmla="*/ 2978 h 10000"/>
              <a:gd name="connsiteX18" fmla="*/ 0 w 10394"/>
              <a:gd name="connsiteY18" fmla="*/ 3483 h 10000"/>
              <a:gd name="connsiteX19" fmla="*/ 183 w 10394"/>
              <a:gd name="connsiteY19" fmla="*/ 3876 h 10000"/>
              <a:gd name="connsiteX20" fmla="*/ 367 w 10394"/>
              <a:gd name="connsiteY20" fmla="*/ 4213 h 10000"/>
              <a:gd name="connsiteX21" fmla="*/ 642 w 10394"/>
              <a:gd name="connsiteY21" fmla="*/ 4663 h 10000"/>
              <a:gd name="connsiteX22" fmla="*/ 1101 w 10394"/>
              <a:gd name="connsiteY22" fmla="*/ 4888 h 10000"/>
              <a:gd name="connsiteX23" fmla="*/ 1560 w 10394"/>
              <a:gd name="connsiteY23" fmla="*/ 5281 h 10000"/>
              <a:gd name="connsiteX24" fmla="*/ 1927 w 10394"/>
              <a:gd name="connsiteY24" fmla="*/ 5506 h 10000"/>
              <a:gd name="connsiteX25" fmla="*/ 2569 w 10394"/>
              <a:gd name="connsiteY25" fmla="*/ 5730 h 10000"/>
              <a:gd name="connsiteX26" fmla="*/ 2569 w 10394"/>
              <a:gd name="connsiteY26" fmla="*/ 7191 h 10000"/>
              <a:gd name="connsiteX27" fmla="*/ 7339 w 10394"/>
              <a:gd name="connsiteY27" fmla="*/ 7191 h 10000"/>
              <a:gd name="connsiteX28" fmla="*/ 7339 w 10394"/>
              <a:gd name="connsiteY28" fmla="*/ 8820 h 10000"/>
              <a:gd name="connsiteX29" fmla="*/ 7248 w 10394"/>
              <a:gd name="connsiteY29" fmla="*/ 9045 h 10000"/>
              <a:gd name="connsiteX30" fmla="*/ 7156 w 10394"/>
              <a:gd name="connsiteY30" fmla="*/ 9157 h 10000"/>
              <a:gd name="connsiteX31" fmla="*/ 6789 w 10394"/>
              <a:gd name="connsiteY31" fmla="*/ 9382 h 10000"/>
              <a:gd name="connsiteX32" fmla="*/ 6330 w 10394"/>
              <a:gd name="connsiteY32" fmla="*/ 9494 h 10000"/>
              <a:gd name="connsiteX33" fmla="*/ 6239 w 10394"/>
              <a:gd name="connsiteY33" fmla="*/ 9719 h 10000"/>
              <a:gd name="connsiteX34" fmla="*/ 5872 w 10394"/>
              <a:gd name="connsiteY34" fmla="*/ 9831 h 10000"/>
              <a:gd name="connsiteX35" fmla="*/ 5596 w 10394"/>
              <a:gd name="connsiteY35" fmla="*/ 10000 h 10000"/>
              <a:gd name="connsiteX36" fmla="*/ 4954 w 10394"/>
              <a:gd name="connsiteY36" fmla="*/ 10000 h 10000"/>
              <a:gd name="connsiteX37" fmla="*/ 4404 w 10394"/>
              <a:gd name="connsiteY37" fmla="*/ 10000 h 10000"/>
              <a:gd name="connsiteX38" fmla="*/ 3945 w 10394"/>
              <a:gd name="connsiteY38" fmla="*/ 9831 h 10000"/>
              <a:gd name="connsiteX39" fmla="*/ 3670 w 10394"/>
              <a:gd name="connsiteY39" fmla="*/ 9719 h 10000"/>
              <a:gd name="connsiteX40" fmla="*/ 3578 w 10394"/>
              <a:gd name="connsiteY40" fmla="*/ 9494 h 10000"/>
              <a:gd name="connsiteX41" fmla="*/ 3211 w 10394"/>
              <a:gd name="connsiteY41" fmla="*/ 9382 h 10000"/>
              <a:gd name="connsiteX42" fmla="*/ 2844 w 10394"/>
              <a:gd name="connsiteY42" fmla="*/ 9157 h 10000"/>
              <a:gd name="connsiteX43" fmla="*/ 2661 w 10394"/>
              <a:gd name="connsiteY43" fmla="*/ 9045 h 10000"/>
              <a:gd name="connsiteX44" fmla="*/ 2569 w 10394"/>
              <a:gd name="connsiteY44" fmla="*/ 8820 h 10000"/>
              <a:gd name="connsiteX45" fmla="*/ 2569 w 10394"/>
              <a:gd name="connsiteY45" fmla="*/ 8202 h 10000"/>
              <a:gd name="connsiteX0" fmla="*/ 7339 w 10394"/>
              <a:gd name="connsiteY0" fmla="*/ 5730 h 10000"/>
              <a:gd name="connsiteX1" fmla="*/ 9670 w 10394"/>
              <a:gd name="connsiteY1" fmla="*/ 4395 h 10000"/>
              <a:gd name="connsiteX2" fmla="*/ 10000 w 10394"/>
              <a:gd name="connsiteY2" fmla="*/ 2978 h 10000"/>
              <a:gd name="connsiteX3" fmla="*/ 9174 w 10394"/>
              <a:gd name="connsiteY3" fmla="*/ 1292 h 10000"/>
              <a:gd name="connsiteX4" fmla="*/ 8440 w 10394"/>
              <a:gd name="connsiteY4" fmla="*/ 843 h 10000"/>
              <a:gd name="connsiteX5" fmla="*/ 7798 w 10394"/>
              <a:gd name="connsiteY5" fmla="*/ 449 h 10000"/>
              <a:gd name="connsiteX6" fmla="*/ 6881 w 10394"/>
              <a:gd name="connsiteY6" fmla="*/ 169 h 10000"/>
              <a:gd name="connsiteX7" fmla="*/ 5963 w 10394"/>
              <a:gd name="connsiteY7" fmla="*/ 0 h 10000"/>
              <a:gd name="connsiteX8" fmla="*/ 4954 w 10394"/>
              <a:gd name="connsiteY8" fmla="*/ 0 h 10000"/>
              <a:gd name="connsiteX9" fmla="*/ 3945 w 10394"/>
              <a:gd name="connsiteY9" fmla="*/ 0 h 10000"/>
              <a:gd name="connsiteX10" fmla="*/ 2936 w 10394"/>
              <a:gd name="connsiteY10" fmla="*/ 169 h 10000"/>
              <a:gd name="connsiteX11" fmla="*/ 2202 w 10394"/>
              <a:gd name="connsiteY11" fmla="*/ 449 h 10000"/>
              <a:gd name="connsiteX12" fmla="*/ 1376 w 10394"/>
              <a:gd name="connsiteY12" fmla="*/ 843 h 10000"/>
              <a:gd name="connsiteX13" fmla="*/ 826 w 10394"/>
              <a:gd name="connsiteY13" fmla="*/ 1292 h 10000"/>
              <a:gd name="connsiteX14" fmla="*/ 275 w 10394"/>
              <a:gd name="connsiteY14" fmla="*/ 1854 h 10000"/>
              <a:gd name="connsiteX15" fmla="*/ 92 w 10394"/>
              <a:gd name="connsiteY15" fmla="*/ 2360 h 10000"/>
              <a:gd name="connsiteX16" fmla="*/ 0 w 10394"/>
              <a:gd name="connsiteY16" fmla="*/ 2978 h 10000"/>
              <a:gd name="connsiteX17" fmla="*/ 0 w 10394"/>
              <a:gd name="connsiteY17" fmla="*/ 3483 h 10000"/>
              <a:gd name="connsiteX18" fmla="*/ 183 w 10394"/>
              <a:gd name="connsiteY18" fmla="*/ 3876 h 10000"/>
              <a:gd name="connsiteX19" fmla="*/ 367 w 10394"/>
              <a:gd name="connsiteY19" fmla="*/ 4213 h 10000"/>
              <a:gd name="connsiteX20" fmla="*/ 642 w 10394"/>
              <a:gd name="connsiteY20" fmla="*/ 4663 h 10000"/>
              <a:gd name="connsiteX21" fmla="*/ 1101 w 10394"/>
              <a:gd name="connsiteY21" fmla="*/ 4888 h 10000"/>
              <a:gd name="connsiteX22" fmla="*/ 1560 w 10394"/>
              <a:gd name="connsiteY22" fmla="*/ 5281 h 10000"/>
              <a:gd name="connsiteX23" fmla="*/ 1927 w 10394"/>
              <a:gd name="connsiteY23" fmla="*/ 5506 h 10000"/>
              <a:gd name="connsiteX24" fmla="*/ 2569 w 10394"/>
              <a:gd name="connsiteY24" fmla="*/ 5730 h 10000"/>
              <a:gd name="connsiteX25" fmla="*/ 2569 w 10394"/>
              <a:gd name="connsiteY25" fmla="*/ 7191 h 10000"/>
              <a:gd name="connsiteX26" fmla="*/ 7339 w 10394"/>
              <a:gd name="connsiteY26" fmla="*/ 7191 h 10000"/>
              <a:gd name="connsiteX27" fmla="*/ 7339 w 10394"/>
              <a:gd name="connsiteY27" fmla="*/ 8820 h 10000"/>
              <a:gd name="connsiteX28" fmla="*/ 7248 w 10394"/>
              <a:gd name="connsiteY28" fmla="*/ 9045 h 10000"/>
              <a:gd name="connsiteX29" fmla="*/ 7156 w 10394"/>
              <a:gd name="connsiteY29" fmla="*/ 9157 h 10000"/>
              <a:gd name="connsiteX30" fmla="*/ 6789 w 10394"/>
              <a:gd name="connsiteY30" fmla="*/ 9382 h 10000"/>
              <a:gd name="connsiteX31" fmla="*/ 6330 w 10394"/>
              <a:gd name="connsiteY31" fmla="*/ 9494 h 10000"/>
              <a:gd name="connsiteX32" fmla="*/ 6239 w 10394"/>
              <a:gd name="connsiteY32" fmla="*/ 9719 h 10000"/>
              <a:gd name="connsiteX33" fmla="*/ 5872 w 10394"/>
              <a:gd name="connsiteY33" fmla="*/ 9831 h 10000"/>
              <a:gd name="connsiteX34" fmla="*/ 5596 w 10394"/>
              <a:gd name="connsiteY34" fmla="*/ 10000 h 10000"/>
              <a:gd name="connsiteX35" fmla="*/ 4954 w 10394"/>
              <a:gd name="connsiteY35" fmla="*/ 10000 h 10000"/>
              <a:gd name="connsiteX36" fmla="*/ 4404 w 10394"/>
              <a:gd name="connsiteY36" fmla="*/ 10000 h 10000"/>
              <a:gd name="connsiteX37" fmla="*/ 3945 w 10394"/>
              <a:gd name="connsiteY37" fmla="*/ 9831 h 10000"/>
              <a:gd name="connsiteX38" fmla="*/ 3670 w 10394"/>
              <a:gd name="connsiteY38" fmla="*/ 9719 h 10000"/>
              <a:gd name="connsiteX39" fmla="*/ 3578 w 10394"/>
              <a:gd name="connsiteY39" fmla="*/ 9494 h 10000"/>
              <a:gd name="connsiteX40" fmla="*/ 3211 w 10394"/>
              <a:gd name="connsiteY40" fmla="*/ 9382 h 10000"/>
              <a:gd name="connsiteX41" fmla="*/ 2844 w 10394"/>
              <a:gd name="connsiteY41" fmla="*/ 9157 h 10000"/>
              <a:gd name="connsiteX42" fmla="*/ 2661 w 10394"/>
              <a:gd name="connsiteY42" fmla="*/ 9045 h 10000"/>
              <a:gd name="connsiteX43" fmla="*/ 2569 w 10394"/>
              <a:gd name="connsiteY43" fmla="*/ 8820 h 10000"/>
              <a:gd name="connsiteX44" fmla="*/ 2569 w 10394"/>
              <a:gd name="connsiteY44" fmla="*/ 8202 h 10000"/>
              <a:gd name="connsiteX0" fmla="*/ 7339 w 10394"/>
              <a:gd name="connsiteY0" fmla="*/ 5730 h 10000"/>
              <a:gd name="connsiteX1" fmla="*/ 9670 w 10394"/>
              <a:gd name="connsiteY1" fmla="*/ 4395 h 10000"/>
              <a:gd name="connsiteX2" fmla="*/ 10000 w 10394"/>
              <a:gd name="connsiteY2" fmla="*/ 2978 h 10000"/>
              <a:gd name="connsiteX3" fmla="*/ 8440 w 10394"/>
              <a:gd name="connsiteY3" fmla="*/ 843 h 10000"/>
              <a:gd name="connsiteX4" fmla="*/ 7798 w 10394"/>
              <a:gd name="connsiteY4" fmla="*/ 449 h 10000"/>
              <a:gd name="connsiteX5" fmla="*/ 6881 w 10394"/>
              <a:gd name="connsiteY5" fmla="*/ 169 h 10000"/>
              <a:gd name="connsiteX6" fmla="*/ 5963 w 10394"/>
              <a:gd name="connsiteY6" fmla="*/ 0 h 10000"/>
              <a:gd name="connsiteX7" fmla="*/ 4954 w 10394"/>
              <a:gd name="connsiteY7" fmla="*/ 0 h 10000"/>
              <a:gd name="connsiteX8" fmla="*/ 3945 w 10394"/>
              <a:gd name="connsiteY8" fmla="*/ 0 h 10000"/>
              <a:gd name="connsiteX9" fmla="*/ 2936 w 10394"/>
              <a:gd name="connsiteY9" fmla="*/ 169 h 10000"/>
              <a:gd name="connsiteX10" fmla="*/ 2202 w 10394"/>
              <a:gd name="connsiteY10" fmla="*/ 449 h 10000"/>
              <a:gd name="connsiteX11" fmla="*/ 1376 w 10394"/>
              <a:gd name="connsiteY11" fmla="*/ 843 h 10000"/>
              <a:gd name="connsiteX12" fmla="*/ 826 w 10394"/>
              <a:gd name="connsiteY12" fmla="*/ 1292 h 10000"/>
              <a:gd name="connsiteX13" fmla="*/ 275 w 10394"/>
              <a:gd name="connsiteY13" fmla="*/ 1854 h 10000"/>
              <a:gd name="connsiteX14" fmla="*/ 92 w 10394"/>
              <a:gd name="connsiteY14" fmla="*/ 2360 h 10000"/>
              <a:gd name="connsiteX15" fmla="*/ 0 w 10394"/>
              <a:gd name="connsiteY15" fmla="*/ 2978 h 10000"/>
              <a:gd name="connsiteX16" fmla="*/ 0 w 10394"/>
              <a:gd name="connsiteY16" fmla="*/ 3483 h 10000"/>
              <a:gd name="connsiteX17" fmla="*/ 183 w 10394"/>
              <a:gd name="connsiteY17" fmla="*/ 3876 h 10000"/>
              <a:gd name="connsiteX18" fmla="*/ 367 w 10394"/>
              <a:gd name="connsiteY18" fmla="*/ 4213 h 10000"/>
              <a:gd name="connsiteX19" fmla="*/ 642 w 10394"/>
              <a:gd name="connsiteY19" fmla="*/ 4663 h 10000"/>
              <a:gd name="connsiteX20" fmla="*/ 1101 w 10394"/>
              <a:gd name="connsiteY20" fmla="*/ 4888 h 10000"/>
              <a:gd name="connsiteX21" fmla="*/ 1560 w 10394"/>
              <a:gd name="connsiteY21" fmla="*/ 5281 h 10000"/>
              <a:gd name="connsiteX22" fmla="*/ 1927 w 10394"/>
              <a:gd name="connsiteY22" fmla="*/ 5506 h 10000"/>
              <a:gd name="connsiteX23" fmla="*/ 2569 w 10394"/>
              <a:gd name="connsiteY23" fmla="*/ 5730 h 10000"/>
              <a:gd name="connsiteX24" fmla="*/ 2569 w 10394"/>
              <a:gd name="connsiteY24" fmla="*/ 7191 h 10000"/>
              <a:gd name="connsiteX25" fmla="*/ 7339 w 10394"/>
              <a:gd name="connsiteY25" fmla="*/ 7191 h 10000"/>
              <a:gd name="connsiteX26" fmla="*/ 7339 w 10394"/>
              <a:gd name="connsiteY26" fmla="*/ 8820 h 10000"/>
              <a:gd name="connsiteX27" fmla="*/ 7248 w 10394"/>
              <a:gd name="connsiteY27" fmla="*/ 9045 h 10000"/>
              <a:gd name="connsiteX28" fmla="*/ 7156 w 10394"/>
              <a:gd name="connsiteY28" fmla="*/ 9157 h 10000"/>
              <a:gd name="connsiteX29" fmla="*/ 6789 w 10394"/>
              <a:gd name="connsiteY29" fmla="*/ 9382 h 10000"/>
              <a:gd name="connsiteX30" fmla="*/ 6330 w 10394"/>
              <a:gd name="connsiteY30" fmla="*/ 9494 h 10000"/>
              <a:gd name="connsiteX31" fmla="*/ 6239 w 10394"/>
              <a:gd name="connsiteY31" fmla="*/ 9719 h 10000"/>
              <a:gd name="connsiteX32" fmla="*/ 5872 w 10394"/>
              <a:gd name="connsiteY32" fmla="*/ 9831 h 10000"/>
              <a:gd name="connsiteX33" fmla="*/ 5596 w 10394"/>
              <a:gd name="connsiteY33" fmla="*/ 10000 h 10000"/>
              <a:gd name="connsiteX34" fmla="*/ 4954 w 10394"/>
              <a:gd name="connsiteY34" fmla="*/ 10000 h 10000"/>
              <a:gd name="connsiteX35" fmla="*/ 4404 w 10394"/>
              <a:gd name="connsiteY35" fmla="*/ 10000 h 10000"/>
              <a:gd name="connsiteX36" fmla="*/ 3945 w 10394"/>
              <a:gd name="connsiteY36" fmla="*/ 9831 h 10000"/>
              <a:gd name="connsiteX37" fmla="*/ 3670 w 10394"/>
              <a:gd name="connsiteY37" fmla="*/ 9719 h 10000"/>
              <a:gd name="connsiteX38" fmla="*/ 3578 w 10394"/>
              <a:gd name="connsiteY38" fmla="*/ 9494 h 10000"/>
              <a:gd name="connsiteX39" fmla="*/ 3211 w 10394"/>
              <a:gd name="connsiteY39" fmla="*/ 9382 h 10000"/>
              <a:gd name="connsiteX40" fmla="*/ 2844 w 10394"/>
              <a:gd name="connsiteY40" fmla="*/ 9157 h 10000"/>
              <a:gd name="connsiteX41" fmla="*/ 2661 w 10394"/>
              <a:gd name="connsiteY41" fmla="*/ 9045 h 10000"/>
              <a:gd name="connsiteX42" fmla="*/ 2569 w 10394"/>
              <a:gd name="connsiteY42" fmla="*/ 8820 h 10000"/>
              <a:gd name="connsiteX43" fmla="*/ 2569 w 10394"/>
              <a:gd name="connsiteY43" fmla="*/ 8202 h 10000"/>
              <a:gd name="connsiteX0" fmla="*/ 7339 w 10394"/>
              <a:gd name="connsiteY0" fmla="*/ 5730 h 10000"/>
              <a:gd name="connsiteX1" fmla="*/ 9670 w 10394"/>
              <a:gd name="connsiteY1" fmla="*/ 4395 h 10000"/>
              <a:gd name="connsiteX2" fmla="*/ 10000 w 10394"/>
              <a:gd name="connsiteY2" fmla="*/ 2978 h 10000"/>
              <a:gd name="connsiteX3" fmla="*/ 7798 w 10394"/>
              <a:gd name="connsiteY3" fmla="*/ 449 h 10000"/>
              <a:gd name="connsiteX4" fmla="*/ 6881 w 10394"/>
              <a:gd name="connsiteY4" fmla="*/ 169 h 10000"/>
              <a:gd name="connsiteX5" fmla="*/ 5963 w 10394"/>
              <a:gd name="connsiteY5" fmla="*/ 0 h 10000"/>
              <a:gd name="connsiteX6" fmla="*/ 4954 w 10394"/>
              <a:gd name="connsiteY6" fmla="*/ 0 h 10000"/>
              <a:gd name="connsiteX7" fmla="*/ 3945 w 10394"/>
              <a:gd name="connsiteY7" fmla="*/ 0 h 10000"/>
              <a:gd name="connsiteX8" fmla="*/ 2936 w 10394"/>
              <a:gd name="connsiteY8" fmla="*/ 169 h 10000"/>
              <a:gd name="connsiteX9" fmla="*/ 2202 w 10394"/>
              <a:gd name="connsiteY9" fmla="*/ 449 h 10000"/>
              <a:gd name="connsiteX10" fmla="*/ 1376 w 10394"/>
              <a:gd name="connsiteY10" fmla="*/ 843 h 10000"/>
              <a:gd name="connsiteX11" fmla="*/ 826 w 10394"/>
              <a:gd name="connsiteY11" fmla="*/ 1292 h 10000"/>
              <a:gd name="connsiteX12" fmla="*/ 275 w 10394"/>
              <a:gd name="connsiteY12" fmla="*/ 1854 h 10000"/>
              <a:gd name="connsiteX13" fmla="*/ 92 w 10394"/>
              <a:gd name="connsiteY13" fmla="*/ 2360 h 10000"/>
              <a:gd name="connsiteX14" fmla="*/ 0 w 10394"/>
              <a:gd name="connsiteY14" fmla="*/ 2978 h 10000"/>
              <a:gd name="connsiteX15" fmla="*/ 0 w 10394"/>
              <a:gd name="connsiteY15" fmla="*/ 3483 h 10000"/>
              <a:gd name="connsiteX16" fmla="*/ 183 w 10394"/>
              <a:gd name="connsiteY16" fmla="*/ 3876 h 10000"/>
              <a:gd name="connsiteX17" fmla="*/ 367 w 10394"/>
              <a:gd name="connsiteY17" fmla="*/ 4213 h 10000"/>
              <a:gd name="connsiteX18" fmla="*/ 642 w 10394"/>
              <a:gd name="connsiteY18" fmla="*/ 4663 h 10000"/>
              <a:gd name="connsiteX19" fmla="*/ 1101 w 10394"/>
              <a:gd name="connsiteY19" fmla="*/ 4888 h 10000"/>
              <a:gd name="connsiteX20" fmla="*/ 1560 w 10394"/>
              <a:gd name="connsiteY20" fmla="*/ 5281 h 10000"/>
              <a:gd name="connsiteX21" fmla="*/ 1927 w 10394"/>
              <a:gd name="connsiteY21" fmla="*/ 5506 h 10000"/>
              <a:gd name="connsiteX22" fmla="*/ 2569 w 10394"/>
              <a:gd name="connsiteY22" fmla="*/ 5730 h 10000"/>
              <a:gd name="connsiteX23" fmla="*/ 2569 w 10394"/>
              <a:gd name="connsiteY23" fmla="*/ 7191 h 10000"/>
              <a:gd name="connsiteX24" fmla="*/ 7339 w 10394"/>
              <a:gd name="connsiteY24" fmla="*/ 7191 h 10000"/>
              <a:gd name="connsiteX25" fmla="*/ 7339 w 10394"/>
              <a:gd name="connsiteY25" fmla="*/ 8820 h 10000"/>
              <a:gd name="connsiteX26" fmla="*/ 7248 w 10394"/>
              <a:gd name="connsiteY26" fmla="*/ 9045 h 10000"/>
              <a:gd name="connsiteX27" fmla="*/ 7156 w 10394"/>
              <a:gd name="connsiteY27" fmla="*/ 9157 h 10000"/>
              <a:gd name="connsiteX28" fmla="*/ 6789 w 10394"/>
              <a:gd name="connsiteY28" fmla="*/ 9382 h 10000"/>
              <a:gd name="connsiteX29" fmla="*/ 6330 w 10394"/>
              <a:gd name="connsiteY29" fmla="*/ 9494 h 10000"/>
              <a:gd name="connsiteX30" fmla="*/ 6239 w 10394"/>
              <a:gd name="connsiteY30" fmla="*/ 9719 h 10000"/>
              <a:gd name="connsiteX31" fmla="*/ 5872 w 10394"/>
              <a:gd name="connsiteY31" fmla="*/ 9831 h 10000"/>
              <a:gd name="connsiteX32" fmla="*/ 5596 w 10394"/>
              <a:gd name="connsiteY32" fmla="*/ 10000 h 10000"/>
              <a:gd name="connsiteX33" fmla="*/ 4954 w 10394"/>
              <a:gd name="connsiteY33" fmla="*/ 10000 h 10000"/>
              <a:gd name="connsiteX34" fmla="*/ 4404 w 10394"/>
              <a:gd name="connsiteY34" fmla="*/ 10000 h 10000"/>
              <a:gd name="connsiteX35" fmla="*/ 3945 w 10394"/>
              <a:gd name="connsiteY35" fmla="*/ 9831 h 10000"/>
              <a:gd name="connsiteX36" fmla="*/ 3670 w 10394"/>
              <a:gd name="connsiteY36" fmla="*/ 9719 h 10000"/>
              <a:gd name="connsiteX37" fmla="*/ 3578 w 10394"/>
              <a:gd name="connsiteY37" fmla="*/ 9494 h 10000"/>
              <a:gd name="connsiteX38" fmla="*/ 3211 w 10394"/>
              <a:gd name="connsiteY38" fmla="*/ 9382 h 10000"/>
              <a:gd name="connsiteX39" fmla="*/ 2844 w 10394"/>
              <a:gd name="connsiteY39" fmla="*/ 9157 h 10000"/>
              <a:gd name="connsiteX40" fmla="*/ 2661 w 10394"/>
              <a:gd name="connsiteY40" fmla="*/ 9045 h 10000"/>
              <a:gd name="connsiteX41" fmla="*/ 2569 w 10394"/>
              <a:gd name="connsiteY41" fmla="*/ 8820 h 10000"/>
              <a:gd name="connsiteX42" fmla="*/ 2569 w 10394"/>
              <a:gd name="connsiteY42" fmla="*/ 8202 h 10000"/>
              <a:gd name="connsiteX0" fmla="*/ 7339 w 10394"/>
              <a:gd name="connsiteY0" fmla="*/ 5730 h 10000"/>
              <a:gd name="connsiteX1" fmla="*/ 9670 w 10394"/>
              <a:gd name="connsiteY1" fmla="*/ 4395 h 10000"/>
              <a:gd name="connsiteX2" fmla="*/ 10000 w 10394"/>
              <a:gd name="connsiteY2" fmla="*/ 2978 h 10000"/>
              <a:gd name="connsiteX3" fmla="*/ 6881 w 10394"/>
              <a:gd name="connsiteY3" fmla="*/ 169 h 10000"/>
              <a:gd name="connsiteX4" fmla="*/ 5963 w 10394"/>
              <a:gd name="connsiteY4" fmla="*/ 0 h 10000"/>
              <a:gd name="connsiteX5" fmla="*/ 4954 w 10394"/>
              <a:gd name="connsiteY5" fmla="*/ 0 h 10000"/>
              <a:gd name="connsiteX6" fmla="*/ 3945 w 10394"/>
              <a:gd name="connsiteY6" fmla="*/ 0 h 10000"/>
              <a:gd name="connsiteX7" fmla="*/ 2936 w 10394"/>
              <a:gd name="connsiteY7" fmla="*/ 169 h 10000"/>
              <a:gd name="connsiteX8" fmla="*/ 2202 w 10394"/>
              <a:gd name="connsiteY8" fmla="*/ 449 h 10000"/>
              <a:gd name="connsiteX9" fmla="*/ 1376 w 10394"/>
              <a:gd name="connsiteY9" fmla="*/ 843 h 10000"/>
              <a:gd name="connsiteX10" fmla="*/ 826 w 10394"/>
              <a:gd name="connsiteY10" fmla="*/ 1292 h 10000"/>
              <a:gd name="connsiteX11" fmla="*/ 275 w 10394"/>
              <a:gd name="connsiteY11" fmla="*/ 1854 h 10000"/>
              <a:gd name="connsiteX12" fmla="*/ 92 w 10394"/>
              <a:gd name="connsiteY12" fmla="*/ 2360 h 10000"/>
              <a:gd name="connsiteX13" fmla="*/ 0 w 10394"/>
              <a:gd name="connsiteY13" fmla="*/ 2978 h 10000"/>
              <a:gd name="connsiteX14" fmla="*/ 0 w 10394"/>
              <a:gd name="connsiteY14" fmla="*/ 3483 h 10000"/>
              <a:gd name="connsiteX15" fmla="*/ 183 w 10394"/>
              <a:gd name="connsiteY15" fmla="*/ 3876 h 10000"/>
              <a:gd name="connsiteX16" fmla="*/ 367 w 10394"/>
              <a:gd name="connsiteY16" fmla="*/ 4213 h 10000"/>
              <a:gd name="connsiteX17" fmla="*/ 642 w 10394"/>
              <a:gd name="connsiteY17" fmla="*/ 4663 h 10000"/>
              <a:gd name="connsiteX18" fmla="*/ 1101 w 10394"/>
              <a:gd name="connsiteY18" fmla="*/ 4888 h 10000"/>
              <a:gd name="connsiteX19" fmla="*/ 1560 w 10394"/>
              <a:gd name="connsiteY19" fmla="*/ 5281 h 10000"/>
              <a:gd name="connsiteX20" fmla="*/ 1927 w 10394"/>
              <a:gd name="connsiteY20" fmla="*/ 5506 h 10000"/>
              <a:gd name="connsiteX21" fmla="*/ 2569 w 10394"/>
              <a:gd name="connsiteY21" fmla="*/ 5730 h 10000"/>
              <a:gd name="connsiteX22" fmla="*/ 2569 w 10394"/>
              <a:gd name="connsiteY22" fmla="*/ 7191 h 10000"/>
              <a:gd name="connsiteX23" fmla="*/ 7339 w 10394"/>
              <a:gd name="connsiteY23" fmla="*/ 7191 h 10000"/>
              <a:gd name="connsiteX24" fmla="*/ 7339 w 10394"/>
              <a:gd name="connsiteY24" fmla="*/ 8820 h 10000"/>
              <a:gd name="connsiteX25" fmla="*/ 7248 w 10394"/>
              <a:gd name="connsiteY25" fmla="*/ 9045 h 10000"/>
              <a:gd name="connsiteX26" fmla="*/ 7156 w 10394"/>
              <a:gd name="connsiteY26" fmla="*/ 9157 h 10000"/>
              <a:gd name="connsiteX27" fmla="*/ 6789 w 10394"/>
              <a:gd name="connsiteY27" fmla="*/ 9382 h 10000"/>
              <a:gd name="connsiteX28" fmla="*/ 6330 w 10394"/>
              <a:gd name="connsiteY28" fmla="*/ 9494 h 10000"/>
              <a:gd name="connsiteX29" fmla="*/ 6239 w 10394"/>
              <a:gd name="connsiteY29" fmla="*/ 9719 h 10000"/>
              <a:gd name="connsiteX30" fmla="*/ 5872 w 10394"/>
              <a:gd name="connsiteY30" fmla="*/ 9831 h 10000"/>
              <a:gd name="connsiteX31" fmla="*/ 5596 w 10394"/>
              <a:gd name="connsiteY31" fmla="*/ 10000 h 10000"/>
              <a:gd name="connsiteX32" fmla="*/ 4954 w 10394"/>
              <a:gd name="connsiteY32" fmla="*/ 10000 h 10000"/>
              <a:gd name="connsiteX33" fmla="*/ 4404 w 10394"/>
              <a:gd name="connsiteY33" fmla="*/ 10000 h 10000"/>
              <a:gd name="connsiteX34" fmla="*/ 3945 w 10394"/>
              <a:gd name="connsiteY34" fmla="*/ 9831 h 10000"/>
              <a:gd name="connsiteX35" fmla="*/ 3670 w 10394"/>
              <a:gd name="connsiteY35" fmla="*/ 9719 h 10000"/>
              <a:gd name="connsiteX36" fmla="*/ 3578 w 10394"/>
              <a:gd name="connsiteY36" fmla="*/ 9494 h 10000"/>
              <a:gd name="connsiteX37" fmla="*/ 3211 w 10394"/>
              <a:gd name="connsiteY37" fmla="*/ 9382 h 10000"/>
              <a:gd name="connsiteX38" fmla="*/ 2844 w 10394"/>
              <a:gd name="connsiteY38" fmla="*/ 9157 h 10000"/>
              <a:gd name="connsiteX39" fmla="*/ 2661 w 10394"/>
              <a:gd name="connsiteY39" fmla="*/ 9045 h 10000"/>
              <a:gd name="connsiteX40" fmla="*/ 2569 w 10394"/>
              <a:gd name="connsiteY40" fmla="*/ 8820 h 10000"/>
              <a:gd name="connsiteX41" fmla="*/ 2569 w 10394"/>
              <a:gd name="connsiteY41" fmla="*/ 8202 h 10000"/>
              <a:gd name="connsiteX0" fmla="*/ 7339 w 10394"/>
              <a:gd name="connsiteY0" fmla="*/ 5950 h 10220"/>
              <a:gd name="connsiteX1" fmla="*/ 9670 w 10394"/>
              <a:gd name="connsiteY1" fmla="*/ 4615 h 10220"/>
              <a:gd name="connsiteX2" fmla="*/ 10000 w 10394"/>
              <a:gd name="connsiteY2" fmla="*/ 3198 h 10220"/>
              <a:gd name="connsiteX3" fmla="*/ 5963 w 10394"/>
              <a:gd name="connsiteY3" fmla="*/ 220 h 10220"/>
              <a:gd name="connsiteX4" fmla="*/ 4954 w 10394"/>
              <a:gd name="connsiteY4" fmla="*/ 220 h 10220"/>
              <a:gd name="connsiteX5" fmla="*/ 3945 w 10394"/>
              <a:gd name="connsiteY5" fmla="*/ 220 h 10220"/>
              <a:gd name="connsiteX6" fmla="*/ 2936 w 10394"/>
              <a:gd name="connsiteY6" fmla="*/ 389 h 10220"/>
              <a:gd name="connsiteX7" fmla="*/ 2202 w 10394"/>
              <a:gd name="connsiteY7" fmla="*/ 669 h 10220"/>
              <a:gd name="connsiteX8" fmla="*/ 1376 w 10394"/>
              <a:gd name="connsiteY8" fmla="*/ 1063 h 10220"/>
              <a:gd name="connsiteX9" fmla="*/ 826 w 10394"/>
              <a:gd name="connsiteY9" fmla="*/ 1512 h 10220"/>
              <a:gd name="connsiteX10" fmla="*/ 275 w 10394"/>
              <a:gd name="connsiteY10" fmla="*/ 2074 h 10220"/>
              <a:gd name="connsiteX11" fmla="*/ 92 w 10394"/>
              <a:gd name="connsiteY11" fmla="*/ 2580 h 10220"/>
              <a:gd name="connsiteX12" fmla="*/ 0 w 10394"/>
              <a:gd name="connsiteY12" fmla="*/ 3198 h 10220"/>
              <a:gd name="connsiteX13" fmla="*/ 0 w 10394"/>
              <a:gd name="connsiteY13" fmla="*/ 3703 h 10220"/>
              <a:gd name="connsiteX14" fmla="*/ 183 w 10394"/>
              <a:gd name="connsiteY14" fmla="*/ 4096 h 10220"/>
              <a:gd name="connsiteX15" fmla="*/ 367 w 10394"/>
              <a:gd name="connsiteY15" fmla="*/ 4433 h 10220"/>
              <a:gd name="connsiteX16" fmla="*/ 642 w 10394"/>
              <a:gd name="connsiteY16" fmla="*/ 4883 h 10220"/>
              <a:gd name="connsiteX17" fmla="*/ 1101 w 10394"/>
              <a:gd name="connsiteY17" fmla="*/ 5108 h 10220"/>
              <a:gd name="connsiteX18" fmla="*/ 1560 w 10394"/>
              <a:gd name="connsiteY18" fmla="*/ 5501 h 10220"/>
              <a:gd name="connsiteX19" fmla="*/ 1927 w 10394"/>
              <a:gd name="connsiteY19" fmla="*/ 5726 h 10220"/>
              <a:gd name="connsiteX20" fmla="*/ 2569 w 10394"/>
              <a:gd name="connsiteY20" fmla="*/ 5950 h 10220"/>
              <a:gd name="connsiteX21" fmla="*/ 2569 w 10394"/>
              <a:gd name="connsiteY21" fmla="*/ 7411 h 10220"/>
              <a:gd name="connsiteX22" fmla="*/ 7339 w 10394"/>
              <a:gd name="connsiteY22" fmla="*/ 7411 h 10220"/>
              <a:gd name="connsiteX23" fmla="*/ 7339 w 10394"/>
              <a:gd name="connsiteY23" fmla="*/ 9040 h 10220"/>
              <a:gd name="connsiteX24" fmla="*/ 7248 w 10394"/>
              <a:gd name="connsiteY24" fmla="*/ 9265 h 10220"/>
              <a:gd name="connsiteX25" fmla="*/ 7156 w 10394"/>
              <a:gd name="connsiteY25" fmla="*/ 9377 h 10220"/>
              <a:gd name="connsiteX26" fmla="*/ 6789 w 10394"/>
              <a:gd name="connsiteY26" fmla="*/ 9602 h 10220"/>
              <a:gd name="connsiteX27" fmla="*/ 6330 w 10394"/>
              <a:gd name="connsiteY27" fmla="*/ 9714 h 10220"/>
              <a:gd name="connsiteX28" fmla="*/ 6239 w 10394"/>
              <a:gd name="connsiteY28" fmla="*/ 9939 h 10220"/>
              <a:gd name="connsiteX29" fmla="*/ 5872 w 10394"/>
              <a:gd name="connsiteY29" fmla="*/ 10051 h 10220"/>
              <a:gd name="connsiteX30" fmla="*/ 5596 w 10394"/>
              <a:gd name="connsiteY30" fmla="*/ 10220 h 10220"/>
              <a:gd name="connsiteX31" fmla="*/ 4954 w 10394"/>
              <a:gd name="connsiteY31" fmla="*/ 10220 h 10220"/>
              <a:gd name="connsiteX32" fmla="*/ 4404 w 10394"/>
              <a:gd name="connsiteY32" fmla="*/ 10220 h 10220"/>
              <a:gd name="connsiteX33" fmla="*/ 3945 w 10394"/>
              <a:gd name="connsiteY33" fmla="*/ 10051 h 10220"/>
              <a:gd name="connsiteX34" fmla="*/ 3670 w 10394"/>
              <a:gd name="connsiteY34" fmla="*/ 9939 h 10220"/>
              <a:gd name="connsiteX35" fmla="*/ 3578 w 10394"/>
              <a:gd name="connsiteY35" fmla="*/ 9714 h 10220"/>
              <a:gd name="connsiteX36" fmla="*/ 3211 w 10394"/>
              <a:gd name="connsiteY36" fmla="*/ 9602 h 10220"/>
              <a:gd name="connsiteX37" fmla="*/ 2844 w 10394"/>
              <a:gd name="connsiteY37" fmla="*/ 9377 h 10220"/>
              <a:gd name="connsiteX38" fmla="*/ 2661 w 10394"/>
              <a:gd name="connsiteY38" fmla="*/ 9265 h 10220"/>
              <a:gd name="connsiteX39" fmla="*/ 2569 w 10394"/>
              <a:gd name="connsiteY39" fmla="*/ 9040 h 10220"/>
              <a:gd name="connsiteX40" fmla="*/ 2569 w 10394"/>
              <a:gd name="connsiteY40" fmla="*/ 8422 h 1022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3945 w 10394"/>
              <a:gd name="connsiteY4" fmla="*/ 0 h 10000"/>
              <a:gd name="connsiteX5" fmla="*/ 2936 w 10394"/>
              <a:gd name="connsiteY5" fmla="*/ 169 h 10000"/>
              <a:gd name="connsiteX6" fmla="*/ 2202 w 10394"/>
              <a:gd name="connsiteY6" fmla="*/ 449 h 10000"/>
              <a:gd name="connsiteX7" fmla="*/ 1376 w 10394"/>
              <a:gd name="connsiteY7" fmla="*/ 843 h 10000"/>
              <a:gd name="connsiteX8" fmla="*/ 826 w 10394"/>
              <a:gd name="connsiteY8" fmla="*/ 1292 h 10000"/>
              <a:gd name="connsiteX9" fmla="*/ 275 w 10394"/>
              <a:gd name="connsiteY9" fmla="*/ 1854 h 10000"/>
              <a:gd name="connsiteX10" fmla="*/ 92 w 10394"/>
              <a:gd name="connsiteY10" fmla="*/ 2360 h 10000"/>
              <a:gd name="connsiteX11" fmla="*/ 0 w 10394"/>
              <a:gd name="connsiteY11" fmla="*/ 2978 h 10000"/>
              <a:gd name="connsiteX12" fmla="*/ 0 w 10394"/>
              <a:gd name="connsiteY12" fmla="*/ 3483 h 10000"/>
              <a:gd name="connsiteX13" fmla="*/ 183 w 10394"/>
              <a:gd name="connsiteY13" fmla="*/ 3876 h 10000"/>
              <a:gd name="connsiteX14" fmla="*/ 367 w 10394"/>
              <a:gd name="connsiteY14" fmla="*/ 4213 h 10000"/>
              <a:gd name="connsiteX15" fmla="*/ 642 w 10394"/>
              <a:gd name="connsiteY15" fmla="*/ 4663 h 10000"/>
              <a:gd name="connsiteX16" fmla="*/ 1101 w 10394"/>
              <a:gd name="connsiteY16" fmla="*/ 4888 h 10000"/>
              <a:gd name="connsiteX17" fmla="*/ 1560 w 10394"/>
              <a:gd name="connsiteY17" fmla="*/ 5281 h 10000"/>
              <a:gd name="connsiteX18" fmla="*/ 1927 w 10394"/>
              <a:gd name="connsiteY18" fmla="*/ 5506 h 10000"/>
              <a:gd name="connsiteX19" fmla="*/ 2569 w 10394"/>
              <a:gd name="connsiteY19" fmla="*/ 5730 h 10000"/>
              <a:gd name="connsiteX20" fmla="*/ 2569 w 10394"/>
              <a:gd name="connsiteY20" fmla="*/ 7191 h 10000"/>
              <a:gd name="connsiteX21" fmla="*/ 7339 w 10394"/>
              <a:gd name="connsiteY21" fmla="*/ 7191 h 10000"/>
              <a:gd name="connsiteX22" fmla="*/ 7339 w 10394"/>
              <a:gd name="connsiteY22" fmla="*/ 8820 h 10000"/>
              <a:gd name="connsiteX23" fmla="*/ 7248 w 10394"/>
              <a:gd name="connsiteY23" fmla="*/ 9045 h 10000"/>
              <a:gd name="connsiteX24" fmla="*/ 7156 w 10394"/>
              <a:gd name="connsiteY24" fmla="*/ 9157 h 10000"/>
              <a:gd name="connsiteX25" fmla="*/ 6789 w 10394"/>
              <a:gd name="connsiteY25" fmla="*/ 9382 h 10000"/>
              <a:gd name="connsiteX26" fmla="*/ 6330 w 10394"/>
              <a:gd name="connsiteY26" fmla="*/ 9494 h 10000"/>
              <a:gd name="connsiteX27" fmla="*/ 6239 w 10394"/>
              <a:gd name="connsiteY27" fmla="*/ 9719 h 10000"/>
              <a:gd name="connsiteX28" fmla="*/ 5872 w 10394"/>
              <a:gd name="connsiteY28" fmla="*/ 9831 h 10000"/>
              <a:gd name="connsiteX29" fmla="*/ 5596 w 10394"/>
              <a:gd name="connsiteY29" fmla="*/ 10000 h 10000"/>
              <a:gd name="connsiteX30" fmla="*/ 4954 w 10394"/>
              <a:gd name="connsiteY30" fmla="*/ 10000 h 10000"/>
              <a:gd name="connsiteX31" fmla="*/ 4404 w 10394"/>
              <a:gd name="connsiteY31" fmla="*/ 10000 h 10000"/>
              <a:gd name="connsiteX32" fmla="*/ 3945 w 10394"/>
              <a:gd name="connsiteY32" fmla="*/ 9831 h 10000"/>
              <a:gd name="connsiteX33" fmla="*/ 3670 w 10394"/>
              <a:gd name="connsiteY33" fmla="*/ 9719 h 10000"/>
              <a:gd name="connsiteX34" fmla="*/ 3578 w 10394"/>
              <a:gd name="connsiteY34" fmla="*/ 9494 h 10000"/>
              <a:gd name="connsiteX35" fmla="*/ 3211 w 10394"/>
              <a:gd name="connsiteY35" fmla="*/ 9382 h 10000"/>
              <a:gd name="connsiteX36" fmla="*/ 2844 w 10394"/>
              <a:gd name="connsiteY36" fmla="*/ 9157 h 10000"/>
              <a:gd name="connsiteX37" fmla="*/ 2661 w 10394"/>
              <a:gd name="connsiteY37" fmla="*/ 9045 h 10000"/>
              <a:gd name="connsiteX38" fmla="*/ 2569 w 10394"/>
              <a:gd name="connsiteY38" fmla="*/ 8820 h 10000"/>
              <a:gd name="connsiteX39" fmla="*/ 2569 w 10394"/>
              <a:gd name="connsiteY39"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2936 w 10394"/>
              <a:gd name="connsiteY4" fmla="*/ 169 h 10000"/>
              <a:gd name="connsiteX5" fmla="*/ 2202 w 10394"/>
              <a:gd name="connsiteY5" fmla="*/ 449 h 10000"/>
              <a:gd name="connsiteX6" fmla="*/ 1376 w 10394"/>
              <a:gd name="connsiteY6" fmla="*/ 843 h 10000"/>
              <a:gd name="connsiteX7" fmla="*/ 826 w 10394"/>
              <a:gd name="connsiteY7" fmla="*/ 1292 h 10000"/>
              <a:gd name="connsiteX8" fmla="*/ 275 w 10394"/>
              <a:gd name="connsiteY8" fmla="*/ 1854 h 10000"/>
              <a:gd name="connsiteX9" fmla="*/ 92 w 10394"/>
              <a:gd name="connsiteY9" fmla="*/ 2360 h 10000"/>
              <a:gd name="connsiteX10" fmla="*/ 0 w 10394"/>
              <a:gd name="connsiteY10" fmla="*/ 2978 h 10000"/>
              <a:gd name="connsiteX11" fmla="*/ 0 w 10394"/>
              <a:gd name="connsiteY11" fmla="*/ 3483 h 10000"/>
              <a:gd name="connsiteX12" fmla="*/ 183 w 10394"/>
              <a:gd name="connsiteY12" fmla="*/ 3876 h 10000"/>
              <a:gd name="connsiteX13" fmla="*/ 367 w 10394"/>
              <a:gd name="connsiteY13" fmla="*/ 4213 h 10000"/>
              <a:gd name="connsiteX14" fmla="*/ 642 w 10394"/>
              <a:gd name="connsiteY14" fmla="*/ 4663 h 10000"/>
              <a:gd name="connsiteX15" fmla="*/ 1101 w 10394"/>
              <a:gd name="connsiteY15" fmla="*/ 4888 h 10000"/>
              <a:gd name="connsiteX16" fmla="*/ 1560 w 10394"/>
              <a:gd name="connsiteY16" fmla="*/ 5281 h 10000"/>
              <a:gd name="connsiteX17" fmla="*/ 1927 w 10394"/>
              <a:gd name="connsiteY17" fmla="*/ 5506 h 10000"/>
              <a:gd name="connsiteX18" fmla="*/ 2569 w 10394"/>
              <a:gd name="connsiteY18" fmla="*/ 5730 h 10000"/>
              <a:gd name="connsiteX19" fmla="*/ 2569 w 10394"/>
              <a:gd name="connsiteY19" fmla="*/ 7191 h 10000"/>
              <a:gd name="connsiteX20" fmla="*/ 7339 w 10394"/>
              <a:gd name="connsiteY20" fmla="*/ 7191 h 10000"/>
              <a:gd name="connsiteX21" fmla="*/ 7339 w 10394"/>
              <a:gd name="connsiteY21" fmla="*/ 8820 h 10000"/>
              <a:gd name="connsiteX22" fmla="*/ 7248 w 10394"/>
              <a:gd name="connsiteY22" fmla="*/ 9045 h 10000"/>
              <a:gd name="connsiteX23" fmla="*/ 7156 w 10394"/>
              <a:gd name="connsiteY23" fmla="*/ 9157 h 10000"/>
              <a:gd name="connsiteX24" fmla="*/ 6789 w 10394"/>
              <a:gd name="connsiteY24" fmla="*/ 9382 h 10000"/>
              <a:gd name="connsiteX25" fmla="*/ 6330 w 10394"/>
              <a:gd name="connsiteY25" fmla="*/ 9494 h 10000"/>
              <a:gd name="connsiteX26" fmla="*/ 6239 w 10394"/>
              <a:gd name="connsiteY26" fmla="*/ 9719 h 10000"/>
              <a:gd name="connsiteX27" fmla="*/ 5872 w 10394"/>
              <a:gd name="connsiteY27" fmla="*/ 9831 h 10000"/>
              <a:gd name="connsiteX28" fmla="*/ 5596 w 10394"/>
              <a:gd name="connsiteY28" fmla="*/ 10000 h 10000"/>
              <a:gd name="connsiteX29" fmla="*/ 4954 w 10394"/>
              <a:gd name="connsiteY29" fmla="*/ 10000 h 10000"/>
              <a:gd name="connsiteX30" fmla="*/ 4404 w 10394"/>
              <a:gd name="connsiteY30" fmla="*/ 10000 h 10000"/>
              <a:gd name="connsiteX31" fmla="*/ 3945 w 10394"/>
              <a:gd name="connsiteY31" fmla="*/ 9831 h 10000"/>
              <a:gd name="connsiteX32" fmla="*/ 3670 w 10394"/>
              <a:gd name="connsiteY32" fmla="*/ 9719 h 10000"/>
              <a:gd name="connsiteX33" fmla="*/ 3578 w 10394"/>
              <a:gd name="connsiteY33" fmla="*/ 9494 h 10000"/>
              <a:gd name="connsiteX34" fmla="*/ 3211 w 10394"/>
              <a:gd name="connsiteY34" fmla="*/ 9382 h 10000"/>
              <a:gd name="connsiteX35" fmla="*/ 2844 w 10394"/>
              <a:gd name="connsiteY35" fmla="*/ 9157 h 10000"/>
              <a:gd name="connsiteX36" fmla="*/ 2661 w 10394"/>
              <a:gd name="connsiteY36" fmla="*/ 9045 h 10000"/>
              <a:gd name="connsiteX37" fmla="*/ 2569 w 10394"/>
              <a:gd name="connsiteY37" fmla="*/ 8820 h 10000"/>
              <a:gd name="connsiteX38" fmla="*/ 2569 w 10394"/>
              <a:gd name="connsiteY38"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2936 w 10394"/>
              <a:gd name="connsiteY4" fmla="*/ 169 h 10000"/>
              <a:gd name="connsiteX5" fmla="*/ 1376 w 10394"/>
              <a:gd name="connsiteY5" fmla="*/ 843 h 10000"/>
              <a:gd name="connsiteX6" fmla="*/ 826 w 10394"/>
              <a:gd name="connsiteY6" fmla="*/ 1292 h 10000"/>
              <a:gd name="connsiteX7" fmla="*/ 275 w 10394"/>
              <a:gd name="connsiteY7" fmla="*/ 1854 h 10000"/>
              <a:gd name="connsiteX8" fmla="*/ 92 w 10394"/>
              <a:gd name="connsiteY8" fmla="*/ 2360 h 10000"/>
              <a:gd name="connsiteX9" fmla="*/ 0 w 10394"/>
              <a:gd name="connsiteY9" fmla="*/ 2978 h 10000"/>
              <a:gd name="connsiteX10" fmla="*/ 0 w 10394"/>
              <a:gd name="connsiteY10" fmla="*/ 3483 h 10000"/>
              <a:gd name="connsiteX11" fmla="*/ 183 w 10394"/>
              <a:gd name="connsiteY11" fmla="*/ 3876 h 10000"/>
              <a:gd name="connsiteX12" fmla="*/ 367 w 10394"/>
              <a:gd name="connsiteY12" fmla="*/ 4213 h 10000"/>
              <a:gd name="connsiteX13" fmla="*/ 642 w 10394"/>
              <a:gd name="connsiteY13" fmla="*/ 4663 h 10000"/>
              <a:gd name="connsiteX14" fmla="*/ 1101 w 10394"/>
              <a:gd name="connsiteY14" fmla="*/ 4888 h 10000"/>
              <a:gd name="connsiteX15" fmla="*/ 1560 w 10394"/>
              <a:gd name="connsiteY15" fmla="*/ 5281 h 10000"/>
              <a:gd name="connsiteX16" fmla="*/ 1927 w 10394"/>
              <a:gd name="connsiteY16" fmla="*/ 5506 h 10000"/>
              <a:gd name="connsiteX17" fmla="*/ 2569 w 10394"/>
              <a:gd name="connsiteY17" fmla="*/ 5730 h 10000"/>
              <a:gd name="connsiteX18" fmla="*/ 2569 w 10394"/>
              <a:gd name="connsiteY18" fmla="*/ 7191 h 10000"/>
              <a:gd name="connsiteX19" fmla="*/ 7339 w 10394"/>
              <a:gd name="connsiteY19" fmla="*/ 7191 h 10000"/>
              <a:gd name="connsiteX20" fmla="*/ 7339 w 10394"/>
              <a:gd name="connsiteY20" fmla="*/ 8820 h 10000"/>
              <a:gd name="connsiteX21" fmla="*/ 7248 w 10394"/>
              <a:gd name="connsiteY21" fmla="*/ 9045 h 10000"/>
              <a:gd name="connsiteX22" fmla="*/ 7156 w 10394"/>
              <a:gd name="connsiteY22" fmla="*/ 9157 h 10000"/>
              <a:gd name="connsiteX23" fmla="*/ 6789 w 10394"/>
              <a:gd name="connsiteY23" fmla="*/ 9382 h 10000"/>
              <a:gd name="connsiteX24" fmla="*/ 6330 w 10394"/>
              <a:gd name="connsiteY24" fmla="*/ 9494 h 10000"/>
              <a:gd name="connsiteX25" fmla="*/ 6239 w 10394"/>
              <a:gd name="connsiteY25" fmla="*/ 9719 h 10000"/>
              <a:gd name="connsiteX26" fmla="*/ 5872 w 10394"/>
              <a:gd name="connsiteY26" fmla="*/ 9831 h 10000"/>
              <a:gd name="connsiteX27" fmla="*/ 5596 w 10394"/>
              <a:gd name="connsiteY27" fmla="*/ 10000 h 10000"/>
              <a:gd name="connsiteX28" fmla="*/ 4954 w 10394"/>
              <a:gd name="connsiteY28" fmla="*/ 10000 h 10000"/>
              <a:gd name="connsiteX29" fmla="*/ 4404 w 10394"/>
              <a:gd name="connsiteY29" fmla="*/ 10000 h 10000"/>
              <a:gd name="connsiteX30" fmla="*/ 3945 w 10394"/>
              <a:gd name="connsiteY30" fmla="*/ 9831 h 10000"/>
              <a:gd name="connsiteX31" fmla="*/ 3670 w 10394"/>
              <a:gd name="connsiteY31" fmla="*/ 9719 h 10000"/>
              <a:gd name="connsiteX32" fmla="*/ 3578 w 10394"/>
              <a:gd name="connsiteY32" fmla="*/ 9494 h 10000"/>
              <a:gd name="connsiteX33" fmla="*/ 3211 w 10394"/>
              <a:gd name="connsiteY33" fmla="*/ 9382 h 10000"/>
              <a:gd name="connsiteX34" fmla="*/ 2844 w 10394"/>
              <a:gd name="connsiteY34" fmla="*/ 9157 h 10000"/>
              <a:gd name="connsiteX35" fmla="*/ 2661 w 10394"/>
              <a:gd name="connsiteY35" fmla="*/ 9045 h 10000"/>
              <a:gd name="connsiteX36" fmla="*/ 2569 w 10394"/>
              <a:gd name="connsiteY36" fmla="*/ 8820 h 10000"/>
              <a:gd name="connsiteX37" fmla="*/ 2569 w 10394"/>
              <a:gd name="connsiteY37"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2936 w 10394"/>
              <a:gd name="connsiteY4" fmla="*/ 169 h 10000"/>
              <a:gd name="connsiteX5" fmla="*/ 826 w 10394"/>
              <a:gd name="connsiteY5" fmla="*/ 1292 h 10000"/>
              <a:gd name="connsiteX6" fmla="*/ 275 w 10394"/>
              <a:gd name="connsiteY6" fmla="*/ 1854 h 10000"/>
              <a:gd name="connsiteX7" fmla="*/ 92 w 10394"/>
              <a:gd name="connsiteY7" fmla="*/ 2360 h 10000"/>
              <a:gd name="connsiteX8" fmla="*/ 0 w 10394"/>
              <a:gd name="connsiteY8" fmla="*/ 2978 h 10000"/>
              <a:gd name="connsiteX9" fmla="*/ 0 w 10394"/>
              <a:gd name="connsiteY9" fmla="*/ 3483 h 10000"/>
              <a:gd name="connsiteX10" fmla="*/ 183 w 10394"/>
              <a:gd name="connsiteY10" fmla="*/ 3876 h 10000"/>
              <a:gd name="connsiteX11" fmla="*/ 367 w 10394"/>
              <a:gd name="connsiteY11" fmla="*/ 4213 h 10000"/>
              <a:gd name="connsiteX12" fmla="*/ 642 w 10394"/>
              <a:gd name="connsiteY12" fmla="*/ 4663 h 10000"/>
              <a:gd name="connsiteX13" fmla="*/ 1101 w 10394"/>
              <a:gd name="connsiteY13" fmla="*/ 4888 h 10000"/>
              <a:gd name="connsiteX14" fmla="*/ 1560 w 10394"/>
              <a:gd name="connsiteY14" fmla="*/ 5281 h 10000"/>
              <a:gd name="connsiteX15" fmla="*/ 1927 w 10394"/>
              <a:gd name="connsiteY15" fmla="*/ 5506 h 10000"/>
              <a:gd name="connsiteX16" fmla="*/ 2569 w 10394"/>
              <a:gd name="connsiteY16" fmla="*/ 5730 h 10000"/>
              <a:gd name="connsiteX17" fmla="*/ 2569 w 10394"/>
              <a:gd name="connsiteY17" fmla="*/ 7191 h 10000"/>
              <a:gd name="connsiteX18" fmla="*/ 7339 w 10394"/>
              <a:gd name="connsiteY18" fmla="*/ 7191 h 10000"/>
              <a:gd name="connsiteX19" fmla="*/ 7339 w 10394"/>
              <a:gd name="connsiteY19" fmla="*/ 8820 h 10000"/>
              <a:gd name="connsiteX20" fmla="*/ 7248 w 10394"/>
              <a:gd name="connsiteY20" fmla="*/ 9045 h 10000"/>
              <a:gd name="connsiteX21" fmla="*/ 7156 w 10394"/>
              <a:gd name="connsiteY21" fmla="*/ 9157 h 10000"/>
              <a:gd name="connsiteX22" fmla="*/ 6789 w 10394"/>
              <a:gd name="connsiteY22" fmla="*/ 9382 h 10000"/>
              <a:gd name="connsiteX23" fmla="*/ 6330 w 10394"/>
              <a:gd name="connsiteY23" fmla="*/ 9494 h 10000"/>
              <a:gd name="connsiteX24" fmla="*/ 6239 w 10394"/>
              <a:gd name="connsiteY24" fmla="*/ 9719 h 10000"/>
              <a:gd name="connsiteX25" fmla="*/ 5872 w 10394"/>
              <a:gd name="connsiteY25" fmla="*/ 9831 h 10000"/>
              <a:gd name="connsiteX26" fmla="*/ 5596 w 10394"/>
              <a:gd name="connsiteY26" fmla="*/ 10000 h 10000"/>
              <a:gd name="connsiteX27" fmla="*/ 4954 w 10394"/>
              <a:gd name="connsiteY27" fmla="*/ 10000 h 10000"/>
              <a:gd name="connsiteX28" fmla="*/ 4404 w 10394"/>
              <a:gd name="connsiteY28" fmla="*/ 10000 h 10000"/>
              <a:gd name="connsiteX29" fmla="*/ 3945 w 10394"/>
              <a:gd name="connsiteY29" fmla="*/ 9831 h 10000"/>
              <a:gd name="connsiteX30" fmla="*/ 3670 w 10394"/>
              <a:gd name="connsiteY30" fmla="*/ 9719 h 10000"/>
              <a:gd name="connsiteX31" fmla="*/ 3578 w 10394"/>
              <a:gd name="connsiteY31" fmla="*/ 9494 h 10000"/>
              <a:gd name="connsiteX32" fmla="*/ 3211 w 10394"/>
              <a:gd name="connsiteY32" fmla="*/ 9382 h 10000"/>
              <a:gd name="connsiteX33" fmla="*/ 2844 w 10394"/>
              <a:gd name="connsiteY33" fmla="*/ 9157 h 10000"/>
              <a:gd name="connsiteX34" fmla="*/ 2661 w 10394"/>
              <a:gd name="connsiteY34" fmla="*/ 9045 h 10000"/>
              <a:gd name="connsiteX35" fmla="*/ 2569 w 10394"/>
              <a:gd name="connsiteY35" fmla="*/ 8820 h 10000"/>
              <a:gd name="connsiteX36" fmla="*/ 2569 w 10394"/>
              <a:gd name="connsiteY36"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826 w 10394"/>
              <a:gd name="connsiteY4" fmla="*/ 1292 h 10000"/>
              <a:gd name="connsiteX5" fmla="*/ 275 w 10394"/>
              <a:gd name="connsiteY5" fmla="*/ 1854 h 10000"/>
              <a:gd name="connsiteX6" fmla="*/ 92 w 10394"/>
              <a:gd name="connsiteY6" fmla="*/ 2360 h 10000"/>
              <a:gd name="connsiteX7" fmla="*/ 0 w 10394"/>
              <a:gd name="connsiteY7" fmla="*/ 2978 h 10000"/>
              <a:gd name="connsiteX8" fmla="*/ 0 w 10394"/>
              <a:gd name="connsiteY8" fmla="*/ 3483 h 10000"/>
              <a:gd name="connsiteX9" fmla="*/ 183 w 10394"/>
              <a:gd name="connsiteY9" fmla="*/ 3876 h 10000"/>
              <a:gd name="connsiteX10" fmla="*/ 367 w 10394"/>
              <a:gd name="connsiteY10" fmla="*/ 4213 h 10000"/>
              <a:gd name="connsiteX11" fmla="*/ 642 w 10394"/>
              <a:gd name="connsiteY11" fmla="*/ 4663 h 10000"/>
              <a:gd name="connsiteX12" fmla="*/ 1101 w 10394"/>
              <a:gd name="connsiteY12" fmla="*/ 4888 h 10000"/>
              <a:gd name="connsiteX13" fmla="*/ 1560 w 10394"/>
              <a:gd name="connsiteY13" fmla="*/ 5281 h 10000"/>
              <a:gd name="connsiteX14" fmla="*/ 1927 w 10394"/>
              <a:gd name="connsiteY14" fmla="*/ 5506 h 10000"/>
              <a:gd name="connsiteX15" fmla="*/ 2569 w 10394"/>
              <a:gd name="connsiteY15" fmla="*/ 5730 h 10000"/>
              <a:gd name="connsiteX16" fmla="*/ 2569 w 10394"/>
              <a:gd name="connsiteY16" fmla="*/ 7191 h 10000"/>
              <a:gd name="connsiteX17" fmla="*/ 7339 w 10394"/>
              <a:gd name="connsiteY17" fmla="*/ 7191 h 10000"/>
              <a:gd name="connsiteX18" fmla="*/ 7339 w 10394"/>
              <a:gd name="connsiteY18" fmla="*/ 8820 h 10000"/>
              <a:gd name="connsiteX19" fmla="*/ 7248 w 10394"/>
              <a:gd name="connsiteY19" fmla="*/ 9045 h 10000"/>
              <a:gd name="connsiteX20" fmla="*/ 7156 w 10394"/>
              <a:gd name="connsiteY20" fmla="*/ 9157 h 10000"/>
              <a:gd name="connsiteX21" fmla="*/ 6789 w 10394"/>
              <a:gd name="connsiteY21" fmla="*/ 9382 h 10000"/>
              <a:gd name="connsiteX22" fmla="*/ 6330 w 10394"/>
              <a:gd name="connsiteY22" fmla="*/ 9494 h 10000"/>
              <a:gd name="connsiteX23" fmla="*/ 6239 w 10394"/>
              <a:gd name="connsiteY23" fmla="*/ 9719 h 10000"/>
              <a:gd name="connsiteX24" fmla="*/ 5872 w 10394"/>
              <a:gd name="connsiteY24" fmla="*/ 9831 h 10000"/>
              <a:gd name="connsiteX25" fmla="*/ 5596 w 10394"/>
              <a:gd name="connsiteY25" fmla="*/ 10000 h 10000"/>
              <a:gd name="connsiteX26" fmla="*/ 4954 w 10394"/>
              <a:gd name="connsiteY26" fmla="*/ 10000 h 10000"/>
              <a:gd name="connsiteX27" fmla="*/ 4404 w 10394"/>
              <a:gd name="connsiteY27" fmla="*/ 10000 h 10000"/>
              <a:gd name="connsiteX28" fmla="*/ 3945 w 10394"/>
              <a:gd name="connsiteY28" fmla="*/ 9831 h 10000"/>
              <a:gd name="connsiteX29" fmla="*/ 3670 w 10394"/>
              <a:gd name="connsiteY29" fmla="*/ 9719 h 10000"/>
              <a:gd name="connsiteX30" fmla="*/ 3578 w 10394"/>
              <a:gd name="connsiteY30" fmla="*/ 9494 h 10000"/>
              <a:gd name="connsiteX31" fmla="*/ 3211 w 10394"/>
              <a:gd name="connsiteY31" fmla="*/ 9382 h 10000"/>
              <a:gd name="connsiteX32" fmla="*/ 2844 w 10394"/>
              <a:gd name="connsiteY32" fmla="*/ 9157 h 10000"/>
              <a:gd name="connsiteX33" fmla="*/ 2661 w 10394"/>
              <a:gd name="connsiteY33" fmla="*/ 9045 h 10000"/>
              <a:gd name="connsiteX34" fmla="*/ 2569 w 10394"/>
              <a:gd name="connsiteY34" fmla="*/ 8820 h 10000"/>
              <a:gd name="connsiteX35" fmla="*/ 2569 w 10394"/>
              <a:gd name="connsiteY35"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275 w 10394"/>
              <a:gd name="connsiteY4" fmla="*/ 1854 h 10000"/>
              <a:gd name="connsiteX5" fmla="*/ 92 w 10394"/>
              <a:gd name="connsiteY5" fmla="*/ 2360 h 10000"/>
              <a:gd name="connsiteX6" fmla="*/ 0 w 10394"/>
              <a:gd name="connsiteY6" fmla="*/ 2978 h 10000"/>
              <a:gd name="connsiteX7" fmla="*/ 0 w 10394"/>
              <a:gd name="connsiteY7" fmla="*/ 3483 h 10000"/>
              <a:gd name="connsiteX8" fmla="*/ 183 w 10394"/>
              <a:gd name="connsiteY8" fmla="*/ 3876 h 10000"/>
              <a:gd name="connsiteX9" fmla="*/ 367 w 10394"/>
              <a:gd name="connsiteY9" fmla="*/ 4213 h 10000"/>
              <a:gd name="connsiteX10" fmla="*/ 642 w 10394"/>
              <a:gd name="connsiteY10" fmla="*/ 4663 h 10000"/>
              <a:gd name="connsiteX11" fmla="*/ 1101 w 10394"/>
              <a:gd name="connsiteY11" fmla="*/ 4888 h 10000"/>
              <a:gd name="connsiteX12" fmla="*/ 1560 w 10394"/>
              <a:gd name="connsiteY12" fmla="*/ 5281 h 10000"/>
              <a:gd name="connsiteX13" fmla="*/ 1927 w 10394"/>
              <a:gd name="connsiteY13" fmla="*/ 5506 h 10000"/>
              <a:gd name="connsiteX14" fmla="*/ 2569 w 10394"/>
              <a:gd name="connsiteY14" fmla="*/ 5730 h 10000"/>
              <a:gd name="connsiteX15" fmla="*/ 2569 w 10394"/>
              <a:gd name="connsiteY15" fmla="*/ 7191 h 10000"/>
              <a:gd name="connsiteX16" fmla="*/ 7339 w 10394"/>
              <a:gd name="connsiteY16" fmla="*/ 7191 h 10000"/>
              <a:gd name="connsiteX17" fmla="*/ 7339 w 10394"/>
              <a:gd name="connsiteY17" fmla="*/ 8820 h 10000"/>
              <a:gd name="connsiteX18" fmla="*/ 7248 w 10394"/>
              <a:gd name="connsiteY18" fmla="*/ 9045 h 10000"/>
              <a:gd name="connsiteX19" fmla="*/ 7156 w 10394"/>
              <a:gd name="connsiteY19" fmla="*/ 9157 h 10000"/>
              <a:gd name="connsiteX20" fmla="*/ 6789 w 10394"/>
              <a:gd name="connsiteY20" fmla="*/ 9382 h 10000"/>
              <a:gd name="connsiteX21" fmla="*/ 6330 w 10394"/>
              <a:gd name="connsiteY21" fmla="*/ 9494 h 10000"/>
              <a:gd name="connsiteX22" fmla="*/ 6239 w 10394"/>
              <a:gd name="connsiteY22" fmla="*/ 9719 h 10000"/>
              <a:gd name="connsiteX23" fmla="*/ 5872 w 10394"/>
              <a:gd name="connsiteY23" fmla="*/ 9831 h 10000"/>
              <a:gd name="connsiteX24" fmla="*/ 5596 w 10394"/>
              <a:gd name="connsiteY24" fmla="*/ 10000 h 10000"/>
              <a:gd name="connsiteX25" fmla="*/ 4954 w 10394"/>
              <a:gd name="connsiteY25" fmla="*/ 10000 h 10000"/>
              <a:gd name="connsiteX26" fmla="*/ 4404 w 10394"/>
              <a:gd name="connsiteY26" fmla="*/ 10000 h 10000"/>
              <a:gd name="connsiteX27" fmla="*/ 3945 w 10394"/>
              <a:gd name="connsiteY27" fmla="*/ 9831 h 10000"/>
              <a:gd name="connsiteX28" fmla="*/ 3670 w 10394"/>
              <a:gd name="connsiteY28" fmla="*/ 9719 h 10000"/>
              <a:gd name="connsiteX29" fmla="*/ 3578 w 10394"/>
              <a:gd name="connsiteY29" fmla="*/ 9494 h 10000"/>
              <a:gd name="connsiteX30" fmla="*/ 3211 w 10394"/>
              <a:gd name="connsiteY30" fmla="*/ 9382 h 10000"/>
              <a:gd name="connsiteX31" fmla="*/ 2844 w 10394"/>
              <a:gd name="connsiteY31" fmla="*/ 9157 h 10000"/>
              <a:gd name="connsiteX32" fmla="*/ 2661 w 10394"/>
              <a:gd name="connsiteY32" fmla="*/ 9045 h 10000"/>
              <a:gd name="connsiteX33" fmla="*/ 2569 w 10394"/>
              <a:gd name="connsiteY33" fmla="*/ 8820 h 10000"/>
              <a:gd name="connsiteX34" fmla="*/ 2569 w 10394"/>
              <a:gd name="connsiteY34" fmla="*/ 8202 h 10000"/>
              <a:gd name="connsiteX0" fmla="*/ 7339 w 10394"/>
              <a:gd name="connsiteY0" fmla="*/ 5730 h 10000"/>
              <a:gd name="connsiteX1" fmla="*/ 9670 w 10394"/>
              <a:gd name="connsiteY1" fmla="*/ 4395 h 10000"/>
              <a:gd name="connsiteX2" fmla="*/ 10000 w 10394"/>
              <a:gd name="connsiteY2" fmla="*/ 2978 h 10000"/>
              <a:gd name="connsiteX3" fmla="*/ 4954 w 10394"/>
              <a:gd name="connsiteY3" fmla="*/ 0 h 10000"/>
              <a:gd name="connsiteX4" fmla="*/ 92 w 10394"/>
              <a:gd name="connsiteY4" fmla="*/ 2360 h 10000"/>
              <a:gd name="connsiteX5" fmla="*/ 0 w 10394"/>
              <a:gd name="connsiteY5" fmla="*/ 2978 h 10000"/>
              <a:gd name="connsiteX6" fmla="*/ 0 w 10394"/>
              <a:gd name="connsiteY6" fmla="*/ 3483 h 10000"/>
              <a:gd name="connsiteX7" fmla="*/ 183 w 10394"/>
              <a:gd name="connsiteY7" fmla="*/ 3876 h 10000"/>
              <a:gd name="connsiteX8" fmla="*/ 367 w 10394"/>
              <a:gd name="connsiteY8" fmla="*/ 4213 h 10000"/>
              <a:gd name="connsiteX9" fmla="*/ 642 w 10394"/>
              <a:gd name="connsiteY9" fmla="*/ 4663 h 10000"/>
              <a:gd name="connsiteX10" fmla="*/ 1101 w 10394"/>
              <a:gd name="connsiteY10" fmla="*/ 4888 h 10000"/>
              <a:gd name="connsiteX11" fmla="*/ 1560 w 10394"/>
              <a:gd name="connsiteY11" fmla="*/ 5281 h 10000"/>
              <a:gd name="connsiteX12" fmla="*/ 1927 w 10394"/>
              <a:gd name="connsiteY12" fmla="*/ 5506 h 10000"/>
              <a:gd name="connsiteX13" fmla="*/ 2569 w 10394"/>
              <a:gd name="connsiteY13" fmla="*/ 5730 h 10000"/>
              <a:gd name="connsiteX14" fmla="*/ 2569 w 10394"/>
              <a:gd name="connsiteY14" fmla="*/ 7191 h 10000"/>
              <a:gd name="connsiteX15" fmla="*/ 7339 w 10394"/>
              <a:gd name="connsiteY15" fmla="*/ 7191 h 10000"/>
              <a:gd name="connsiteX16" fmla="*/ 7339 w 10394"/>
              <a:gd name="connsiteY16" fmla="*/ 8820 h 10000"/>
              <a:gd name="connsiteX17" fmla="*/ 7248 w 10394"/>
              <a:gd name="connsiteY17" fmla="*/ 9045 h 10000"/>
              <a:gd name="connsiteX18" fmla="*/ 7156 w 10394"/>
              <a:gd name="connsiteY18" fmla="*/ 9157 h 10000"/>
              <a:gd name="connsiteX19" fmla="*/ 6789 w 10394"/>
              <a:gd name="connsiteY19" fmla="*/ 9382 h 10000"/>
              <a:gd name="connsiteX20" fmla="*/ 6330 w 10394"/>
              <a:gd name="connsiteY20" fmla="*/ 9494 h 10000"/>
              <a:gd name="connsiteX21" fmla="*/ 6239 w 10394"/>
              <a:gd name="connsiteY21" fmla="*/ 9719 h 10000"/>
              <a:gd name="connsiteX22" fmla="*/ 5872 w 10394"/>
              <a:gd name="connsiteY22" fmla="*/ 9831 h 10000"/>
              <a:gd name="connsiteX23" fmla="*/ 5596 w 10394"/>
              <a:gd name="connsiteY23" fmla="*/ 10000 h 10000"/>
              <a:gd name="connsiteX24" fmla="*/ 4954 w 10394"/>
              <a:gd name="connsiteY24" fmla="*/ 10000 h 10000"/>
              <a:gd name="connsiteX25" fmla="*/ 4404 w 10394"/>
              <a:gd name="connsiteY25" fmla="*/ 10000 h 10000"/>
              <a:gd name="connsiteX26" fmla="*/ 3945 w 10394"/>
              <a:gd name="connsiteY26" fmla="*/ 9831 h 10000"/>
              <a:gd name="connsiteX27" fmla="*/ 3670 w 10394"/>
              <a:gd name="connsiteY27" fmla="*/ 9719 h 10000"/>
              <a:gd name="connsiteX28" fmla="*/ 3578 w 10394"/>
              <a:gd name="connsiteY28" fmla="*/ 9494 h 10000"/>
              <a:gd name="connsiteX29" fmla="*/ 3211 w 10394"/>
              <a:gd name="connsiteY29" fmla="*/ 9382 h 10000"/>
              <a:gd name="connsiteX30" fmla="*/ 2844 w 10394"/>
              <a:gd name="connsiteY30" fmla="*/ 9157 h 10000"/>
              <a:gd name="connsiteX31" fmla="*/ 2661 w 10394"/>
              <a:gd name="connsiteY31" fmla="*/ 9045 h 10000"/>
              <a:gd name="connsiteX32" fmla="*/ 2569 w 10394"/>
              <a:gd name="connsiteY32" fmla="*/ 8820 h 10000"/>
              <a:gd name="connsiteX33" fmla="*/ 2569 w 10394"/>
              <a:gd name="connsiteY33"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487 w 10698"/>
              <a:gd name="connsiteY6" fmla="*/ 3876 h 10000"/>
              <a:gd name="connsiteX7" fmla="*/ 671 w 10698"/>
              <a:gd name="connsiteY7" fmla="*/ 4213 h 10000"/>
              <a:gd name="connsiteX8" fmla="*/ 946 w 10698"/>
              <a:gd name="connsiteY8" fmla="*/ 4663 h 10000"/>
              <a:gd name="connsiteX9" fmla="*/ 1405 w 10698"/>
              <a:gd name="connsiteY9" fmla="*/ 4888 h 10000"/>
              <a:gd name="connsiteX10" fmla="*/ 1864 w 10698"/>
              <a:gd name="connsiteY10" fmla="*/ 5281 h 10000"/>
              <a:gd name="connsiteX11" fmla="*/ 2231 w 10698"/>
              <a:gd name="connsiteY11" fmla="*/ 5506 h 10000"/>
              <a:gd name="connsiteX12" fmla="*/ 2873 w 10698"/>
              <a:gd name="connsiteY12" fmla="*/ 5730 h 10000"/>
              <a:gd name="connsiteX13" fmla="*/ 2873 w 10698"/>
              <a:gd name="connsiteY13" fmla="*/ 7191 h 10000"/>
              <a:gd name="connsiteX14" fmla="*/ 7643 w 10698"/>
              <a:gd name="connsiteY14" fmla="*/ 7191 h 10000"/>
              <a:gd name="connsiteX15" fmla="*/ 7643 w 10698"/>
              <a:gd name="connsiteY15" fmla="*/ 8820 h 10000"/>
              <a:gd name="connsiteX16" fmla="*/ 7552 w 10698"/>
              <a:gd name="connsiteY16" fmla="*/ 9045 h 10000"/>
              <a:gd name="connsiteX17" fmla="*/ 7460 w 10698"/>
              <a:gd name="connsiteY17" fmla="*/ 9157 h 10000"/>
              <a:gd name="connsiteX18" fmla="*/ 7093 w 10698"/>
              <a:gd name="connsiteY18" fmla="*/ 9382 h 10000"/>
              <a:gd name="connsiteX19" fmla="*/ 6634 w 10698"/>
              <a:gd name="connsiteY19" fmla="*/ 9494 h 10000"/>
              <a:gd name="connsiteX20" fmla="*/ 6543 w 10698"/>
              <a:gd name="connsiteY20" fmla="*/ 9719 h 10000"/>
              <a:gd name="connsiteX21" fmla="*/ 6176 w 10698"/>
              <a:gd name="connsiteY21" fmla="*/ 9831 h 10000"/>
              <a:gd name="connsiteX22" fmla="*/ 5900 w 10698"/>
              <a:gd name="connsiteY22" fmla="*/ 10000 h 10000"/>
              <a:gd name="connsiteX23" fmla="*/ 5258 w 10698"/>
              <a:gd name="connsiteY23" fmla="*/ 10000 h 10000"/>
              <a:gd name="connsiteX24" fmla="*/ 4708 w 10698"/>
              <a:gd name="connsiteY24" fmla="*/ 10000 h 10000"/>
              <a:gd name="connsiteX25" fmla="*/ 4249 w 10698"/>
              <a:gd name="connsiteY25" fmla="*/ 9831 h 10000"/>
              <a:gd name="connsiteX26" fmla="*/ 3974 w 10698"/>
              <a:gd name="connsiteY26" fmla="*/ 9719 h 10000"/>
              <a:gd name="connsiteX27" fmla="*/ 3882 w 10698"/>
              <a:gd name="connsiteY27" fmla="*/ 9494 h 10000"/>
              <a:gd name="connsiteX28" fmla="*/ 3515 w 10698"/>
              <a:gd name="connsiteY28" fmla="*/ 9382 h 10000"/>
              <a:gd name="connsiteX29" fmla="*/ 3148 w 10698"/>
              <a:gd name="connsiteY29" fmla="*/ 9157 h 10000"/>
              <a:gd name="connsiteX30" fmla="*/ 2965 w 10698"/>
              <a:gd name="connsiteY30" fmla="*/ 9045 h 10000"/>
              <a:gd name="connsiteX31" fmla="*/ 2873 w 10698"/>
              <a:gd name="connsiteY31" fmla="*/ 8820 h 10000"/>
              <a:gd name="connsiteX32" fmla="*/ 2873 w 10698"/>
              <a:gd name="connsiteY32"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946 w 10698"/>
              <a:gd name="connsiteY7" fmla="*/ 4663 h 10000"/>
              <a:gd name="connsiteX8" fmla="*/ 1405 w 10698"/>
              <a:gd name="connsiteY8" fmla="*/ 4888 h 10000"/>
              <a:gd name="connsiteX9" fmla="*/ 1864 w 10698"/>
              <a:gd name="connsiteY9" fmla="*/ 5281 h 10000"/>
              <a:gd name="connsiteX10" fmla="*/ 2231 w 10698"/>
              <a:gd name="connsiteY10" fmla="*/ 5506 h 10000"/>
              <a:gd name="connsiteX11" fmla="*/ 2873 w 10698"/>
              <a:gd name="connsiteY11" fmla="*/ 5730 h 10000"/>
              <a:gd name="connsiteX12" fmla="*/ 2873 w 10698"/>
              <a:gd name="connsiteY12" fmla="*/ 7191 h 10000"/>
              <a:gd name="connsiteX13" fmla="*/ 7643 w 10698"/>
              <a:gd name="connsiteY13" fmla="*/ 7191 h 10000"/>
              <a:gd name="connsiteX14" fmla="*/ 7643 w 10698"/>
              <a:gd name="connsiteY14" fmla="*/ 8820 h 10000"/>
              <a:gd name="connsiteX15" fmla="*/ 7552 w 10698"/>
              <a:gd name="connsiteY15" fmla="*/ 9045 h 10000"/>
              <a:gd name="connsiteX16" fmla="*/ 7460 w 10698"/>
              <a:gd name="connsiteY16" fmla="*/ 9157 h 10000"/>
              <a:gd name="connsiteX17" fmla="*/ 7093 w 10698"/>
              <a:gd name="connsiteY17" fmla="*/ 9382 h 10000"/>
              <a:gd name="connsiteX18" fmla="*/ 6634 w 10698"/>
              <a:gd name="connsiteY18" fmla="*/ 9494 h 10000"/>
              <a:gd name="connsiteX19" fmla="*/ 6543 w 10698"/>
              <a:gd name="connsiteY19" fmla="*/ 9719 h 10000"/>
              <a:gd name="connsiteX20" fmla="*/ 6176 w 10698"/>
              <a:gd name="connsiteY20" fmla="*/ 9831 h 10000"/>
              <a:gd name="connsiteX21" fmla="*/ 5900 w 10698"/>
              <a:gd name="connsiteY21" fmla="*/ 10000 h 10000"/>
              <a:gd name="connsiteX22" fmla="*/ 5258 w 10698"/>
              <a:gd name="connsiteY22" fmla="*/ 10000 h 10000"/>
              <a:gd name="connsiteX23" fmla="*/ 4708 w 10698"/>
              <a:gd name="connsiteY23" fmla="*/ 10000 h 10000"/>
              <a:gd name="connsiteX24" fmla="*/ 4249 w 10698"/>
              <a:gd name="connsiteY24" fmla="*/ 9831 h 10000"/>
              <a:gd name="connsiteX25" fmla="*/ 3974 w 10698"/>
              <a:gd name="connsiteY25" fmla="*/ 9719 h 10000"/>
              <a:gd name="connsiteX26" fmla="*/ 3882 w 10698"/>
              <a:gd name="connsiteY26" fmla="*/ 9494 h 10000"/>
              <a:gd name="connsiteX27" fmla="*/ 3515 w 10698"/>
              <a:gd name="connsiteY27" fmla="*/ 9382 h 10000"/>
              <a:gd name="connsiteX28" fmla="*/ 3148 w 10698"/>
              <a:gd name="connsiteY28" fmla="*/ 9157 h 10000"/>
              <a:gd name="connsiteX29" fmla="*/ 2965 w 10698"/>
              <a:gd name="connsiteY29" fmla="*/ 9045 h 10000"/>
              <a:gd name="connsiteX30" fmla="*/ 2873 w 10698"/>
              <a:gd name="connsiteY30" fmla="*/ 8820 h 10000"/>
              <a:gd name="connsiteX31" fmla="*/ 2873 w 10698"/>
              <a:gd name="connsiteY31"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1405 w 10698"/>
              <a:gd name="connsiteY7" fmla="*/ 4888 h 10000"/>
              <a:gd name="connsiteX8" fmla="*/ 1864 w 10698"/>
              <a:gd name="connsiteY8" fmla="*/ 5281 h 10000"/>
              <a:gd name="connsiteX9" fmla="*/ 2231 w 10698"/>
              <a:gd name="connsiteY9" fmla="*/ 5506 h 10000"/>
              <a:gd name="connsiteX10" fmla="*/ 2873 w 10698"/>
              <a:gd name="connsiteY10" fmla="*/ 5730 h 10000"/>
              <a:gd name="connsiteX11" fmla="*/ 2873 w 10698"/>
              <a:gd name="connsiteY11" fmla="*/ 7191 h 10000"/>
              <a:gd name="connsiteX12" fmla="*/ 7643 w 10698"/>
              <a:gd name="connsiteY12" fmla="*/ 7191 h 10000"/>
              <a:gd name="connsiteX13" fmla="*/ 7643 w 10698"/>
              <a:gd name="connsiteY13" fmla="*/ 8820 h 10000"/>
              <a:gd name="connsiteX14" fmla="*/ 7552 w 10698"/>
              <a:gd name="connsiteY14" fmla="*/ 9045 h 10000"/>
              <a:gd name="connsiteX15" fmla="*/ 7460 w 10698"/>
              <a:gd name="connsiteY15" fmla="*/ 9157 h 10000"/>
              <a:gd name="connsiteX16" fmla="*/ 7093 w 10698"/>
              <a:gd name="connsiteY16" fmla="*/ 9382 h 10000"/>
              <a:gd name="connsiteX17" fmla="*/ 6634 w 10698"/>
              <a:gd name="connsiteY17" fmla="*/ 9494 h 10000"/>
              <a:gd name="connsiteX18" fmla="*/ 6543 w 10698"/>
              <a:gd name="connsiteY18" fmla="*/ 9719 h 10000"/>
              <a:gd name="connsiteX19" fmla="*/ 6176 w 10698"/>
              <a:gd name="connsiteY19" fmla="*/ 9831 h 10000"/>
              <a:gd name="connsiteX20" fmla="*/ 5900 w 10698"/>
              <a:gd name="connsiteY20" fmla="*/ 10000 h 10000"/>
              <a:gd name="connsiteX21" fmla="*/ 5258 w 10698"/>
              <a:gd name="connsiteY21" fmla="*/ 10000 h 10000"/>
              <a:gd name="connsiteX22" fmla="*/ 4708 w 10698"/>
              <a:gd name="connsiteY22" fmla="*/ 10000 h 10000"/>
              <a:gd name="connsiteX23" fmla="*/ 4249 w 10698"/>
              <a:gd name="connsiteY23" fmla="*/ 9831 h 10000"/>
              <a:gd name="connsiteX24" fmla="*/ 3974 w 10698"/>
              <a:gd name="connsiteY24" fmla="*/ 9719 h 10000"/>
              <a:gd name="connsiteX25" fmla="*/ 3882 w 10698"/>
              <a:gd name="connsiteY25" fmla="*/ 9494 h 10000"/>
              <a:gd name="connsiteX26" fmla="*/ 3515 w 10698"/>
              <a:gd name="connsiteY26" fmla="*/ 9382 h 10000"/>
              <a:gd name="connsiteX27" fmla="*/ 3148 w 10698"/>
              <a:gd name="connsiteY27" fmla="*/ 9157 h 10000"/>
              <a:gd name="connsiteX28" fmla="*/ 2965 w 10698"/>
              <a:gd name="connsiteY28" fmla="*/ 9045 h 10000"/>
              <a:gd name="connsiteX29" fmla="*/ 2873 w 10698"/>
              <a:gd name="connsiteY29" fmla="*/ 8820 h 10000"/>
              <a:gd name="connsiteX30" fmla="*/ 2873 w 10698"/>
              <a:gd name="connsiteY30"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1405 w 10698"/>
              <a:gd name="connsiteY7" fmla="*/ 4888 h 10000"/>
              <a:gd name="connsiteX8" fmla="*/ 2231 w 10698"/>
              <a:gd name="connsiteY8" fmla="*/ 5506 h 10000"/>
              <a:gd name="connsiteX9" fmla="*/ 2873 w 10698"/>
              <a:gd name="connsiteY9" fmla="*/ 5730 h 10000"/>
              <a:gd name="connsiteX10" fmla="*/ 2873 w 10698"/>
              <a:gd name="connsiteY10" fmla="*/ 7191 h 10000"/>
              <a:gd name="connsiteX11" fmla="*/ 7643 w 10698"/>
              <a:gd name="connsiteY11" fmla="*/ 7191 h 10000"/>
              <a:gd name="connsiteX12" fmla="*/ 7643 w 10698"/>
              <a:gd name="connsiteY12" fmla="*/ 8820 h 10000"/>
              <a:gd name="connsiteX13" fmla="*/ 7552 w 10698"/>
              <a:gd name="connsiteY13" fmla="*/ 9045 h 10000"/>
              <a:gd name="connsiteX14" fmla="*/ 7460 w 10698"/>
              <a:gd name="connsiteY14" fmla="*/ 9157 h 10000"/>
              <a:gd name="connsiteX15" fmla="*/ 7093 w 10698"/>
              <a:gd name="connsiteY15" fmla="*/ 9382 h 10000"/>
              <a:gd name="connsiteX16" fmla="*/ 6634 w 10698"/>
              <a:gd name="connsiteY16" fmla="*/ 9494 h 10000"/>
              <a:gd name="connsiteX17" fmla="*/ 6543 w 10698"/>
              <a:gd name="connsiteY17" fmla="*/ 9719 h 10000"/>
              <a:gd name="connsiteX18" fmla="*/ 6176 w 10698"/>
              <a:gd name="connsiteY18" fmla="*/ 9831 h 10000"/>
              <a:gd name="connsiteX19" fmla="*/ 5900 w 10698"/>
              <a:gd name="connsiteY19" fmla="*/ 10000 h 10000"/>
              <a:gd name="connsiteX20" fmla="*/ 5258 w 10698"/>
              <a:gd name="connsiteY20" fmla="*/ 10000 h 10000"/>
              <a:gd name="connsiteX21" fmla="*/ 4708 w 10698"/>
              <a:gd name="connsiteY21" fmla="*/ 10000 h 10000"/>
              <a:gd name="connsiteX22" fmla="*/ 4249 w 10698"/>
              <a:gd name="connsiteY22" fmla="*/ 9831 h 10000"/>
              <a:gd name="connsiteX23" fmla="*/ 3974 w 10698"/>
              <a:gd name="connsiteY23" fmla="*/ 9719 h 10000"/>
              <a:gd name="connsiteX24" fmla="*/ 3882 w 10698"/>
              <a:gd name="connsiteY24" fmla="*/ 9494 h 10000"/>
              <a:gd name="connsiteX25" fmla="*/ 3515 w 10698"/>
              <a:gd name="connsiteY25" fmla="*/ 9382 h 10000"/>
              <a:gd name="connsiteX26" fmla="*/ 3148 w 10698"/>
              <a:gd name="connsiteY26" fmla="*/ 9157 h 10000"/>
              <a:gd name="connsiteX27" fmla="*/ 2965 w 10698"/>
              <a:gd name="connsiteY27" fmla="*/ 9045 h 10000"/>
              <a:gd name="connsiteX28" fmla="*/ 2873 w 10698"/>
              <a:gd name="connsiteY28" fmla="*/ 8820 h 10000"/>
              <a:gd name="connsiteX29" fmla="*/ 2873 w 10698"/>
              <a:gd name="connsiteY29"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1405 w 10698"/>
              <a:gd name="connsiteY7" fmla="*/ 4888 h 10000"/>
              <a:gd name="connsiteX8" fmla="*/ 2873 w 10698"/>
              <a:gd name="connsiteY8" fmla="*/ 5730 h 10000"/>
              <a:gd name="connsiteX9" fmla="*/ 2873 w 10698"/>
              <a:gd name="connsiteY9" fmla="*/ 7191 h 10000"/>
              <a:gd name="connsiteX10" fmla="*/ 7643 w 10698"/>
              <a:gd name="connsiteY10" fmla="*/ 7191 h 10000"/>
              <a:gd name="connsiteX11" fmla="*/ 7643 w 10698"/>
              <a:gd name="connsiteY11" fmla="*/ 8820 h 10000"/>
              <a:gd name="connsiteX12" fmla="*/ 7552 w 10698"/>
              <a:gd name="connsiteY12" fmla="*/ 9045 h 10000"/>
              <a:gd name="connsiteX13" fmla="*/ 7460 w 10698"/>
              <a:gd name="connsiteY13" fmla="*/ 9157 h 10000"/>
              <a:gd name="connsiteX14" fmla="*/ 7093 w 10698"/>
              <a:gd name="connsiteY14" fmla="*/ 9382 h 10000"/>
              <a:gd name="connsiteX15" fmla="*/ 6634 w 10698"/>
              <a:gd name="connsiteY15" fmla="*/ 9494 h 10000"/>
              <a:gd name="connsiteX16" fmla="*/ 6543 w 10698"/>
              <a:gd name="connsiteY16" fmla="*/ 9719 h 10000"/>
              <a:gd name="connsiteX17" fmla="*/ 6176 w 10698"/>
              <a:gd name="connsiteY17" fmla="*/ 9831 h 10000"/>
              <a:gd name="connsiteX18" fmla="*/ 5900 w 10698"/>
              <a:gd name="connsiteY18" fmla="*/ 10000 h 10000"/>
              <a:gd name="connsiteX19" fmla="*/ 5258 w 10698"/>
              <a:gd name="connsiteY19" fmla="*/ 10000 h 10000"/>
              <a:gd name="connsiteX20" fmla="*/ 4708 w 10698"/>
              <a:gd name="connsiteY20" fmla="*/ 10000 h 10000"/>
              <a:gd name="connsiteX21" fmla="*/ 4249 w 10698"/>
              <a:gd name="connsiteY21" fmla="*/ 9831 h 10000"/>
              <a:gd name="connsiteX22" fmla="*/ 3974 w 10698"/>
              <a:gd name="connsiteY22" fmla="*/ 9719 h 10000"/>
              <a:gd name="connsiteX23" fmla="*/ 3882 w 10698"/>
              <a:gd name="connsiteY23" fmla="*/ 9494 h 10000"/>
              <a:gd name="connsiteX24" fmla="*/ 3515 w 10698"/>
              <a:gd name="connsiteY24" fmla="*/ 9382 h 10000"/>
              <a:gd name="connsiteX25" fmla="*/ 3148 w 10698"/>
              <a:gd name="connsiteY25" fmla="*/ 9157 h 10000"/>
              <a:gd name="connsiteX26" fmla="*/ 2965 w 10698"/>
              <a:gd name="connsiteY26" fmla="*/ 9045 h 10000"/>
              <a:gd name="connsiteX27" fmla="*/ 2873 w 10698"/>
              <a:gd name="connsiteY27" fmla="*/ 8820 h 10000"/>
              <a:gd name="connsiteX28" fmla="*/ 2873 w 10698"/>
              <a:gd name="connsiteY28"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671 w 10698"/>
              <a:gd name="connsiteY6" fmla="*/ 4213 h 10000"/>
              <a:gd name="connsiteX7" fmla="*/ 2873 w 10698"/>
              <a:gd name="connsiteY7" fmla="*/ 5730 h 10000"/>
              <a:gd name="connsiteX8" fmla="*/ 2873 w 10698"/>
              <a:gd name="connsiteY8" fmla="*/ 7191 h 10000"/>
              <a:gd name="connsiteX9" fmla="*/ 7643 w 10698"/>
              <a:gd name="connsiteY9" fmla="*/ 7191 h 10000"/>
              <a:gd name="connsiteX10" fmla="*/ 7643 w 10698"/>
              <a:gd name="connsiteY10" fmla="*/ 8820 h 10000"/>
              <a:gd name="connsiteX11" fmla="*/ 7552 w 10698"/>
              <a:gd name="connsiteY11" fmla="*/ 9045 h 10000"/>
              <a:gd name="connsiteX12" fmla="*/ 7460 w 10698"/>
              <a:gd name="connsiteY12" fmla="*/ 9157 h 10000"/>
              <a:gd name="connsiteX13" fmla="*/ 7093 w 10698"/>
              <a:gd name="connsiteY13" fmla="*/ 9382 h 10000"/>
              <a:gd name="connsiteX14" fmla="*/ 6634 w 10698"/>
              <a:gd name="connsiteY14" fmla="*/ 9494 h 10000"/>
              <a:gd name="connsiteX15" fmla="*/ 6543 w 10698"/>
              <a:gd name="connsiteY15" fmla="*/ 9719 h 10000"/>
              <a:gd name="connsiteX16" fmla="*/ 6176 w 10698"/>
              <a:gd name="connsiteY16" fmla="*/ 9831 h 10000"/>
              <a:gd name="connsiteX17" fmla="*/ 5900 w 10698"/>
              <a:gd name="connsiteY17" fmla="*/ 10000 h 10000"/>
              <a:gd name="connsiteX18" fmla="*/ 5258 w 10698"/>
              <a:gd name="connsiteY18" fmla="*/ 10000 h 10000"/>
              <a:gd name="connsiteX19" fmla="*/ 4708 w 10698"/>
              <a:gd name="connsiteY19" fmla="*/ 10000 h 10000"/>
              <a:gd name="connsiteX20" fmla="*/ 4249 w 10698"/>
              <a:gd name="connsiteY20" fmla="*/ 9831 h 10000"/>
              <a:gd name="connsiteX21" fmla="*/ 3974 w 10698"/>
              <a:gd name="connsiteY21" fmla="*/ 9719 h 10000"/>
              <a:gd name="connsiteX22" fmla="*/ 3882 w 10698"/>
              <a:gd name="connsiteY22" fmla="*/ 9494 h 10000"/>
              <a:gd name="connsiteX23" fmla="*/ 3515 w 10698"/>
              <a:gd name="connsiteY23" fmla="*/ 9382 h 10000"/>
              <a:gd name="connsiteX24" fmla="*/ 3148 w 10698"/>
              <a:gd name="connsiteY24" fmla="*/ 9157 h 10000"/>
              <a:gd name="connsiteX25" fmla="*/ 2965 w 10698"/>
              <a:gd name="connsiteY25" fmla="*/ 9045 h 10000"/>
              <a:gd name="connsiteX26" fmla="*/ 2873 w 10698"/>
              <a:gd name="connsiteY26" fmla="*/ 8820 h 10000"/>
              <a:gd name="connsiteX27" fmla="*/ 2873 w 10698"/>
              <a:gd name="connsiteY27" fmla="*/ 8202 h 10000"/>
              <a:gd name="connsiteX0" fmla="*/ 7643 w 10698"/>
              <a:gd name="connsiteY0" fmla="*/ 5730 h 10000"/>
              <a:gd name="connsiteX1" fmla="*/ 9974 w 10698"/>
              <a:gd name="connsiteY1" fmla="*/ 4395 h 10000"/>
              <a:gd name="connsiteX2" fmla="*/ 10304 w 10698"/>
              <a:gd name="connsiteY2" fmla="*/ 2978 h 10000"/>
              <a:gd name="connsiteX3" fmla="*/ 5258 w 10698"/>
              <a:gd name="connsiteY3" fmla="*/ 0 h 10000"/>
              <a:gd name="connsiteX4" fmla="*/ 396 w 10698"/>
              <a:gd name="connsiteY4" fmla="*/ 2360 h 10000"/>
              <a:gd name="connsiteX5" fmla="*/ 304 w 10698"/>
              <a:gd name="connsiteY5" fmla="*/ 3483 h 10000"/>
              <a:gd name="connsiteX6" fmla="*/ 2873 w 10698"/>
              <a:gd name="connsiteY6" fmla="*/ 5730 h 10000"/>
              <a:gd name="connsiteX7" fmla="*/ 2873 w 10698"/>
              <a:gd name="connsiteY7" fmla="*/ 7191 h 10000"/>
              <a:gd name="connsiteX8" fmla="*/ 7643 w 10698"/>
              <a:gd name="connsiteY8" fmla="*/ 7191 h 10000"/>
              <a:gd name="connsiteX9" fmla="*/ 7643 w 10698"/>
              <a:gd name="connsiteY9" fmla="*/ 8820 h 10000"/>
              <a:gd name="connsiteX10" fmla="*/ 7552 w 10698"/>
              <a:gd name="connsiteY10" fmla="*/ 9045 h 10000"/>
              <a:gd name="connsiteX11" fmla="*/ 7460 w 10698"/>
              <a:gd name="connsiteY11" fmla="*/ 9157 h 10000"/>
              <a:gd name="connsiteX12" fmla="*/ 7093 w 10698"/>
              <a:gd name="connsiteY12" fmla="*/ 9382 h 10000"/>
              <a:gd name="connsiteX13" fmla="*/ 6634 w 10698"/>
              <a:gd name="connsiteY13" fmla="*/ 9494 h 10000"/>
              <a:gd name="connsiteX14" fmla="*/ 6543 w 10698"/>
              <a:gd name="connsiteY14" fmla="*/ 9719 h 10000"/>
              <a:gd name="connsiteX15" fmla="*/ 6176 w 10698"/>
              <a:gd name="connsiteY15" fmla="*/ 9831 h 10000"/>
              <a:gd name="connsiteX16" fmla="*/ 5900 w 10698"/>
              <a:gd name="connsiteY16" fmla="*/ 10000 h 10000"/>
              <a:gd name="connsiteX17" fmla="*/ 5258 w 10698"/>
              <a:gd name="connsiteY17" fmla="*/ 10000 h 10000"/>
              <a:gd name="connsiteX18" fmla="*/ 4708 w 10698"/>
              <a:gd name="connsiteY18" fmla="*/ 10000 h 10000"/>
              <a:gd name="connsiteX19" fmla="*/ 4249 w 10698"/>
              <a:gd name="connsiteY19" fmla="*/ 9831 h 10000"/>
              <a:gd name="connsiteX20" fmla="*/ 3974 w 10698"/>
              <a:gd name="connsiteY20" fmla="*/ 9719 h 10000"/>
              <a:gd name="connsiteX21" fmla="*/ 3882 w 10698"/>
              <a:gd name="connsiteY21" fmla="*/ 9494 h 10000"/>
              <a:gd name="connsiteX22" fmla="*/ 3515 w 10698"/>
              <a:gd name="connsiteY22" fmla="*/ 9382 h 10000"/>
              <a:gd name="connsiteX23" fmla="*/ 3148 w 10698"/>
              <a:gd name="connsiteY23" fmla="*/ 9157 h 10000"/>
              <a:gd name="connsiteX24" fmla="*/ 2965 w 10698"/>
              <a:gd name="connsiteY24" fmla="*/ 9045 h 10000"/>
              <a:gd name="connsiteX25" fmla="*/ 2873 w 10698"/>
              <a:gd name="connsiteY25" fmla="*/ 8820 h 10000"/>
              <a:gd name="connsiteX26" fmla="*/ 2873 w 10698"/>
              <a:gd name="connsiteY26" fmla="*/ 8202 h 10000"/>
              <a:gd name="connsiteX0" fmla="*/ 7643 w 10517"/>
              <a:gd name="connsiteY0" fmla="*/ 5730 h 10000"/>
              <a:gd name="connsiteX1" fmla="*/ 9508 w 10517"/>
              <a:gd name="connsiteY1" fmla="*/ 4105 h 10000"/>
              <a:gd name="connsiteX2" fmla="*/ 10304 w 10517"/>
              <a:gd name="connsiteY2" fmla="*/ 2978 h 10000"/>
              <a:gd name="connsiteX3" fmla="*/ 5258 w 10517"/>
              <a:gd name="connsiteY3" fmla="*/ 0 h 10000"/>
              <a:gd name="connsiteX4" fmla="*/ 396 w 10517"/>
              <a:gd name="connsiteY4" fmla="*/ 2360 h 10000"/>
              <a:gd name="connsiteX5" fmla="*/ 304 w 10517"/>
              <a:gd name="connsiteY5" fmla="*/ 3483 h 10000"/>
              <a:gd name="connsiteX6" fmla="*/ 2873 w 10517"/>
              <a:gd name="connsiteY6" fmla="*/ 5730 h 10000"/>
              <a:gd name="connsiteX7" fmla="*/ 2873 w 10517"/>
              <a:gd name="connsiteY7" fmla="*/ 7191 h 10000"/>
              <a:gd name="connsiteX8" fmla="*/ 7643 w 10517"/>
              <a:gd name="connsiteY8" fmla="*/ 7191 h 10000"/>
              <a:gd name="connsiteX9" fmla="*/ 7643 w 10517"/>
              <a:gd name="connsiteY9" fmla="*/ 8820 h 10000"/>
              <a:gd name="connsiteX10" fmla="*/ 7552 w 10517"/>
              <a:gd name="connsiteY10" fmla="*/ 9045 h 10000"/>
              <a:gd name="connsiteX11" fmla="*/ 7460 w 10517"/>
              <a:gd name="connsiteY11" fmla="*/ 9157 h 10000"/>
              <a:gd name="connsiteX12" fmla="*/ 7093 w 10517"/>
              <a:gd name="connsiteY12" fmla="*/ 9382 h 10000"/>
              <a:gd name="connsiteX13" fmla="*/ 6634 w 10517"/>
              <a:gd name="connsiteY13" fmla="*/ 9494 h 10000"/>
              <a:gd name="connsiteX14" fmla="*/ 6543 w 10517"/>
              <a:gd name="connsiteY14" fmla="*/ 9719 h 10000"/>
              <a:gd name="connsiteX15" fmla="*/ 6176 w 10517"/>
              <a:gd name="connsiteY15" fmla="*/ 9831 h 10000"/>
              <a:gd name="connsiteX16" fmla="*/ 5900 w 10517"/>
              <a:gd name="connsiteY16" fmla="*/ 10000 h 10000"/>
              <a:gd name="connsiteX17" fmla="*/ 5258 w 10517"/>
              <a:gd name="connsiteY17" fmla="*/ 10000 h 10000"/>
              <a:gd name="connsiteX18" fmla="*/ 4708 w 10517"/>
              <a:gd name="connsiteY18" fmla="*/ 10000 h 10000"/>
              <a:gd name="connsiteX19" fmla="*/ 4249 w 10517"/>
              <a:gd name="connsiteY19" fmla="*/ 9831 h 10000"/>
              <a:gd name="connsiteX20" fmla="*/ 3974 w 10517"/>
              <a:gd name="connsiteY20" fmla="*/ 9719 h 10000"/>
              <a:gd name="connsiteX21" fmla="*/ 3882 w 10517"/>
              <a:gd name="connsiteY21" fmla="*/ 9494 h 10000"/>
              <a:gd name="connsiteX22" fmla="*/ 3515 w 10517"/>
              <a:gd name="connsiteY22" fmla="*/ 9382 h 10000"/>
              <a:gd name="connsiteX23" fmla="*/ 3148 w 10517"/>
              <a:gd name="connsiteY23" fmla="*/ 9157 h 10000"/>
              <a:gd name="connsiteX24" fmla="*/ 2965 w 10517"/>
              <a:gd name="connsiteY24" fmla="*/ 9045 h 10000"/>
              <a:gd name="connsiteX25" fmla="*/ 2873 w 10517"/>
              <a:gd name="connsiteY25" fmla="*/ 8820 h 10000"/>
              <a:gd name="connsiteX26" fmla="*/ 2873 w 10517"/>
              <a:gd name="connsiteY26" fmla="*/ 8202 h 10000"/>
              <a:gd name="connsiteX0" fmla="*/ 7643 w 10517"/>
              <a:gd name="connsiteY0" fmla="*/ 5730 h 10000"/>
              <a:gd name="connsiteX1" fmla="*/ 9508 w 10517"/>
              <a:gd name="connsiteY1" fmla="*/ 4105 h 10000"/>
              <a:gd name="connsiteX2" fmla="*/ 10304 w 10517"/>
              <a:gd name="connsiteY2" fmla="*/ 2978 h 10000"/>
              <a:gd name="connsiteX3" fmla="*/ 5258 w 10517"/>
              <a:gd name="connsiteY3" fmla="*/ 0 h 10000"/>
              <a:gd name="connsiteX4" fmla="*/ 396 w 10517"/>
              <a:gd name="connsiteY4" fmla="*/ 2360 h 10000"/>
              <a:gd name="connsiteX5" fmla="*/ 304 w 10517"/>
              <a:gd name="connsiteY5" fmla="*/ 3483 h 10000"/>
              <a:gd name="connsiteX6" fmla="*/ 2873 w 10517"/>
              <a:gd name="connsiteY6" fmla="*/ 5730 h 10000"/>
              <a:gd name="connsiteX7" fmla="*/ 2873 w 10517"/>
              <a:gd name="connsiteY7" fmla="*/ 7191 h 10000"/>
              <a:gd name="connsiteX8" fmla="*/ 7643 w 10517"/>
              <a:gd name="connsiteY8" fmla="*/ 7191 h 10000"/>
              <a:gd name="connsiteX9" fmla="*/ 7643 w 10517"/>
              <a:gd name="connsiteY9" fmla="*/ 8820 h 10000"/>
              <a:gd name="connsiteX10" fmla="*/ 7552 w 10517"/>
              <a:gd name="connsiteY10" fmla="*/ 9045 h 10000"/>
              <a:gd name="connsiteX11" fmla="*/ 7460 w 10517"/>
              <a:gd name="connsiteY11" fmla="*/ 9157 h 10000"/>
              <a:gd name="connsiteX12" fmla="*/ 7093 w 10517"/>
              <a:gd name="connsiteY12" fmla="*/ 9382 h 10000"/>
              <a:gd name="connsiteX13" fmla="*/ 6634 w 10517"/>
              <a:gd name="connsiteY13" fmla="*/ 9494 h 10000"/>
              <a:gd name="connsiteX14" fmla="*/ 6543 w 10517"/>
              <a:gd name="connsiteY14" fmla="*/ 9719 h 10000"/>
              <a:gd name="connsiteX15" fmla="*/ 6176 w 10517"/>
              <a:gd name="connsiteY15" fmla="*/ 9831 h 10000"/>
              <a:gd name="connsiteX16" fmla="*/ 5900 w 10517"/>
              <a:gd name="connsiteY16" fmla="*/ 10000 h 10000"/>
              <a:gd name="connsiteX17" fmla="*/ 5258 w 10517"/>
              <a:gd name="connsiteY17" fmla="*/ 10000 h 10000"/>
              <a:gd name="connsiteX18" fmla="*/ 4708 w 10517"/>
              <a:gd name="connsiteY18" fmla="*/ 10000 h 10000"/>
              <a:gd name="connsiteX19" fmla="*/ 4249 w 10517"/>
              <a:gd name="connsiteY19" fmla="*/ 9831 h 10000"/>
              <a:gd name="connsiteX20" fmla="*/ 3974 w 10517"/>
              <a:gd name="connsiteY20" fmla="*/ 9719 h 10000"/>
              <a:gd name="connsiteX21" fmla="*/ 3882 w 10517"/>
              <a:gd name="connsiteY21" fmla="*/ 9494 h 10000"/>
              <a:gd name="connsiteX22" fmla="*/ 3515 w 10517"/>
              <a:gd name="connsiteY22" fmla="*/ 9382 h 10000"/>
              <a:gd name="connsiteX23" fmla="*/ 3148 w 10517"/>
              <a:gd name="connsiteY23" fmla="*/ 9157 h 10000"/>
              <a:gd name="connsiteX24" fmla="*/ 2965 w 10517"/>
              <a:gd name="connsiteY24" fmla="*/ 9045 h 10000"/>
              <a:gd name="connsiteX25" fmla="*/ 2873 w 10517"/>
              <a:gd name="connsiteY25" fmla="*/ 8820 h 10000"/>
              <a:gd name="connsiteX26" fmla="*/ 2873 w 10517"/>
              <a:gd name="connsiteY26" fmla="*/ 8202 h 10000"/>
              <a:gd name="connsiteX0" fmla="*/ 7643 w 9554"/>
              <a:gd name="connsiteY0" fmla="*/ 5730 h 10000"/>
              <a:gd name="connsiteX1" fmla="*/ 9508 w 9554"/>
              <a:gd name="connsiteY1" fmla="*/ 4105 h 10000"/>
              <a:gd name="connsiteX2" fmla="*/ 5258 w 9554"/>
              <a:gd name="connsiteY2" fmla="*/ 0 h 10000"/>
              <a:gd name="connsiteX3" fmla="*/ 396 w 9554"/>
              <a:gd name="connsiteY3" fmla="*/ 2360 h 10000"/>
              <a:gd name="connsiteX4" fmla="*/ 304 w 9554"/>
              <a:gd name="connsiteY4" fmla="*/ 3483 h 10000"/>
              <a:gd name="connsiteX5" fmla="*/ 2873 w 9554"/>
              <a:gd name="connsiteY5" fmla="*/ 5730 h 10000"/>
              <a:gd name="connsiteX6" fmla="*/ 2873 w 9554"/>
              <a:gd name="connsiteY6" fmla="*/ 7191 h 10000"/>
              <a:gd name="connsiteX7" fmla="*/ 7643 w 9554"/>
              <a:gd name="connsiteY7" fmla="*/ 7191 h 10000"/>
              <a:gd name="connsiteX8" fmla="*/ 7643 w 9554"/>
              <a:gd name="connsiteY8" fmla="*/ 8820 h 10000"/>
              <a:gd name="connsiteX9" fmla="*/ 7552 w 9554"/>
              <a:gd name="connsiteY9" fmla="*/ 9045 h 10000"/>
              <a:gd name="connsiteX10" fmla="*/ 7460 w 9554"/>
              <a:gd name="connsiteY10" fmla="*/ 9157 h 10000"/>
              <a:gd name="connsiteX11" fmla="*/ 7093 w 9554"/>
              <a:gd name="connsiteY11" fmla="*/ 9382 h 10000"/>
              <a:gd name="connsiteX12" fmla="*/ 6634 w 9554"/>
              <a:gd name="connsiteY12" fmla="*/ 9494 h 10000"/>
              <a:gd name="connsiteX13" fmla="*/ 6543 w 9554"/>
              <a:gd name="connsiteY13" fmla="*/ 9719 h 10000"/>
              <a:gd name="connsiteX14" fmla="*/ 6176 w 9554"/>
              <a:gd name="connsiteY14" fmla="*/ 9831 h 10000"/>
              <a:gd name="connsiteX15" fmla="*/ 5900 w 9554"/>
              <a:gd name="connsiteY15" fmla="*/ 10000 h 10000"/>
              <a:gd name="connsiteX16" fmla="*/ 5258 w 9554"/>
              <a:gd name="connsiteY16" fmla="*/ 10000 h 10000"/>
              <a:gd name="connsiteX17" fmla="*/ 4708 w 9554"/>
              <a:gd name="connsiteY17" fmla="*/ 10000 h 10000"/>
              <a:gd name="connsiteX18" fmla="*/ 4249 w 9554"/>
              <a:gd name="connsiteY18" fmla="*/ 9831 h 10000"/>
              <a:gd name="connsiteX19" fmla="*/ 3974 w 9554"/>
              <a:gd name="connsiteY19" fmla="*/ 9719 h 10000"/>
              <a:gd name="connsiteX20" fmla="*/ 3882 w 9554"/>
              <a:gd name="connsiteY20" fmla="*/ 9494 h 10000"/>
              <a:gd name="connsiteX21" fmla="*/ 3515 w 9554"/>
              <a:gd name="connsiteY21" fmla="*/ 9382 h 10000"/>
              <a:gd name="connsiteX22" fmla="*/ 3148 w 9554"/>
              <a:gd name="connsiteY22" fmla="*/ 9157 h 10000"/>
              <a:gd name="connsiteX23" fmla="*/ 2965 w 9554"/>
              <a:gd name="connsiteY23" fmla="*/ 9045 h 10000"/>
              <a:gd name="connsiteX24" fmla="*/ 2873 w 9554"/>
              <a:gd name="connsiteY24" fmla="*/ 8820 h 10000"/>
              <a:gd name="connsiteX25" fmla="*/ 2873 w 9554"/>
              <a:gd name="connsiteY25" fmla="*/ 8202 h 10000"/>
              <a:gd name="connsiteX0" fmla="*/ 8000 w 10335"/>
              <a:gd name="connsiteY0" fmla="*/ 5730 h 10000"/>
              <a:gd name="connsiteX1" fmla="*/ 9952 w 10335"/>
              <a:gd name="connsiteY1" fmla="*/ 4105 h 10000"/>
              <a:gd name="connsiteX2" fmla="*/ 5503 w 10335"/>
              <a:gd name="connsiteY2" fmla="*/ 0 h 10000"/>
              <a:gd name="connsiteX3" fmla="*/ 414 w 10335"/>
              <a:gd name="connsiteY3" fmla="*/ 2360 h 10000"/>
              <a:gd name="connsiteX4" fmla="*/ 318 w 10335"/>
              <a:gd name="connsiteY4" fmla="*/ 3483 h 10000"/>
              <a:gd name="connsiteX5" fmla="*/ 3007 w 10335"/>
              <a:gd name="connsiteY5" fmla="*/ 5730 h 10000"/>
              <a:gd name="connsiteX6" fmla="*/ 3007 w 10335"/>
              <a:gd name="connsiteY6" fmla="*/ 7191 h 10000"/>
              <a:gd name="connsiteX7" fmla="*/ 8000 w 10335"/>
              <a:gd name="connsiteY7" fmla="*/ 7191 h 10000"/>
              <a:gd name="connsiteX8" fmla="*/ 8000 w 10335"/>
              <a:gd name="connsiteY8" fmla="*/ 8820 h 10000"/>
              <a:gd name="connsiteX9" fmla="*/ 7905 w 10335"/>
              <a:gd name="connsiteY9" fmla="*/ 9045 h 10000"/>
              <a:gd name="connsiteX10" fmla="*/ 7808 w 10335"/>
              <a:gd name="connsiteY10" fmla="*/ 9157 h 10000"/>
              <a:gd name="connsiteX11" fmla="*/ 7424 w 10335"/>
              <a:gd name="connsiteY11" fmla="*/ 9382 h 10000"/>
              <a:gd name="connsiteX12" fmla="*/ 6944 w 10335"/>
              <a:gd name="connsiteY12" fmla="*/ 9494 h 10000"/>
              <a:gd name="connsiteX13" fmla="*/ 6848 w 10335"/>
              <a:gd name="connsiteY13" fmla="*/ 9719 h 10000"/>
              <a:gd name="connsiteX14" fmla="*/ 6464 w 10335"/>
              <a:gd name="connsiteY14" fmla="*/ 9831 h 10000"/>
              <a:gd name="connsiteX15" fmla="*/ 6175 w 10335"/>
              <a:gd name="connsiteY15" fmla="*/ 10000 h 10000"/>
              <a:gd name="connsiteX16" fmla="*/ 5503 w 10335"/>
              <a:gd name="connsiteY16" fmla="*/ 10000 h 10000"/>
              <a:gd name="connsiteX17" fmla="*/ 4928 w 10335"/>
              <a:gd name="connsiteY17" fmla="*/ 10000 h 10000"/>
              <a:gd name="connsiteX18" fmla="*/ 4447 w 10335"/>
              <a:gd name="connsiteY18" fmla="*/ 9831 h 10000"/>
              <a:gd name="connsiteX19" fmla="*/ 4160 w 10335"/>
              <a:gd name="connsiteY19" fmla="*/ 9719 h 10000"/>
              <a:gd name="connsiteX20" fmla="*/ 4063 w 10335"/>
              <a:gd name="connsiteY20" fmla="*/ 9494 h 10000"/>
              <a:gd name="connsiteX21" fmla="*/ 3679 w 10335"/>
              <a:gd name="connsiteY21" fmla="*/ 9382 h 10000"/>
              <a:gd name="connsiteX22" fmla="*/ 3295 w 10335"/>
              <a:gd name="connsiteY22" fmla="*/ 9157 h 10000"/>
              <a:gd name="connsiteX23" fmla="*/ 3103 w 10335"/>
              <a:gd name="connsiteY23" fmla="*/ 9045 h 10000"/>
              <a:gd name="connsiteX24" fmla="*/ 3007 w 10335"/>
              <a:gd name="connsiteY24" fmla="*/ 8820 h 10000"/>
              <a:gd name="connsiteX25" fmla="*/ 3007 w 10335"/>
              <a:gd name="connsiteY25" fmla="*/ 8202 h 10000"/>
              <a:gd name="connsiteX0" fmla="*/ 8000 w 10127"/>
              <a:gd name="connsiteY0" fmla="*/ 5730 h 10000"/>
              <a:gd name="connsiteX1" fmla="*/ 9952 w 10127"/>
              <a:gd name="connsiteY1" fmla="*/ 4105 h 10000"/>
              <a:gd name="connsiteX2" fmla="*/ 5503 w 10127"/>
              <a:gd name="connsiteY2" fmla="*/ 0 h 10000"/>
              <a:gd name="connsiteX3" fmla="*/ 414 w 10127"/>
              <a:gd name="connsiteY3" fmla="*/ 2360 h 10000"/>
              <a:gd name="connsiteX4" fmla="*/ 318 w 10127"/>
              <a:gd name="connsiteY4" fmla="*/ 3483 h 10000"/>
              <a:gd name="connsiteX5" fmla="*/ 3007 w 10127"/>
              <a:gd name="connsiteY5" fmla="*/ 5730 h 10000"/>
              <a:gd name="connsiteX6" fmla="*/ 3007 w 10127"/>
              <a:gd name="connsiteY6" fmla="*/ 7191 h 10000"/>
              <a:gd name="connsiteX7" fmla="*/ 8000 w 10127"/>
              <a:gd name="connsiteY7" fmla="*/ 7191 h 10000"/>
              <a:gd name="connsiteX8" fmla="*/ 8000 w 10127"/>
              <a:gd name="connsiteY8" fmla="*/ 8820 h 10000"/>
              <a:gd name="connsiteX9" fmla="*/ 7905 w 10127"/>
              <a:gd name="connsiteY9" fmla="*/ 9045 h 10000"/>
              <a:gd name="connsiteX10" fmla="*/ 7808 w 10127"/>
              <a:gd name="connsiteY10" fmla="*/ 9157 h 10000"/>
              <a:gd name="connsiteX11" fmla="*/ 7424 w 10127"/>
              <a:gd name="connsiteY11" fmla="*/ 9382 h 10000"/>
              <a:gd name="connsiteX12" fmla="*/ 6944 w 10127"/>
              <a:gd name="connsiteY12" fmla="*/ 9494 h 10000"/>
              <a:gd name="connsiteX13" fmla="*/ 6848 w 10127"/>
              <a:gd name="connsiteY13" fmla="*/ 9719 h 10000"/>
              <a:gd name="connsiteX14" fmla="*/ 6464 w 10127"/>
              <a:gd name="connsiteY14" fmla="*/ 9831 h 10000"/>
              <a:gd name="connsiteX15" fmla="*/ 6175 w 10127"/>
              <a:gd name="connsiteY15" fmla="*/ 10000 h 10000"/>
              <a:gd name="connsiteX16" fmla="*/ 5503 w 10127"/>
              <a:gd name="connsiteY16" fmla="*/ 10000 h 10000"/>
              <a:gd name="connsiteX17" fmla="*/ 4928 w 10127"/>
              <a:gd name="connsiteY17" fmla="*/ 10000 h 10000"/>
              <a:gd name="connsiteX18" fmla="*/ 4447 w 10127"/>
              <a:gd name="connsiteY18" fmla="*/ 9831 h 10000"/>
              <a:gd name="connsiteX19" fmla="*/ 4160 w 10127"/>
              <a:gd name="connsiteY19" fmla="*/ 9719 h 10000"/>
              <a:gd name="connsiteX20" fmla="*/ 4063 w 10127"/>
              <a:gd name="connsiteY20" fmla="*/ 9494 h 10000"/>
              <a:gd name="connsiteX21" fmla="*/ 3679 w 10127"/>
              <a:gd name="connsiteY21" fmla="*/ 9382 h 10000"/>
              <a:gd name="connsiteX22" fmla="*/ 3295 w 10127"/>
              <a:gd name="connsiteY22" fmla="*/ 9157 h 10000"/>
              <a:gd name="connsiteX23" fmla="*/ 3103 w 10127"/>
              <a:gd name="connsiteY23" fmla="*/ 9045 h 10000"/>
              <a:gd name="connsiteX24" fmla="*/ 3007 w 10127"/>
              <a:gd name="connsiteY24" fmla="*/ 8820 h 10000"/>
              <a:gd name="connsiteX25" fmla="*/ 3007 w 10127"/>
              <a:gd name="connsiteY25" fmla="*/ 8202 h 10000"/>
              <a:gd name="connsiteX0" fmla="*/ 8000 w 10599"/>
              <a:gd name="connsiteY0" fmla="*/ 5730 h 10000"/>
              <a:gd name="connsiteX1" fmla="*/ 10440 w 10599"/>
              <a:gd name="connsiteY1" fmla="*/ 3292 h 10000"/>
              <a:gd name="connsiteX2" fmla="*/ 5503 w 10599"/>
              <a:gd name="connsiteY2" fmla="*/ 0 h 10000"/>
              <a:gd name="connsiteX3" fmla="*/ 414 w 10599"/>
              <a:gd name="connsiteY3" fmla="*/ 2360 h 10000"/>
              <a:gd name="connsiteX4" fmla="*/ 318 w 10599"/>
              <a:gd name="connsiteY4" fmla="*/ 3483 h 10000"/>
              <a:gd name="connsiteX5" fmla="*/ 3007 w 10599"/>
              <a:gd name="connsiteY5" fmla="*/ 5730 h 10000"/>
              <a:gd name="connsiteX6" fmla="*/ 3007 w 10599"/>
              <a:gd name="connsiteY6" fmla="*/ 7191 h 10000"/>
              <a:gd name="connsiteX7" fmla="*/ 8000 w 10599"/>
              <a:gd name="connsiteY7" fmla="*/ 7191 h 10000"/>
              <a:gd name="connsiteX8" fmla="*/ 8000 w 10599"/>
              <a:gd name="connsiteY8" fmla="*/ 8820 h 10000"/>
              <a:gd name="connsiteX9" fmla="*/ 7905 w 10599"/>
              <a:gd name="connsiteY9" fmla="*/ 9045 h 10000"/>
              <a:gd name="connsiteX10" fmla="*/ 7808 w 10599"/>
              <a:gd name="connsiteY10" fmla="*/ 9157 h 10000"/>
              <a:gd name="connsiteX11" fmla="*/ 7424 w 10599"/>
              <a:gd name="connsiteY11" fmla="*/ 9382 h 10000"/>
              <a:gd name="connsiteX12" fmla="*/ 6944 w 10599"/>
              <a:gd name="connsiteY12" fmla="*/ 9494 h 10000"/>
              <a:gd name="connsiteX13" fmla="*/ 6848 w 10599"/>
              <a:gd name="connsiteY13" fmla="*/ 9719 h 10000"/>
              <a:gd name="connsiteX14" fmla="*/ 6464 w 10599"/>
              <a:gd name="connsiteY14" fmla="*/ 9831 h 10000"/>
              <a:gd name="connsiteX15" fmla="*/ 6175 w 10599"/>
              <a:gd name="connsiteY15" fmla="*/ 10000 h 10000"/>
              <a:gd name="connsiteX16" fmla="*/ 5503 w 10599"/>
              <a:gd name="connsiteY16" fmla="*/ 10000 h 10000"/>
              <a:gd name="connsiteX17" fmla="*/ 4928 w 10599"/>
              <a:gd name="connsiteY17" fmla="*/ 10000 h 10000"/>
              <a:gd name="connsiteX18" fmla="*/ 4447 w 10599"/>
              <a:gd name="connsiteY18" fmla="*/ 9831 h 10000"/>
              <a:gd name="connsiteX19" fmla="*/ 4160 w 10599"/>
              <a:gd name="connsiteY19" fmla="*/ 9719 h 10000"/>
              <a:gd name="connsiteX20" fmla="*/ 4063 w 10599"/>
              <a:gd name="connsiteY20" fmla="*/ 9494 h 10000"/>
              <a:gd name="connsiteX21" fmla="*/ 3679 w 10599"/>
              <a:gd name="connsiteY21" fmla="*/ 9382 h 10000"/>
              <a:gd name="connsiteX22" fmla="*/ 3295 w 10599"/>
              <a:gd name="connsiteY22" fmla="*/ 9157 h 10000"/>
              <a:gd name="connsiteX23" fmla="*/ 3103 w 10599"/>
              <a:gd name="connsiteY23" fmla="*/ 9045 h 10000"/>
              <a:gd name="connsiteX24" fmla="*/ 3007 w 10599"/>
              <a:gd name="connsiteY24" fmla="*/ 8820 h 10000"/>
              <a:gd name="connsiteX25" fmla="*/ 3007 w 10599"/>
              <a:gd name="connsiteY25" fmla="*/ 8202 h 10000"/>
              <a:gd name="connsiteX0" fmla="*/ 8000 w 10602"/>
              <a:gd name="connsiteY0" fmla="*/ 5897 h 10167"/>
              <a:gd name="connsiteX1" fmla="*/ 10440 w 10602"/>
              <a:gd name="connsiteY1" fmla="*/ 3459 h 10167"/>
              <a:gd name="connsiteX2" fmla="*/ 5503 w 10602"/>
              <a:gd name="connsiteY2" fmla="*/ 167 h 10167"/>
              <a:gd name="connsiteX3" fmla="*/ 414 w 10602"/>
              <a:gd name="connsiteY3" fmla="*/ 2527 h 10167"/>
              <a:gd name="connsiteX4" fmla="*/ 318 w 10602"/>
              <a:gd name="connsiteY4" fmla="*/ 3650 h 10167"/>
              <a:gd name="connsiteX5" fmla="*/ 3007 w 10602"/>
              <a:gd name="connsiteY5" fmla="*/ 5897 h 10167"/>
              <a:gd name="connsiteX6" fmla="*/ 3007 w 10602"/>
              <a:gd name="connsiteY6" fmla="*/ 7358 h 10167"/>
              <a:gd name="connsiteX7" fmla="*/ 8000 w 10602"/>
              <a:gd name="connsiteY7" fmla="*/ 7358 h 10167"/>
              <a:gd name="connsiteX8" fmla="*/ 8000 w 10602"/>
              <a:gd name="connsiteY8" fmla="*/ 8987 h 10167"/>
              <a:gd name="connsiteX9" fmla="*/ 7905 w 10602"/>
              <a:gd name="connsiteY9" fmla="*/ 9212 h 10167"/>
              <a:gd name="connsiteX10" fmla="*/ 7808 w 10602"/>
              <a:gd name="connsiteY10" fmla="*/ 9324 h 10167"/>
              <a:gd name="connsiteX11" fmla="*/ 7424 w 10602"/>
              <a:gd name="connsiteY11" fmla="*/ 9549 h 10167"/>
              <a:gd name="connsiteX12" fmla="*/ 6944 w 10602"/>
              <a:gd name="connsiteY12" fmla="*/ 9661 h 10167"/>
              <a:gd name="connsiteX13" fmla="*/ 6848 w 10602"/>
              <a:gd name="connsiteY13" fmla="*/ 9886 h 10167"/>
              <a:gd name="connsiteX14" fmla="*/ 6464 w 10602"/>
              <a:gd name="connsiteY14" fmla="*/ 9998 h 10167"/>
              <a:gd name="connsiteX15" fmla="*/ 6175 w 10602"/>
              <a:gd name="connsiteY15" fmla="*/ 10167 h 10167"/>
              <a:gd name="connsiteX16" fmla="*/ 5503 w 10602"/>
              <a:gd name="connsiteY16" fmla="*/ 10167 h 10167"/>
              <a:gd name="connsiteX17" fmla="*/ 4928 w 10602"/>
              <a:gd name="connsiteY17" fmla="*/ 10167 h 10167"/>
              <a:gd name="connsiteX18" fmla="*/ 4447 w 10602"/>
              <a:gd name="connsiteY18" fmla="*/ 9998 h 10167"/>
              <a:gd name="connsiteX19" fmla="*/ 4160 w 10602"/>
              <a:gd name="connsiteY19" fmla="*/ 9886 h 10167"/>
              <a:gd name="connsiteX20" fmla="*/ 4063 w 10602"/>
              <a:gd name="connsiteY20" fmla="*/ 9661 h 10167"/>
              <a:gd name="connsiteX21" fmla="*/ 3679 w 10602"/>
              <a:gd name="connsiteY21" fmla="*/ 9549 h 10167"/>
              <a:gd name="connsiteX22" fmla="*/ 3295 w 10602"/>
              <a:gd name="connsiteY22" fmla="*/ 9324 h 10167"/>
              <a:gd name="connsiteX23" fmla="*/ 3103 w 10602"/>
              <a:gd name="connsiteY23" fmla="*/ 9212 h 10167"/>
              <a:gd name="connsiteX24" fmla="*/ 3007 w 10602"/>
              <a:gd name="connsiteY24" fmla="*/ 8987 h 10167"/>
              <a:gd name="connsiteX25" fmla="*/ 3007 w 10602"/>
              <a:gd name="connsiteY25" fmla="*/ 8369 h 10167"/>
              <a:gd name="connsiteX0" fmla="*/ 8000 w 10642"/>
              <a:gd name="connsiteY0" fmla="*/ 5731 h 10001"/>
              <a:gd name="connsiteX1" fmla="*/ 10440 w 10642"/>
              <a:gd name="connsiteY1" fmla="*/ 3293 h 10001"/>
              <a:gd name="connsiteX2" fmla="*/ 5503 w 10642"/>
              <a:gd name="connsiteY2" fmla="*/ 1 h 10001"/>
              <a:gd name="connsiteX3" fmla="*/ 414 w 10642"/>
              <a:gd name="connsiteY3" fmla="*/ 2361 h 10001"/>
              <a:gd name="connsiteX4" fmla="*/ 318 w 10642"/>
              <a:gd name="connsiteY4" fmla="*/ 3484 h 10001"/>
              <a:gd name="connsiteX5" fmla="*/ 3007 w 10642"/>
              <a:gd name="connsiteY5" fmla="*/ 5731 h 10001"/>
              <a:gd name="connsiteX6" fmla="*/ 3007 w 10642"/>
              <a:gd name="connsiteY6" fmla="*/ 7192 h 10001"/>
              <a:gd name="connsiteX7" fmla="*/ 8000 w 10642"/>
              <a:gd name="connsiteY7" fmla="*/ 7192 h 10001"/>
              <a:gd name="connsiteX8" fmla="*/ 8000 w 10642"/>
              <a:gd name="connsiteY8" fmla="*/ 8821 h 10001"/>
              <a:gd name="connsiteX9" fmla="*/ 7905 w 10642"/>
              <a:gd name="connsiteY9" fmla="*/ 9046 h 10001"/>
              <a:gd name="connsiteX10" fmla="*/ 7808 w 10642"/>
              <a:gd name="connsiteY10" fmla="*/ 9158 h 10001"/>
              <a:gd name="connsiteX11" fmla="*/ 7424 w 10642"/>
              <a:gd name="connsiteY11" fmla="*/ 9383 h 10001"/>
              <a:gd name="connsiteX12" fmla="*/ 6944 w 10642"/>
              <a:gd name="connsiteY12" fmla="*/ 9495 h 10001"/>
              <a:gd name="connsiteX13" fmla="*/ 6848 w 10642"/>
              <a:gd name="connsiteY13" fmla="*/ 9720 h 10001"/>
              <a:gd name="connsiteX14" fmla="*/ 6464 w 10642"/>
              <a:gd name="connsiteY14" fmla="*/ 9832 h 10001"/>
              <a:gd name="connsiteX15" fmla="*/ 6175 w 10642"/>
              <a:gd name="connsiteY15" fmla="*/ 10001 h 10001"/>
              <a:gd name="connsiteX16" fmla="*/ 5503 w 10642"/>
              <a:gd name="connsiteY16" fmla="*/ 10001 h 10001"/>
              <a:gd name="connsiteX17" fmla="*/ 4928 w 10642"/>
              <a:gd name="connsiteY17" fmla="*/ 10001 h 10001"/>
              <a:gd name="connsiteX18" fmla="*/ 4447 w 10642"/>
              <a:gd name="connsiteY18" fmla="*/ 9832 h 10001"/>
              <a:gd name="connsiteX19" fmla="*/ 4160 w 10642"/>
              <a:gd name="connsiteY19" fmla="*/ 9720 h 10001"/>
              <a:gd name="connsiteX20" fmla="*/ 4063 w 10642"/>
              <a:gd name="connsiteY20" fmla="*/ 9495 h 10001"/>
              <a:gd name="connsiteX21" fmla="*/ 3679 w 10642"/>
              <a:gd name="connsiteY21" fmla="*/ 9383 h 10001"/>
              <a:gd name="connsiteX22" fmla="*/ 3295 w 10642"/>
              <a:gd name="connsiteY22" fmla="*/ 9158 h 10001"/>
              <a:gd name="connsiteX23" fmla="*/ 3103 w 10642"/>
              <a:gd name="connsiteY23" fmla="*/ 9046 h 10001"/>
              <a:gd name="connsiteX24" fmla="*/ 3007 w 10642"/>
              <a:gd name="connsiteY24" fmla="*/ 8821 h 10001"/>
              <a:gd name="connsiteX25" fmla="*/ 3007 w 10642"/>
              <a:gd name="connsiteY25" fmla="*/ 8203 h 10001"/>
              <a:gd name="connsiteX0" fmla="*/ 7682 w 10284"/>
              <a:gd name="connsiteY0" fmla="*/ 5731 h 10001"/>
              <a:gd name="connsiteX1" fmla="*/ 10122 w 10284"/>
              <a:gd name="connsiteY1" fmla="*/ 3293 h 10001"/>
              <a:gd name="connsiteX2" fmla="*/ 5185 w 10284"/>
              <a:gd name="connsiteY2" fmla="*/ 1 h 10001"/>
              <a:gd name="connsiteX3" fmla="*/ 0 w 10284"/>
              <a:gd name="connsiteY3" fmla="*/ 3484 h 10001"/>
              <a:gd name="connsiteX4" fmla="*/ 2689 w 10284"/>
              <a:gd name="connsiteY4" fmla="*/ 5731 h 10001"/>
              <a:gd name="connsiteX5" fmla="*/ 2689 w 10284"/>
              <a:gd name="connsiteY5" fmla="*/ 7192 h 10001"/>
              <a:gd name="connsiteX6" fmla="*/ 7682 w 10284"/>
              <a:gd name="connsiteY6" fmla="*/ 7192 h 10001"/>
              <a:gd name="connsiteX7" fmla="*/ 7682 w 10284"/>
              <a:gd name="connsiteY7" fmla="*/ 8821 h 10001"/>
              <a:gd name="connsiteX8" fmla="*/ 7587 w 10284"/>
              <a:gd name="connsiteY8" fmla="*/ 9046 h 10001"/>
              <a:gd name="connsiteX9" fmla="*/ 7490 w 10284"/>
              <a:gd name="connsiteY9" fmla="*/ 9158 h 10001"/>
              <a:gd name="connsiteX10" fmla="*/ 7106 w 10284"/>
              <a:gd name="connsiteY10" fmla="*/ 9383 h 10001"/>
              <a:gd name="connsiteX11" fmla="*/ 6626 w 10284"/>
              <a:gd name="connsiteY11" fmla="*/ 9495 h 10001"/>
              <a:gd name="connsiteX12" fmla="*/ 6530 w 10284"/>
              <a:gd name="connsiteY12" fmla="*/ 9720 h 10001"/>
              <a:gd name="connsiteX13" fmla="*/ 6146 w 10284"/>
              <a:gd name="connsiteY13" fmla="*/ 9832 h 10001"/>
              <a:gd name="connsiteX14" fmla="*/ 5857 w 10284"/>
              <a:gd name="connsiteY14" fmla="*/ 10001 h 10001"/>
              <a:gd name="connsiteX15" fmla="*/ 5185 w 10284"/>
              <a:gd name="connsiteY15" fmla="*/ 10001 h 10001"/>
              <a:gd name="connsiteX16" fmla="*/ 4610 w 10284"/>
              <a:gd name="connsiteY16" fmla="*/ 10001 h 10001"/>
              <a:gd name="connsiteX17" fmla="*/ 4129 w 10284"/>
              <a:gd name="connsiteY17" fmla="*/ 9832 h 10001"/>
              <a:gd name="connsiteX18" fmla="*/ 3842 w 10284"/>
              <a:gd name="connsiteY18" fmla="*/ 9720 h 10001"/>
              <a:gd name="connsiteX19" fmla="*/ 3745 w 10284"/>
              <a:gd name="connsiteY19" fmla="*/ 9495 h 10001"/>
              <a:gd name="connsiteX20" fmla="*/ 3361 w 10284"/>
              <a:gd name="connsiteY20" fmla="*/ 9383 h 10001"/>
              <a:gd name="connsiteX21" fmla="*/ 2977 w 10284"/>
              <a:gd name="connsiteY21" fmla="*/ 9158 h 10001"/>
              <a:gd name="connsiteX22" fmla="*/ 2785 w 10284"/>
              <a:gd name="connsiteY22" fmla="*/ 9046 h 10001"/>
              <a:gd name="connsiteX23" fmla="*/ 2689 w 10284"/>
              <a:gd name="connsiteY23" fmla="*/ 8821 h 10001"/>
              <a:gd name="connsiteX24" fmla="*/ 2689 w 10284"/>
              <a:gd name="connsiteY24" fmla="*/ 8203 h 10001"/>
              <a:gd name="connsiteX0" fmla="*/ 7389 w 9989"/>
              <a:gd name="connsiteY0" fmla="*/ 5731 h 10001"/>
              <a:gd name="connsiteX1" fmla="*/ 9829 w 9989"/>
              <a:gd name="connsiteY1" fmla="*/ 3293 h 10001"/>
              <a:gd name="connsiteX2" fmla="*/ 4892 w 9989"/>
              <a:gd name="connsiteY2" fmla="*/ 1 h 10001"/>
              <a:gd name="connsiteX3" fmla="*/ 0 w 9989"/>
              <a:gd name="connsiteY3" fmla="*/ 3078 h 10001"/>
              <a:gd name="connsiteX4" fmla="*/ 2396 w 9989"/>
              <a:gd name="connsiteY4" fmla="*/ 5731 h 10001"/>
              <a:gd name="connsiteX5" fmla="*/ 2396 w 9989"/>
              <a:gd name="connsiteY5" fmla="*/ 7192 h 10001"/>
              <a:gd name="connsiteX6" fmla="*/ 7389 w 9989"/>
              <a:gd name="connsiteY6" fmla="*/ 7192 h 10001"/>
              <a:gd name="connsiteX7" fmla="*/ 7389 w 9989"/>
              <a:gd name="connsiteY7" fmla="*/ 8821 h 10001"/>
              <a:gd name="connsiteX8" fmla="*/ 7294 w 9989"/>
              <a:gd name="connsiteY8" fmla="*/ 9046 h 10001"/>
              <a:gd name="connsiteX9" fmla="*/ 7197 w 9989"/>
              <a:gd name="connsiteY9" fmla="*/ 9158 h 10001"/>
              <a:gd name="connsiteX10" fmla="*/ 6813 w 9989"/>
              <a:gd name="connsiteY10" fmla="*/ 9383 h 10001"/>
              <a:gd name="connsiteX11" fmla="*/ 6333 w 9989"/>
              <a:gd name="connsiteY11" fmla="*/ 9495 h 10001"/>
              <a:gd name="connsiteX12" fmla="*/ 6237 w 9989"/>
              <a:gd name="connsiteY12" fmla="*/ 9720 h 10001"/>
              <a:gd name="connsiteX13" fmla="*/ 5853 w 9989"/>
              <a:gd name="connsiteY13" fmla="*/ 9832 h 10001"/>
              <a:gd name="connsiteX14" fmla="*/ 5564 w 9989"/>
              <a:gd name="connsiteY14" fmla="*/ 10001 h 10001"/>
              <a:gd name="connsiteX15" fmla="*/ 4892 w 9989"/>
              <a:gd name="connsiteY15" fmla="*/ 10001 h 10001"/>
              <a:gd name="connsiteX16" fmla="*/ 4317 w 9989"/>
              <a:gd name="connsiteY16" fmla="*/ 10001 h 10001"/>
              <a:gd name="connsiteX17" fmla="*/ 3836 w 9989"/>
              <a:gd name="connsiteY17" fmla="*/ 9832 h 10001"/>
              <a:gd name="connsiteX18" fmla="*/ 3549 w 9989"/>
              <a:gd name="connsiteY18" fmla="*/ 9720 h 10001"/>
              <a:gd name="connsiteX19" fmla="*/ 3452 w 9989"/>
              <a:gd name="connsiteY19" fmla="*/ 9495 h 10001"/>
              <a:gd name="connsiteX20" fmla="*/ 3068 w 9989"/>
              <a:gd name="connsiteY20" fmla="*/ 9383 h 10001"/>
              <a:gd name="connsiteX21" fmla="*/ 2684 w 9989"/>
              <a:gd name="connsiteY21" fmla="*/ 9158 h 10001"/>
              <a:gd name="connsiteX22" fmla="*/ 2492 w 9989"/>
              <a:gd name="connsiteY22" fmla="*/ 9046 h 10001"/>
              <a:gd name="connsiteX23" fmla="*/ 2396 w 9989"/>
              <a:gd name="connsiteY23" fmla="*/ 8821 h 10001"/>
              <a:gd name="connsiteX24" fmla="*/ 2396 w 9989"/>
              <a:gd name="connsiteY24" fmla="*/ 8203 h 10001"/>
              <a:gd name="connsiteX0" fmla="*/ 7397 w 10000"/>
              <a:gd name="connsiteY0" fmla="*/ 5730 h 10000"/>
              <a:gd name="connsiteX1" fmla="*/ 9840 w 10000"/>
              <a:gd name="connsiteY1" fmla="*/ 3293 h 10000"/>
              <a:gd name="connsiteX2" fmla="*/ 4897 w 10000"/>
              <a:gd name="connsiteY2" fmla="*/ 1 h 10000"/>
              <a:gd name="connsiteX3" fmla="*/ 0 w 10000"/>
              <a:gd name="connsiteY3" fmla="*/ 3078 h 10000"/>
              <a:gd name="connsiteX4" fmla="*/ 2399 w 10000"/>
              <a:gd name="connsiteY4" fmla="*/ 5730 h 10000"/>
              <a:gd name="connsiteX5" fmla="*/ 2399 w 10000"/>
              <a:gd name="connsiteY5" fmla="*/ 7191 h 10000"/>
              <a:gd name="connsiteX6" fmla="*/ 7397 w 10000"/>
              <a:gd name="connsiteY6" fmla="*/ 7191 h 10000"/>
              <a:gd name="connsiteX7" fmla="*/ 7397 w 10000"/>
              <a:gd name="connsiteY7" fmla="*/ 8820 h 10000"/>
              <a:gd name="connsiteX8" fmla="*/ 7302 w 10000"/>
              <a:gd name="connsiteY8" fmla="*/ 9045 h 10000"/>
              <a:gd name="connsiteX9" fmla="*/ 7205 w 10000"/>
              <a:gd name="connsiteY9" fmla="*/ 9157 h 10000"/>
              <a:gd name="connsiteX10" fmla="*/ 6821 w 10000"/>
              <a:gd name="connsiteY10" fmla="*/ 9382 h 10000"/>
              <a:gd name="connsiteX11" fmla="*/ 6340 w 10000"/>
              <a:gd name="connsiteY11" fmla="*/ 9494 h 10000"/>
              <a:gd name="connsiteX12" fmla="*/ 6244 w 10000"/>
              <a:gd name="connsiteY12" fmla="*/ 9719 h 10000"/>
              <a:gd name="connsiteX13" fmla="*/ 5859 w 10000"/>
              <a:gd name="connsiteY13" fmla="*/ 9831 h 10000"/>
              <a:gd name="connsiteX14" fmla="*/ 5570 w 10000"/>
              <a:gd name="connsiteY14" fmla="*/ 10000 h 10000"/>
              <a:gd name="connsiteX15" fmla="*/ 4897 w 10000"/>
              <a:gd name="connsiteY15" fmla="*/ 10000 h 10000"/>
              <a:gd name="connsiteX16" fmla="*/ 4322 w 10000"/>
              <a:gd name="connsiteY16" fmla="*/ 10000 h 10000"/>
              <a:gd name="connsiteX17" fmla="*/ 3840 w 10000"/>
              <a:gd name="connsiteY17" fmla="*/ 9831 h 10000"/>
              <a:gd name="connsiteX18" fmla="*/ 3553 w 10000"/>
              <a:gd name="connsiteY18" fmla="*/ 9719 h 10000"/>
              <a:gd name="connsiteX19" fmla="*/ 3456 w 10000"/>
              <a:gd name="connsiteY19" fmla="*/ 9494 h 10000"/>
              <a:gd name="connsiteX20" fmla="*/ 3071 w 10000"/>
              <a:gd name="connsiteY20" fmla="*/ 9382 h 10000"/>
              <a:gd name="connsiteX21" fmla="*/ 2687 w 10000"/>
              <a:gd name="connsiteY21" fmla="*/ 9157 h 10000"/>
              <a:gd name="connsiteX22" fmla="*/ 2495 w 10000"/>
              <a:gd name="connsiteY22" fmla="*/ 9045 h 10000"/>
              <a:gd name="connsiteX23" fmla="*/ 2399 w 10000"/>
              <a:gd name="connsiteY23" fmla="*/ 8820 h 10000"/>
              <a:gd name="connsiteX24" fmla="*/ 2399 w 10000"/>
              <a:gd name="connsiteY24" fmla="*/ 8202 h 10000"/>
              <a:gd name="connsiteX0" fmla="*/ 7397 w 10000"/>
              <a:gd name="connsiteY0" fmla="*/ 5730 h 10000"/>
              <a:gd name="connsiteX1" fmla="*/ 9840 w 10000"/>
              <a:gd name="connsiteY1" fmla="*/ 3293 h 10000"/>
              <a:gd name="connsiteX2" fmla="*/ 4897 w 10000"/>
              <a:gd name="connsiteY2" fmla="*/ 1 h 10000"/>
              <a:gd name="connsiteX3" fmla="*/ 0 w 10000"/>
              <a:gd name="connsiteY3" fmla="*/ 3078 h 10000"/>
              <a:gd name="connsiteX4" fmla="*/ 2399 w 10000"/>
              <a:gd name="connsiteY4" fmla="*/ 5730 h 10000"/>
              <a:gd name="connsiteX5" fmla="*/ 2399 w 10000"/>
              <a:gd name="connsiteY5" fmla="*/ 7191 h 10000"/>
              <a:gd name="connsiteX6" fmla="*/ 7397 w 10000"/>
              <a:gd name="connsiteY6" fmla="*/ 7191 h 10000"/>
              <a:gd name="connsiteX7" fmla="*/ 7397 w 10000"/>
              <a:gd name="connsiteY7" fmla="*/ 8820 h 10000"/>
              <a:gd name="connsiteX8" fmla="*/ 7302 w 10000"/>
              <a:gd name="connsiteY8" fmla="*/ 9045 h 10000"/>
              <a:gd name="connsiteX9" fmla="*/ 7205 w 10000"/>
              <a:gd name="connsiteY9" fmla="*/ 9157 h 10000"/>
              <a:gd name="connsiteX10" fmla="*/ 6821 w 10000"/>
              <a:gd name="connsiteY10" fmla="*/ 9382 h 10000"/>
              <a:gd name="connsiteX11" fmla="*/ 6340 w 10000"/>
              <a:gd name="connsiteY11" fmla="*/ 9494 h 10000"/>
              <a:gd name="connsiteX12" fmla="*/ 6244 w 10000"/>
              <a:gd name="connsiteY12" fmla="*/ 9719 h 10000"/>
              <a:gd name="connsiteX13" fmla="*/ 5859 w 10000"/>
              <a:gd name="connsiteY13" fmla="*/ 9831 h 10000"/>
              <a:gd name="connsiteX14" fmla="*/ 5570 w 10000"/>
              <a:gd name="connsiteY14" fmla="*/ 10000 h 10000"/>
              <a:gd name="connsiteX15" fmla="*/ 4897 w 10000"/>
              <a:gd name="connsiteY15" fmla="*/ 10000 h 10000"/>
              <a:gd name="connsiteX16" fmla="*/ 4322 w 10000"/>
              <a:gd name="connsiteY16" fmla="*/ 10000 h 10000"/>
              <a:gd name="connsiteX17" fmla="*/ 3840 w 10000"/>
              <a:gd name="connsiteY17" fmla="*/ 9831 h 10000"/>
              <a:gd name="connsiteX18" fmla="*/ 3553 w 10000"/>
              <a:gd name="connsiteY18" fmla="*/ 9719 h 10000"/>
              <a:gd name="connsiteX19" fmla="*/ 3456 w 10000"/>
              <a:gd name="connsiteY19" fmla="*/ 9494 h 10000"/>
              <a:gd name="connsiteX20" fmla="*/ 3071 w 10000"/>
              <a:gd name="connsiteY20" fmla="*/ 9382 h 10000"/>
              <a:gd name="connsiteX21" fmla="*/ 2687 w 10000"/>
              <a:gd name="connsiteY21" fmla="*/ 9157 h 10000"/>
              <a:gd name="connsiteX22" fmla="*/ 2495 w 10000"/>
              <a:gd name="connsiteY22" fmla="*/ 9045 h 10000"/>
              <a:gd name="connsiteX23" fmla="*/ 2399 w 10000"/>
              <a:gd name="connsiteY23" fmla="*/ 8820 h 10000"/>
              <a:gd name="connsiteX24" fmla="*/ 2399 w 10000"/>
              <a:gd name="connsiteY24" fmla="*/ 8202 h 10000"/>
              <a:gd name="connsiteX0" fmla="*/ 7500 w 10103"/>
              <a:gd name="connsiteY0" fmla="*/ 5730 h 10000"/>
              <a:gd name="connsiteX1" fmla="*/ 9943 w 10103"/>
              <a:gd name="connsiteY1" fmla="*/ 3293 h 10000"/>
              <a:gd name="connsiteX2" fmla="*/ 5000 w 10103"/>
              <a:gd name="connsiteY2" fmla="*/ 1 h 10000"/>
              <a:gd name="connsiteX3" fmla="*/ 103 w 10103"/>
              <a:gd name="connsiteY3" fmla="*/ 3078 h 10000"/>
              <a:gd name="connsiteX4" fmla="*/ 2502 w 10103"/>
              <a:gd name="connsiteY4" fmla="*/ 5730 h 10000"/>
              <a:gd name="connsiteX5" fmla="*/ 2502 w 10103"/>
              <a:gd name="connsiteY5" fmla="*/ 7191 h 10000"/>
              <a:gd name="connsiteX6" fmla="*/ 7500 w 10103"/>
              <a:gd name="connsiteY6" fmla="*/ 7191 h 10000"/>
              <a:gd name="connsiteX7" fmla="*/ 7500 w 10103"/>
              <a:gd name="connsiteY7" fmla="*/ 8820 h 10000"/>
              <a:gd name="connsiteX8" fmla="*/ 7405 w 10103"/>
              <a:gd name="connsiteY8" fmla="*/ 9045 h 10000"/>
              <a:gd name="connsiteX9" fmla="*/ 7308 w 10103"/>
              <a:gd name="connsiteY9" fmla="*/ 9157 h 10000"/>
              <a:gd name="connsiteX10" fmla="*/ 6924 w 10103"/>
              <a:gd name="connsiteY10" fmla="*/ 9382 h 10000"/>
              <a:gd name="connsiteX11" fmla="*/ 6443 w 10103"/>
              <a:gd name="connsiteY11" fmla="*/ 9494 h 10000"/>
              <a:gd name="connsiteX12" fmla="*/ 6347 w 10103"/>
              <a:gd name="connsiteY12" fmla="*/ 9719 h 10000"/>
              <a:gd name="connsiteX13" fmla="*/ 5962 w 10103"/>
              <a:gd name="connsiteY13" fmla="*/ 9831 h 10000"/>
              <a:gd name="connsiteX14" fmla="*/ 5673 w 10103"/>
              <a:gd name="connsiteY14" fmla="*/ 10000 h 10000"/>
              <a:gd name="connsiteX15" fmla="*/ 5000 w 10103"/>
              <a:gd name="connsiteY15" fmla="*/ 10000 h 10000"/>
              <a:gd name="connsiteX16" fmla="*/ 4425 w 10103"/>
              <a:gd name="connsiteY16" fmla="*/ 10000 h 10000"/>
              <a:gd name="connsiteX17" fmla="*/ 3943 w 10103"/>
              <a:gd name="connsiteY17" fmla="*/ 9831 h 10000"/>
              <a:gd name="connsiteX18" fmla="*/ 3656 w 10103"/>
              <a:gd name="connsiteY18" fmla="*/ 9719 h 10000"/>
              <a:gd name="connsiteX19" fmla="*/ 3559 w 10103"/>
              <a:gd name="connsiteY19" fmla="*/ 9494 h 10000"/>
              <a:gd name="connsiteX20" fmla="*/ 3174 w 10103"/>
              <a:gd name="connsiteY20" fmla="*/ 9382 h 10000"/>
              <a:gd name="connsiteX21" fmla="*/ 2790 w 10103"/>
              <a:gd name="connsiteY21" fmla="*/ 9157 h 10000"/>
              <a:gd name="connsiteX22" fmla="*/ 2598 w 10103"/>
              <a:gd name="connsiteY22" fmla="*/ 9045 h 10000"/>
              <a:gd name="connsiteX23" fmla="*/ 2502 w 10103"/>
              <a:gd name="connsiteY23" fmla="*/ 8820 h 10000"/>
              <a:gd name="connsiteX24" fmla="*/ 2502 w 10103"/>
              <a:gd name="connsiteY24" fmla="*/ 8202 h 10000"/>
              <a:gd name="connsiteX0" fmla="*/ 7407 w 10010"/>
              <a:gd name="connsiteY0" fmla="*/ 5730 h 10000"/>
              <a:gd name="connsiteX1" fmla="*/ 9850 w 10010"/>
              <a:gd name="connsiteY1" fmla="*/ 3293 h 10000"/>
              <a:gd name="connsiteX2" fmla="*/ 4907 w 10010"/>
              <a:gd name="connsiteY2" fmla="*/ 1 h 10000"/>
              <a:gd name="connsiteX3" fmla="*/ 10 w 10010"/>
              <a:gd name="connsiteY3" fmla="*/ 3078 h 10000"/>
              <a:gd name="connsiteX4" fmla="*/ 2409 w 10010"/>
              <a:gd name="connsiteY4" fmla="*/ 5730 h 10000"/>
              <a:gd name="connsiteX5" fmla="*/ 2409 w 10010"/>
              <a:gd name="connsiteY5" fmla="*/ 7191 h 10000"/>
              <a:gd name="connsiteX6" fmla="*/ 7407 w 10010"/>
              <a:gd name="connsiteY6" fmla="*/ 7191 h 10000"/>
              <a:gd name="connsiteX7" fmla="*/ 7407 w 10010"/>
              <a:gd name="connsiteY7" fmla="*/ 8820 h 10000"/>
              <a:gd name="connsiteX8" fmla="*/ 7312 w 10010"/>
              <a:gd name="connsiteY8" fmla="*/ 9045 h 10000"/>
              <a:gd name="connsiteX9" fmla="*/ 7215 w 10010"/>
              <a:gd name="connsiteY9" fmla="*/ 9157 h 10000"/>
              <a:gd name="connsiteX10" fmla="*/ 6831 w 10010"/>
              <a:gd name="connsiteY10" fmla="*/ 9382 h 10000"/>
              <a:gd name="connsiteX11" fmla="*/ 6350 w 10010"/>
              <a:gd name="connsiteY11" fmla="*/ 9494 h 10000"/>
              <a:gd name="connsiteX12" fmla="*/ 6254 w 10010"/>
              <a:gd name="connsiteY12" fmla="*/ 9719 h 10000"/>
              <a:gd name="connsiteX13" fmla="*/ 5869 w 10010"/>
              <a:gd name="connsiteY13" fmla="*/ 9831 h 10000"/>
              <a:gd name="connsiteX14" fmla="*/ 5580 w 10010"/>
              <a:gd name="connsiteY14" fmla="*/ 10000 h 10000"/>
              <a:gd name="connsiteX15" fmla="*/ 4907 w 10010"/>
              <a:gd name="connsiteY15" fmla="*/ 10000 h 10000"/>
              <a:gd name="connsiteX16" fmla="*/ 4332 w 10010"/>
              <a:gd name="connsiteY16" fmla="*/ 10000 h 10000"/>
              <a:gd name="connsiteX17" fmla="*/ 3850 w 10010"/>
              <a:gd name="connsiteY17" fmla="*/ 9831 h 10000"/>
              <a:gd name="connsiteX18" fmla="*/ 3563 w 10010"/>
              <a:gd name="connsiteY18" fmla="*/ 9719 h 10000"/>
              <a:gd name="connsiteX19" fmla="*/ 3466 w 10010"/>
              <a:gd name="connsiteY19" fmla="*/ 9494 h 10000"/>
              <a:gd name="connsiteX20" fmla="*/ 3081 w 10010"/>
              <a:gd name="connsiteY20" fmla="*/ 9382 h 10000"/>
              <a:gd name="connsiteX21" fmla="*/ 2697 w 10010"/>
              <a:gd name="connsiteY21" fmla="*/ 9157 h 10000"/>
              <a:gd name="connsiteX22" fmla="*/ 2505 w 10010"/>
              <a:gd name="connsiteY22" fmla="*/ 9045 h 10000"/>
              <a:gd name="connsiteX23" fmla="*/ 2409 w 10010"/>
              <a:gd name="connsiteY23" fmla="*/ 8820 h 10000"/>
              <a:gd name="connsiteX24" fmla="*/ 2409 w 10010"/>
              <a:gd name="connsiteY24" fmla="*/ 8202 h 10000"/>
              <a:gd name="connsiteX0" fmla="*/ 7698 w 10303"/>
              <a:gd name="connsiteY0" fmla="*/ 5735 h 10005"/>
              <a:gd name="connsiteX1" fmla="*/ 10141 w 10303"/>
              <a:gd name="connsiteY1" fmla="*/ 3298 h 10005"/>
              <a:gd name="connsiteX2" fmla="*/ 5198 w 10303"/>
              <a:gd name="connsiteY2" fmla="*/ 6 h 10005"/>
              <a:gd name="connsiteX3" fmla="*/ 8 w 10303"/>
              <a:gd name="connsiteY3" fmla="*/ 2619 h 10005"/>
              <a:gd name="connsiteX4" fmla="*/ 2700 w 10303"/>
              <a:gd name="connsiteY4" fmla="*/ 5735 h 10005"/>
              <a:gd name="connsiteX5" fmla="*/ 2700 w 10303"/>
              <a:gd name="connsiteY5" fmla="*/ 7196 h 10005"/>
              <a:gd name="connsiteX6" fmla="*/ 7698 w 10303"/>
              <a:gd name="connsiteY6" fmla="*/ 7196 h 10005"/>
              <a:gd name="connsiteX7" fmla="*/ 7698 w 10303"/>
              <a:gd name="connsiteY7" fmla="*/ 8825 h 10005"/>
              <a:gd name="connsiteX8" fmla="*/ 7603 w 10303"/>
              <a:gd name="connsiteY8" fmla="*/ 9050 h 10005"/>
              <a:gd name="connsiteX9" fmla="*/ 7506 w 10303"/>
              <a:gd name="connsiteY9" fmla="*/ 9162 h 10005"/>
              <a:gd name="connsiteX10" fmla="*/ 7122 w 10303"/>
              <a:gd name="connsiteY10" fmla="*/ 9387 h 10005"/>
              <a:gd name="connsiteX11" fmla="*/ 6641 w 10303"/>
              <a:gd name="connsiteY11" fmla="*/ 9499 h 10005"/>
              <a:gd name="connsiteX12" fmla="*/ 6545 w 10303"/>
              <a:gd name="connsiteY12" fmla="*/ 9724 h 10005"/>
              <a:gd name="connsiteX13" fmla="*/ 6160 w 10303"/>
              <a:gd name="connsiteY13" fmla="*/ 9836 h 10005"/>
              <a:gd name="connsiteX14" fmla="*/ 5871 w 10303"/>
              <a:gd name="connsiteY14" fmla="*/ 10005 h 10005"/>
              <a:gd name="connsiteX15" fmla="*/ 5198 w 10303"/>
              <a:gd name="connsiteY15" fmla="*/ 10005 h 10005"/>
              <a:gd name="connsiteX16" fmla="*/ 4623 w 10303"/>
              <a:gd name="connsiteY16" fmla="*/ 10005 h 10005"/>
              <a:gd name="connsiteX17" fmla="*/ 4141 w 10303"/>
              <a:gd name="connsiteY17" fmla="*/ 9836 h 10005"/>
              <a:gd name="connsiteX18" fmla="*/ 3854 w 10303"/>
              <a:gd name="connsiteY18" fmla="*/ 9724 h 10005"/>
              <a:gd name="connsiteX19" fmla="*/ 3757 w 10303"/>
              <a:gd name="connsiteY19" fmla="*/ 9499 h 10005"/>
              <a:gd name="connsiteX20" fmla="*/ 3372 w 10303"/>
              <a:gd name="connsiteY20" fmla="*/ 9387 h 10005"/>
              <a:gd name="connsiteX21" fmla="*/ 2988 w 10303"/>
              <a:gd name="connsiteY21" fmla="*/ 9162 h 10005"/>
              <a:gd name="connsiteX22" fmla="*/ 2796 w 10303"/>
              <a:gd name="connsiteY22" fmla="*/ 9050 h 10005"/>
              <a:gd name="connsiteX23" fmla="*/ 2700 w 10303"/>
              <a:gd name="connsiteY23" fmla="*/ 8825 h 10005"/>
              <a:gd name="connsiteX24" fmla="*/ 2700 w 10303"/>
              <a:gd name="connsiteY24" fmla="*/ 8207 h 10005"/>
              <a:gd name="connsiteX0" fmla="*/ 7693 w 10298"/>
              <a:gd name="connsiteY0" fmla="*/ 5735 h 10005"/>
              <a:gd name="connsiteX1" fmla="*/ 10136 w 10298"/>
              <a:gd name="connsiteY1" fmla="*/ 3298 h 10005"/>
              <a:gd name="connsiteX2" fmla="*/ 5193 w 10298"/>
              <a:gd name="connsiteY2" fmla="*/ 6 h 10005"/>
              <a:gd name="connsiteX3" fmla="*/ 3 w 10298"/>
              <a:gd name="connsiteY3" fmla="*/ 2619 h 10005"/>
              <a:gd name="connsiteX4" fmla="*/ 2695 w 10298"/>
              <a:gd name="connsiteY4" fmla="*/ 5735 h 10005"/>
              <a:gd name="connsiteX5" fmla="*/ 2695 w 10298"/>
              <a:gd name="connsiteY5" fmla="*/ 7196 h 10005"/>
              <a:gd name="connsiteX6" fmla="*/ 7693 w 10298"/>
              <a:gd name="connsiteY6" fmla="*/ 7196 h 10005"/>
              <a:gd name="connsiteX7" fmla="*/ 7693 w 10298"/>
              <a:gd name="connsiteY7" fmla="*/ 8825 h 10005"/>
              <a:gd name="connsiteX8" fmla="*/ 7598 w 10298"/>
              <a:gd name="connsiteY8" fmla="*/ 9050 h 10005"/>
              <a:gd name="connsiteX9" fmla="*/ 7501 w 10298"/>
              <a:gd name="connsiteY9" fmla="*/ 9162 h 10005"/>
              <a:gd name="connsiteX10" fmla="*/ 7117 w 10298"/>
              <a:gd name="connsiteY10" fmla="*/ 9387 h 10005"/>
              <a:gd name="connsiteX11" fmla="*/ 6636 w 10298"/>
              <a:gd name="connsiteY11" fmla="*/ 9499 h 10005"/>
              <a:gd name="connsiteX12" fmla="*/ 6540 w 10298"/>
              <a:gd name="connsiteY12" fmla="*/ 9724 h 10005"/>
              <a:gd name="connsiteX13" fmla="*/ 6155 w 10298"/>
              <a:gd name="connsiteY13" fmla="*/ 9836 h 10005"/>
              <a:gd name="connsiteX14" fmla="*/ 5866 w 10298"/>
              <a:gd name="connsiteY14" fmla="*/ 10005 h 10005"/>
              <a:gd name="connsiteX15" fmla="*/ 5193 w 10298"/>
              <a:gd name="connsiteY15" fmla="*/ 10005 h 10005"/>
              <a:gd name="connsiteX16" fmla="*/ 4618 w 10298"/>
              <a:gd name="connsiteY16" fmla="*/ 10005 h 10005"/>
              <a:gd name="connsiteX17" fmla="*/ 4136 w 10298"/>
              <a:gd name="connsiteY17" fmla="*/ 9836 h 10005"/>
              <a:gd name="connsiteX18" fmla="*/ 3849 w 10298"/>
              <a:gd name="connsiteY18" fmla="*/ 9724 h 10005"/>
              <a:gd name="connsiteX19" fmla="*/ 3752 w 10298"/>
              <a:gd name="connsiteY19" fmla="*/ 9499 h 10005"/>
              <a:gd name="connsiteX20" fmla="*/ 3367 w 10298"/>
              <a:gd name="connsiteY20" fmla="*/ 9387 h 10005"/>
              <a:gd name="connsiteX21" fmla="*/ 2983 w 10298"/>
              <a:gd name="connsiteY21" fmla="*/ 9162 h 10005"/>
              <a:gd name="connsiteX22" fmla="*/ 2791 w 10298"/>
              <a:gd name="connsiteY22" fmla="*/ 9050 h 10005"/>
              <a:gd name="connsiteX23" fmla="*/ 2695 w 10298"/>
              <a:gd name="connsiteY23" fmla="*/ 8825 h 10005"/>
              <a:gd name="connsiteX24" fmla="*/ 2695 w 10298"/>
              <a:gd name="connsiteY24" fmla="*/ 8207 h 10005"/>
              <a:gd name="connsiteX0" fmla="*/ 7205 w 9807"/>
              <a:gd name="connsiteY0" fmla="*/ 5735 h 10005"/>
              <a:gd name="connsiteX1" fmla="*/ 9648 w 9807"/>
              <a:gd name="connsiteY1" fmla="*/ 3298 h 10005"/>
              <a:gd name="connsiteX2" fmla="*/ 4705 w 9807"/>
              <a:gd name="connsiteY2" fmla="*/ 6 h 10005"/>
              <a:gd name="connsiteX3" fmla="*/ 4 w 9807"/>
              <a:gd name="connsiteY3" fmla="*/ 2619 h 10005"/>
              <a:gd name="connsiteX4" fmla="*/ 2207 w 9807"/>
              <a:gd name="connsiteY4" fmla="*/ 5735 h 10005"/>
              <a:gd name="connsiteX5" fmla="*/ 2207 w 9807"/>
              <a:gd name="connsiteY5" fmla="*/ 7196 h 10005"/>
              <a:gd name="connsiteX6" fmla="*/ 7205 w 9807"/>
              <a:gd name="connsiteY6" fmla="*/ 7196 h 10005"/>
              <a:gd name="connsiteX7" fmla="*/ 7205 w 9807"/>
              <a:gd name="connsiteY7" fmla="*/ 8825 h 10005"/>
              <a:gd name="connsiteX8" fmla="*/ 7110 w 9807"/>
              <a:gd name="connsiteY8" fmla="*/ 9050 h 10005"/>
              <a:gd name="connsiteX9" fmla="*/ 7013 w 9807"/>
              <a:gd name="connsiteY9" fmla="*/ 9162 h 10005"/>
              <a:gd name="connsiteX10" fmla="*/ 6629 w 9807"/>
              <a:gd name="connsiteY10" fmla="*/ 9387 h 10005"/>
              <a:gd name="connsiteX11" fmla="*/ 6148 w 9807"/>
              <a:gd name="connsiteY11" fmla="*/ 9499 h 10005"/>
              <a:gd name="connsiteX12" fmla="*/ 6052 w 9807"/>
              <a:gd name="connsiteY12" fmla="*/ 9724 h 10005"/>
              <a:gd name="connsiteX13" fmla="*/ 5667 w 9807"/>
              <a:gd name="connsiteY13" fmla="*/ 9836 h 10005"/>
              <a:gd name="connsiteX14" fmla="*/ 5378 w 9807"/>
              <a:gd name="connsiteY14" fmla="*/ 10005 h 10005"/>
              <a:gd name="connsiteX15" fmla="*/ 4705 w 9807"/>
              <a:gd name="connsiteY15" fmla="*/ 10005 h 10005"/>
              <a:gd name="connsiteX16" fmla="*/ 4130 w 9807"/>
              <a:gd name="connsiteY16" fmla="*/ 10005 h 10005"/>
              <a:gd name="connsiteX17" fmla="*/ 3648 w 9807"/>
              <a:gd name="connsiteY17" fmla="*/ 9836 h 10005"/>
              <a:gd name="connsiteX18" fmla="*/ 3361 w 9807"/>
              <a:gd name="connsiteY18" fmla="*/ 9724 h 10005"/>
              <a:gd name="connsiteX19" fmla="*/ 3264 w 9807"/>
              <a:gd name="connsiteY19" fmla="*/ 9499 h 10005"/>
              <a:gd name="connsiteX20" fmla="*/ 2879 w 9807"/>
              <a:gd name="connsiteY20" fmla="*/ 9387 h 10005"/>
              <a:gd name="connsiteX21" fmla="*/ 2495 w 9807"/>
              <a:gd name="connsiteY21" fmla="*/ 9162 h 10005"/>
              <a:gd name="connsiteX22" fmla="*/ 2303 w 9807"/>
              <a:gd name="connsiteY22" fmla="*/ 9050 h 10005"/>
              <a:gd name="connsiteX23" fmla="*/ 2207 w 9807"/>
              <a:gd name="connsiteY23" fmla="*/ 8825 h 10005"/>
              <a:gd name="connsiteX24" fmla="*/ 2207 w 9807"/>
              <a:gd name="connsiteY24" fmla="*/ 8207 h 10005"/>
              <a:gd name="connsiteX0" fmla="*/ 7347 w 10000"/>
              <a:gd name="connsiteY0" fmla="*/ 5734 h 10002"/>
              <a:gd name="connsiteX1" fmla="*/ 9838 w 10000"/>
              <a:gd name="connsiteY1" fmla="*/ 3298 h 10002"/>
              <a:gd name="connsiteX2" fmla="*/ 4798 w 10000"/>
              <a:gd name="connsiteY2" fmla="*/ 8 h 10002"/>
              <a:gd name="connsiteX3" fmla="*/ 4 w 10000"/>
              <a:gd name="connsiteY3" fmla="*/ 2620 h 10002"/>
              <a:gd name="connsiteX4" fmla="*/ 2250 w 10000"/>
              <a:gd name="connsiteY4" fmla="*/ 5734 h 10002"/>
              <a:gd name="connsiteX5" fmla="*/ 2250 w 10000"/>
              <a:gd name="connsiteY5" fmla="*/ 7194 h 10002"/>
              <a:gd name="connsiteX6" fmla="*/ 7347 w 10000"/>
              <a:gd name="connsiteY6" fmla="*/ 7194 h 10002"/>
              <a:gd name="connsiteX7" fmla="*/ 7347 w 10000"/>
              <a:gd name="connsiteY7" fmla="*/ 8823 h 10002"/>
              <a:gd name="connsiteX8" fmla="*/ 7250 w 10000"/>
              <a:gd name="connsiteY8" fmla="*/ 9047 h 10002"/>
              <a:gd name="connsiteX9" fmla="*/ 7151 w 10000"/>
              <a:gd name="connsiteY9" fmla="*/ 9159 h 10002"/>
              <a:gd name="connsiteX10" fmla="*/ 6759 w 10000"/>
              <a:gd name="connsiteY10" fmla="*/ 9384 h 10002"/>
              <a:gd name="connsiteX11" fmla="*/ 6269 w 10000"/>
              <a:gd name="connsiteY11" fmla="*/ 9496 h 10002"/>
              <a:gd name="connsiteX12" fmla="*/ 6171 w 10000"/>
              <a:gd name="connsiteY12" fmla="*/ 9721 h 10002"/>
              <a:gd name="connsiteX13" fmla="*/ 5779 w 10000"/>
              <a:gd name="connsiteY13" fmla="*/ 9833 h 10002"/>
              <a:gd name="connsiteX14" fmla="*/ 5484 w 10000"/>
              <a:gd name="connsiteY14" fmla="*/ 10002 h 10002"/>
              <a:gd name="connsiteX15" fmla="*/ 4798 w 10000"/>
              <a:gd name="connsiteY15" fmla="*/ 10002 h 10002"/>
              <a:gd name="connsiteX16" fmla="*/ 4211 w 10000"/>
              <a:gd name="connsiteY16" fmla="*/ 10002 h 10002"/>
              <a:gd name="connsiteX17" fmla="*/ 3720 w 10000"/>
              <a:gd name="connsiteY17" fmla="*/ 9833 h 10002"/>
              <a:gd name="connsiteX18" fmla="*/ 3427 w 10000"/>
              <a:gd name="connsiteY18" fmla="*/ 9721 h 10002"/>
              <a:gd name="connsiteX19" fmla="*/ 3328 w 10000"/>
              <a:gd name="connsiteY19" fmla="*/ 9496 h 10002"/>
              <a:gd name="connsiteX20" fmla="*/ 2936 w 10000"/>
              <a:gd name="connsiteY20" fmla="*/ 9384 h 10002"/>
              <a:gd name="connsiteX21" fmla="*/ 2544 w 10000"/>
              <a:gd name="connsiteY21" fmla="*/ 9159 h 10002"/>
              <a:gd name="connsiteX22" fmla="*/ 2348 w 10000"/>
              <a:gd name="connsiteY22" fmla="*/ 9047 h 10002"/>
              <a:gd name="connsiteX23" fmla="*/ 2250 w 10000"/>
              <a:gd name="connsiteY23" fmla="*/ 8823 h 10002"/>
              <a:gd name="connsiteX24" fmla="*/ 2250 w 10000"/>
              <a:gd name="connsiteY24" fmla="*/ 8205 h 10002"/>
              <a:gd name="connsiteX0" fmla="*/ 7347 w 9807"/>
              <a:gd name="connsiteY0" fmla="*/ 5727 h 9995"/>
              <a:gd name="connsiteX1" fmla="*/ 9639 w 9807"/>
              <a:gd name="connsiteY1" fmla="*/ 2827 h 9995"/>
              <a:gd name="connsiteX2" fmla="*/ 4798 w 9807"/>
              <a:gd name="connsiteY2" fmla="*/ 1 h 9995"/>
              <a:gd name="connsiteX3" fmla="*/ 4 w 9807"/>
              <a:gd name="connsiteY3" fmla="*/ 2613 h 9995"/>
              <a:gd name="connsiteX4" fmla="*/ 2250 w 9807"/>
              <a:gd name="connsiteY4" fmla="*/ 5727 h 9995"/>
              <a:gd name="connsiteX5" fmla="*/ 2250 w 9807"/>
              <a:gd name="connsiteY5" fmla="*/ 7187 h 9995"/>
              <a:gd name="connsiteX6" fmla="*/ 7347 w 9807"/>
              <a:gd name="connsiteY6" fmla="*/ 7187 h 9995"/>
              <a:gd name="connsiteX7" fmla="*/ 7347 w 9807"/>
              <a:gd name="connsiteY7" fmla="*/ 8816 h 9995"/>
              <a:gd name="connsiteX8" fmla="*/ 7250 w 9807"/>
              <a:gd name="connsiteY8" fmla="*/ 9040 h 9995"/>
              <a:gd name="connsiteX9" fmla="*/ 7151 w 9807"/>
              <a:gd name="connsiteY9" fmla="*/ 9152 h 9995"/>
              <a:gd name="connsiteX10" fmla="*/ 6759 w 9807"/>
              <a:gd name="connsiteY10" fmla="*/ 9377 h 9995"/>
              <a:gd name="connsiteX11" fmla="*/ 6269 w 9807"/>
              <a:gd name="connsiteY11" fmla="*/ 9489 h 9995"/>
              <a:gd name="connsiteX12" fmla="*/ 6171 w 9807"/>
              <a:gd name="connsiteY12" fmla="*/ 9714 h 9995"/>
              <a:gd name="connsiteX13" fmla="*/ 5779 w 9807"/>
              <a:gd name="connsiteY13" fmla="*/ 9826 h 9995"/>
              <a:gd name="connsiteX14" fmla="*/ 5484 w 9807"/>
              <a:gd name="connsiteY14" fmla="*/ 9995 h 9995"/>
              <a:gd name="connsiteX15" fmla="*/ 4798 w 9807"/>
              <a:gd name="connsiteY15" fmla="*/ 9995 h 9995"/>
              <a:gd name="connsiteX16" fmla="*/ 4211 w 9807"/>
              <a:gd name="connsiteY16" fmla="*/ 9995 h 9995"/>
              <a:gd name="connsiteX17" fmla="*/ 3720 w 9807"/>
              <a:gd name="connsiteY17" fmla="*/ 9826 h 9995"/>
              <a:gd name="connsiteX18" fmla="*/ 3427 w 9807"/>
              <a:gd name="connsiteY18" fmla="*/ 9714 h 9995"/>
              <a:gd name="connsiteX19" fmla="*/ 3328 w 9807"/>
              <a:gd name="connsiteY19" fmla="*/ 9489 h 9995"/>
              <a:gd name="connsiteX20" fmla="*/ 2936 w 9807"/>
              <a:gd name="connsiteY20" fmla="*/ 9377 h 9995"/>
              <a:gd name="connsiteX21" fmla="*/ 2544 w 9807"/>
              <a:gd name="connsiteY21" fmla="*/ 9152 h 9995"/>
              <a:gd name="connsiteX22" fmla="*/ 2348 w 9807"/>
              <a:gd name="connsiteY22" fmla="*/ 9040 h 9995"/>
              <a:gd name="connsiteX23" fmla="*/ 2250 w 9807"/>
              <a:gd name="connsiteY23" fmla="*/ 8816 h 9995"/>
              <a:gd name="connsiteX24" fmla="*/ 2250 w 9807"/>
              <a:gd name="connsiteY24" fmla="*/ 8198 h 9995"/>
              <a:gd name="connsiteX0" fmla="*/ 7492 w 9835"/>
              <a:gd name="connsiteY0" fmla="*/ 5730 h 10000"/>
              <a:gd name="connsiteX1" fmla="*/ 9829 w 9835"/>
              <a:gd name="connsiteY1" fmla="*/ 2828 h 10000"/>
              <a:gd name="connsiteX2" fmla="*/ 4892 w 9835"/>
              <a:gd name="connsiteY2" fmla="*/ 1 h 10000"/>
              <a:gd name="connsiteX3" fmla="*/ 4 w 9835"/>
              <a:gd name="connsiteY3" fmla="*/ 2614 h 10000"/>
              <a:gd name="connsiteX4" fmla="*/ 2294 w 9835"/>
              <a:gd name="connsiteY4" fmla="*/ 5730 h 10000"/>
              <a:gd name="connsiteX5" fmla="*/ 2294 w 9835"/>
              <a:gd name="connsiteY5" fmla="*/ 7191 h 10000"/>
              <a:gd name="connsiteX6" fmla="*/ 7492 w 9835"/>
              <a:gd name="connsiteY6" fmla="*/ 7191 h 10000"/>
              <a:gd name="connsiteX7" fmla="*/ 7492 w 9835"/>
              <a:gd name="connsiteY7" fmla="*/ 8820 h 10000"/>
              <a:gd name="connsiteX8" fmla="*/ 7393 w 9835"/>
              <a:gd name="connsiteY8" fmla="*/ 9045 h 10000"/>
              <a:gd name="connsiteX9" fmla="*/ 7292 w 9835"/>
              <a:gd name="connsiteY9" fmla="*/ 9157 h 10000"/>
              <a:gd name="connsiteX10" fmla="*/ 6892 w 9835"/>
              <a:gd name="connsiteY10" fmla="*/ 9382 h 10000"/>
              <a:gd name="connsiteX11" fmla="*/ 6392 w 9835"/>
              <a:gd name="connsiteY11" fmla="*/ 9494 h 10000"/>
              <a:gd name="connsiteX12" fmla="*/ 6292 w 9835"/>
              <a:gd name="connsiteY12" fmla="*/ 9719 h 10000"/>
              <a:gd name="connsiteX13" fmla="*/ 5893 w 9835"/>
              <a:gd name="connsiteY13" fmla="*/ 9831 h 10000"/>
              <a:gd name="connsiteX14" fmla="*/ 5592 w 9835"/>
              <a:gd name="connsiteY14" fmla="*/ 10000 h 10000"/>
              <a:gd name="connsiteX15" fmla="*/ 4892 w 9835"/>
              <a:gd name="connsiteY15" fmla="*/ 10000 h 10000"/>
              <a:gd name="connsiteX16" fmla="*/ 4294 w 9835"/>
              <a:gd name="connsiteY16" fmla="*/ 10000 h 10000"/>
              <a:gd name="connsiteX17" fmla="*/ 3793 w 9835"/>
              <a:gd name="connsiteY17" fmla="*/ 9831 h 10000"/>
              <a:gd name="connsiteX18" fmla="*/ 3494 w 9835"/>
              <a:gd name="connsiteY18" fmla="*/ 9719 h 10000"/>
              <a:gd name="connsiteX19" fmla="*/ 3393 w 9835"/>
              <a:gd name="connsiteY19" fmla="*/ 9494 h 10000"/>
              <a:gd name="connsiteX20" fmla="*/ 2994 w 9835"/>
              <a:gd name="connsiteY20" fmla="*/ 9382 h 10000"/>
              <a:gd name="connsiteX21" fmla="*/ 2594 w 9835"/>
              <a:gd name="connsiteY21" fmla="*/ 9157 h 10000"/>
              <a:gd name="connsiteX22" fmla="*/ 2394 w 9835"/>
              <a:gd name="connsiteY22" fmla="*/ 9045 h 10000"/>
              <a:gd name="connsiteX23" fmla="*/ 2294 w 9835"/>
              <a:gd name="connsiteY23" fmla="*/ 8820 h 10000"/>
              <a:gd name="connsiteX24" fmla="*/ 2294 w 9835"/>
              <a:gd name="connsiteY24" fmla="*/ 8202 h 10000"/>
              <a:gd name="connsiteX0" fmla="*/ 7618 w 10000"/>
              <a:gd name="connsiteY0" fmla="*/ 5730 h 10000"/>
              <a:gd name="connsiteX1" fmla="*/ 9994 w 10000"/>
              <a:gd name="connsiteY1" fmla="*/ 2828 h 10000"/>
              <a:gd name="connsiteX2" fmla="*/ 4974 w 10000"/>
              <a:gd name="connsiteY2" fmla="*/ 1 h 10000"/>
              <a:gd name="connsiteX3" fmla="*/ 4 w 10000"/>
              <a:gd name="connsiteY3" fmla="*/ 2614 h 10000"/>
              <a:gd name="connsiteX4" fmla="*/ 2332 w 10000"/>
              <a:gd name="connsiteY4" fmla="*/ 5730 h 10000"/>
              <a:gd name="connsiteX5" fmla="*/ 2332 w 10000"/>
              <a:gd name="connsiteY5" fmla="*/ 7191 h 10000"/>
              <a:gd name="connsiteX6" fmla="*/ 7618 w 10000"/>
              <a:gd name="connsiteY6" fmla="*/ 7191 h 10000"/>
              <a:gd name="connsiteX7" fmla="*/ 7618 w 10000"/>
              <a:gd name="connsiteY7" fmla="*/ 8820 h 10000"/>
              <a:gd name="connsiteX8" fmla="*/ 7517 w 10000"/>
              <a:gd name="connsiteY8" fmla="*/ 9045 h 10000"/>
              <a:gd name="connsiteX9" fmla="*/ 7414 w 10000"/>
              <a:gd name="connsiteY9" fmla="*/ 9157 h 10000"/>
              <a:gd name="connsiteX10" fmla="*/ 7008 w 10000"/>
              <a:gd name="connsiteY10" fmla="*/ 9382 h 10000"/>
              <a:gd name="connsiteX11" fmla="*/ 6499 w 10000"/>
              <a:gd name="connsiteY11" fmla="*/ 9494 h 10000"/>
              <a:gd name="connsiteX12" fmla="*/ 6398 w 10000"/>
              <a:gd name="connsiteY12" fmla="*/ 9719 h 10000"/>
              <a:gd name="connsiteX13" fmla="*/ 5992 w 10000"/>
              <a:gd name="connsiteY13" fmla="*/ 9831 h 10000"/>
              <a:gd name="connsiteX14" fmla="*/ 5686 w 10000"/>
              <a:gd name="connsiteY14" fmla="*/ 10000 h 10000"/>
              <a:gd name="connsiteX15" fmla="*/ 4974 w 10000"/>
              <a:gd name="connsiteY15" fmla="*/ 10000 h 10000"/>
              <a:gd name="connsiteX16" fmla="*/ 4366 w 10000"/>
              <a:gd name="connsiteY16" fmla="*/ 10000 h 10000"/>
              <a:gd name="connsiteX17" fmla="*/ 3857 w 10000"/>
              <a:gd name="connsiteY17" fmla="*/ 9831 h 10000"/>
              <a:gd name="connsiteX18" fmla="*/ 3553 w 10000"/>
              <a:gd name="connsiteY18" fmla="*/ 9719 h 10000"/>
              <a:gd name="connsiteX19" fmla="*/ 3450 w 10000"/>
              <a:gd name="connsiteY19" fmla="*/ 9494 h 10000"/>
              <a:gd name="connsiteX20" fmla="*/ 3044 w 10000"/>
              <a:gd name="connsiteY20" fmla="*/ 9382 h 10000"/>
              <a:gd name="connsiteX21" fmla="*/ 2638 w 10000"/>
              <a:gd name="connsiteY21" fmla="*/ 9157 h 10000"/>
              <a:gd name="connsiteX22" fmla="*/ 2434 w 10000"/>
              <a:gd name="connsiteY22" fmla="*/ 9045 h 10000"/>
              <a:gd name="connsiteX23" fmla="*/ 2332 w 10000"/>
              <a:gd name="connsiteY23" fmla="*/ 8820 h 10000"/>
              <a:gd name="connsiteX24" fmla="*/ 2332 w 10000"/>
              <a:gd name="connsiteY24" fmla="*/ 8202 h 10000"/>
              <a:gd name="connsiteX0" fmla="*/ 7678 w 10060"/>
              <a:gd name="connsiteY0" fmla="*/ 5730 h 10000"/>
              <a:gd name="connsiteX1" fmla="*/ 10054 w 10060"/>
              <a:gd name="connsiteY1" fmla="*/ 2828 h 10000"/>
              <a:gd name="connsiteX2" fmla="*/ 5034 w 10060"/>
              <a:gd name="connsiteY2" fmla="*/ 1 h 10000"/>
              <a:gd name="connsiteX3" fmla="*/ 64 w 10060"/>
              <a:gd name="connsiteY3" fmla="*/ 2614 h 10000"/>
              <a:gd name="connsiteX4" fmla="*/ 2392 w 10060"/>
              <a:gd name="connsiteY4" fmla="*/ 5730 h 10000"/>
              <a:gd name="connsiteX5" fmla="*/ 2392 w 10060"/>
              <a:gd name="connsiteY5" fmla="*/ 7191 h 10000"/>
              <a:gd name="connsiteX6" fmla="*/ 7678 w 10060"/>
              <a:gd name="connsiteY6" fmla="*/ 7191 h 10000"/>
              <a:gd name="connsiteX7" fmla="*/ 7678 w 10060"/>
              <a:gd name="connsiteY7" fmla="*/ 8820 h 10000"/>
              <a:gd name="connsiteX8" fmla="*/ 7577 w 10060"/>
              <a:gd name="connsiteY8" fmla="*/ 9045 h 10000"/>
              <a:gd name="connsiteX9" fmla="*/ 7474 w 10060"/>
              <a:gd name="connsiteY9" fmla="*/ 9157 h 10000"/>
              <a:gd name="connsiteX10" fmla="*/ 7068 w 10060"/>
              <a:gd name="connsiteY10" fmla="*/ 9382 h 10000"/>
              <a:gd name="connsiteX11" fmla="*/ 6559 w 10060"/>
              <a:gd name="connsiteY11" fmla="*/ 9494 h 10000"/>
              <a:gd name="connsiteX12" fmla="*/ 6458 w 10060"/>
              <a:gd name="connsiteY12" fmla="*/ 9719 h 10000"/>
              <a:gd name="connsiteX13" fmla="*/ 6052 w 10060"/>
              <a:gd name="connsiteY13" fmla="*/ 9831 h 10000"/>
              <a:gd name="connsiteX14" fmla="*/ 5746 w 10060"/>
              <a:gd name="connsiteY14" fmla="*/ 10000 h 10000"/>
              <a:gd name="connsiteX15" fmla="*/ 5034 w 10060"/>
              <a:gd name="connsiteY15" fmla="*/ 10000 h 10000"/>
              <a:gd name="connsiteX16" fmla="*/ 4426 w 10060"/>
              <a:gd name="connsiteY16" fmla="*/ 10000 h 10000"/>
              <a:gd name="connsiteX17" fmla="*/ 3917 w 10060"/>
              <a:gd name="connsiteY17" fmla="*/ 9831 h 10000"/>
              <a:gd name="connsiteX18" fmla="*/ 3613 w 10060"/>
              <a:gd name="connsiteY18" fmla="*/ 9719 h 10000"/>
              <a:gd name="connsiteX19" fmla="*/ 3510 w 10060"/>
              <a:gd name="connsiteY19" fmla="*/ 9494 h 10000"/>
              <a:gd name="connsiteX20" fmla="*/ 3104 w 10060"/>
              <a:gd name="connsiteY20" fmla="*/ 9382 h 10000"/>
              <a:gd name="connsiteX21" fmla="*/ 2698 w 10060"/>
              <a:gd name="connsiteY21" fmla="*/ 9157 h 10000"/>
              <a:gd name="connsiteX22" fmla="*/ 2494 w 10060"/>
              <a:gd name="connsiteY22" fmla="*/ 9045 h 10000"/>
              <a:gd name="connsiteX23" fmla="*/ 2392 w 10060"/>
              <a:gd name="connsiteY23" fmla="*/ 8820 h 10000"/>
              <a:gd name="connsiteX24" fmla="*/ 2392 w 10060"/>
              <a:gd name="connsiteY24" fmla="*/ 8202 h 10000"/>
              <a:gd name="connsiteX0" fmla="*/ 7662 w 10044"/>
              <a:gd name="connsiteY0" fmla="*/ 5730 h 10000"/>
              <a:gd name="connsiteX1" fmla="*/ 10038 w 10044"/>
              <a:gd name="connsiteY1" fmla="*/ 2828 h 10000"/>
              <a:gd name="connsiteX2" fmla="*/ 5018 w 10044"/>
              <a:gd name="connsiteY2" fmla="*/ 1 h 10000"/>
              <a:gd name="connsiteX3" fmla="*/ 48 w 10044"/>
              <a:gd name="connsiteY3" fmla="*/ 2614 h 10000"/>
              <a:gd name="connsiteX4" fmla="*/ 2376 w 10044"/>
              <a:gd name="connsiteY4" fmla="*/ 5730 h 10000"/>
              <a:gd name="connsiteX5" fmla="*/ 2376 w 10044"/>
              <a:gd name="connsiteY5" fmla="*/ 7191 h 10000"/>
              <a:gd name="connsiteX6" fmla="*/ 7662 w 10044"/>
              <a:gd name="connsiteY6" fmla="*/ 7191 h 10000"/>
              <a:gd name="connsiteX7" fmla="*/ 7662 w 10044"/>
              <a:gd name="connsiteY7" fmla="*/ 8820 h 10000"/>
              <a:gd name="connsiteX8" fmla="*/ 7561 w 10044"/>
              <a:gd name="connsiteY8" fmla="*/ 9045 h 10000"/>
              <a:gd name="connsiteX9" fmla="*/ 7458 w 10044"/>
              <a:gd name="connsiteY9" fmla="*/ 9157 h 10000"/>
              <a:gd name="connsiteX10" fmla="*/ 7052 w 10044"/>
              <a:gd name="connsiteY10" fmla="*/ 9382 h 10000"/>
              <a:gd name="connsiteX11" fmla="*/ 6543 w 10044"/>
              <a:gd name="connsiteY11" fmla="*/ 9494 h 10000"/>
              <a:gd name="connsiteX12" fmla="*/ 6442 w 10044"/>
              <a:gd name="connsiteY12" fmla="*/ 9719 h 10000"/>
              <a:gd name="connsiteX13" fmla="*/ 6036 w 10044"/>
              <a:gd name="connsiteY13" fmla="*/ 9831 h 10000"/>
              <a:gd name="connsiteX14" fmla="*/ 5730 w 10044"/>
              <a:gd name="connsiteY14" fmla="*/ 10000 h 10000"/>
              <a:gd name="connsiteX15" fmla="*/ 5018 w 10044"/>
              <a:gd name="connsiteY15" fmla="*/ 10000 h 10000"/>
              <a:gd name="connsiteX16" fmla="*/ 4410 w 10044"/>
              <a:gd name="connsiteY16" fmla="*/ 10000 h 10000"/>
              <a:gd name="connsiteX17" fmla="*/ 3901 w 10044"/>
              <a:gd name="connsiteY17" fmla="*/ 9831 h 10000"/>
              <a:gd name="connsiteX18" fmla="*/ 3597 w 10044"/>
              <a:gd name="connsiteY18" fmla="*/ 9719 h 10000"/>
              <a:gd name="connsiteX19" fmla="*/ 3494 w 10044"/>
              <a:gd name="connsiteY19" fmla="*/ 9494 h 10000"/>
              <a:gd name="connsiteX20" fmla="*/ 3088 w 10044"/>
              <a:gd name="connsiteY20" fmla="*/ 9382 h 10000"/>
              <a:gd name="connsiteX21" fmla="*/ 2682 w 10044"/>
              <a:gd name="connsiteY21" fmla="*/ 9157 h 10000"/>
              <a:gd name="connsiteX22" fmla="*/ 2478 w 10044"/>
              <a:gd name="connsiteY22" fmla="*/ 9045 h 10000"/>
              <a:gd name="connsiteX23" fmla="*/ 2376 w 10044"/>
              <a:gd name="connsiteY23" fmla="*/ 8820 h 10000"/>
              <a:gd name="connsiteX24" fmla="*/ 2376 w 10044"/>
              <a:gd name="connsiteY24" fmla="*/ 8202 h 10000"/>
              <a:gd name="connsiteX0" fmla="*/ 7617 w 9999"/>
              <a:gd name="connsiteY0" fmla="*/ 5730 h 10000"/>
              <a:gd name="connsiteX1" fmla="*/ 9993 w 9999"/>
              <a:gd name="connsiteY1" fmla="*/ 2828 h 10000"/>
              <a:gd name="connsiteX2" fmla="*/ 4973 w 9999"/>
              <a:gd name="connsiteY2" fmla="*/ 1 h 10000"/>
              <a:gd name="connsiteX3" fmla="*/ 3 w 9999"/>
              <a:gd name="connsiteY3" fmla="*/ 2614 h 10000"/>
              <a:gd name="connsiteX4" fmla="*/ 2331 w 9999"/>
              <a:gd name="connsiteY4" fmla="*/ 5730 h 10000"/>
              <a:gd name="connsiteX5" fmla="*/ 2331 w 9999"/>
              <a:gd name="connsiteY5" fmla="*/ 7191 h 10000"/>
              <a:gd name="connsiteX6" fmla="*/ 7617 w 9999"/>
              <a:gd name="connsiteY6" fmla="*/ 7191 h 10000"/>
              <a:gd name="connsiteX7" fmla="*/ 7617 w 9999"/>
              <a:gd name="connsiteY7" fmla="*/ 8820 h 10000"/>
              <a:gd name="connsiteX8" fmla="*/ 7516 w 9999"/>
              <a:gd name="connsiteY8" fmla="*/ 9045 h 10000"/>
              <a:gd name="connsiteX9" fmla="*/ 7413 w 9999"/>
              <a:gd name="connsiteY9" fmla="*/ 9157 h 10000"/>
              <a:gd name="connsiteX10" fmla="*/ 7007 w 9999"/>
              <a:gd name="connsiteY10" fmla="*/ 9382 h 10000"/>
              <a:gd name="connsiteX11" fmla="*/ 6498 w 9999"/>
              <a:gd name="connsiteY11" fmla="*/ 9494 h 10000"/>
              <a:gd name="connsiteX12" fmla="*/ 6397 w 9999"/>
              <a:gd name="connsiteY12" fmla="*/ 9719 h 10000"/>
              <a:gd name="connsiteX13" fmla="*/ 5991 w 9999"/>
              <a:gd name="connsiteY13" fmla="*/ 9831 h 10000"/>
              <a:gd name="connsiteX14" fmla="*/ 5685 w 9999"/>
              <a:gd name="connsiteY14" fmla="*/ 10000 h 10000"/>
              <a:gd name="connsiteX15" fmla="*/ 4973 w 9999"/>
              <a:gd name="connsiteY15" fmla="*/ 10000 h 10000"/>
              <a:gd name="connsiteX16" fmla="*/ 4365 w 9999"/>
              <a:gd name="connsiteY16" fmla="*/ 10000 h 10000"/>
              <a:gd name="connsiteX17" fmla="*/ 3856 w 9999"/>
              <a:gd name="connsiteY17" fmla="*/ 9831 h 10000"/>
              <a:gd name="connsiteX18" fmla="*/ 3552 w 9999"/>
              <a:gd name="connsiteY18" fmla="*/ 9719 h 10000"/>
              <a:gd name="connsiteX19" fmla="*/ 3449 w 9999"/>
              <a:gd name="connsiteY19" fmla="*/ 9494 h 10000"/>
              <a:gd name="connsiteX20" fmla="*/ 3043 w 9999"/>
              <a:gd name="connsiteY20" fmla="*/ 9382 h 10000"/>
              <a:gd name="connsiteX21" fmla="*/ 2637 w 9999"/>
              <a:gd name="connsiteY21" fmla="*/ 9157 h 10000"/>
              <a:gd name="connsiteX22" fmla="*/ 2433 w 9999"/>
              <a:gd name="connsiteY22" fmla="*/ 9045 h 10000"/>
              <a:gd name="connsiteX23" fmla="*/ 2331 w 9999"/>
              <a:gd name="connsiteY23" fmla="*/ 8820 h 10000"/>
              <a:gd name="connsiteX24" fmla="*/ 2331 w 9999"/>
              <a:gd name="connsiteY24" fmla="*/ 8202 h 10000"/>
              <a:gd name="connsiteX0" fmla="*/ 7616 w 9998"/>
              <a:gd name="connsiteY0" fmla="*/ 5730 h 10000"/>
              <a:gd name="connsiteX1" fmla="*/ 9992 w 9998"/>
              <a:gd name="connsiteY1" fmla="*/ 2828 h 10000"/>
              <a:gd name="connsiteX2" fmla="*/ 4971 w 9998"/>
              <a:gd name="connsiteY2" fmla="*/ 1 h 10000"/>
              <a:gd name="connsiteX3" fmla="*/ 1 w 9998"/>
              <a:gd name="connsiteY3" fmla="*/ 2614 h 10000"/>
              <a:gd name="connsiteX4" fmla="*/ 2329 w 9998"/>
              <a:gd name="connsiteY4" fmla="*/ 5730 h 10000"/>
              <a:gd name="connsiteX5" fmla="*/ 2329 w 9998"/>
              <a:gd name="connsiteY5" fmla="*/ 7191 h 10000"/>
              <a:gd name="connsiteX6" fmla="*/ 7616 w 9998"/>
              <a:gd name="connsiteY6" fmla="*/ 7191 h 10000"/>
              <a:gd name="connsiteX7" fmla="*/ 7616 w 9998"/>
              <a:gd name="connsiteY7" fmla="*/ 8820 h 10000"/>
              <a:gd name="connsiteX8" fmla="*/ 7515 w 9998"/>
              <a:gd name="connsiteY8" fmla="*/ 9045 h 10000"/>
              <a:gd name="connsiteX9" fmla="*/ 7412 w 9998"/>
              <a:gd name="connsiteY9" fmla="*/ 9157 h 10000"/>
              <a:gd name="connsiteX10" fmla="*/ 7006 w 9998"/>
              <a:gd name="connsiteY10" fmla="*/ 9382 h 10000"/>
              <a:gd name="connsiteX11" fmla="*/ 6497 w 9998"/>
              <a:gd name="connsiteY11" fmla="*/ 9494 h 10000"/>
              <a:gd name="connsiteX12" fmla="*/ 6396 w 9998"/>
              <a:gd name="connsiteY12" fmla="*/ 9719 h 10000"/>
              <a:gd name="connsiteX13" fmla="*/ 5990 w 9998"/>
              <a:gd name="connsiteY13" fmla="*/ 9831 h 10000"/>
              <a:gd name="connsiteX14" fmla="*/ 5684 w 9998"/>
              <a:gd name="connsiteY14" fmla="*/ 10000 h 10000"/>
              <a:gd name="connsiteX15" fmla="*/ 4971 w 9998"/>
              <a:gd name="connsiteY15" fmla="*/ 10000 h 10000"/>
              <a:gd name="connsiteX16" fmla="*/ 4363 w 9998"/>
              <a:gd name="connsiteY16" fmla="*/ 10000 h 10000"/>
              <a:gd name="connsiteX17" fmla="*/ 3854 w 9998"/>
              <a:gd name="connsiteY17" fmla="*/ 9831 h 10000"/>
              <a:gd name="connsiteX18" fmla="*/ 3550 w 9998"/>
              <a:gd name="connsiteY18" fmla="*/ 9719 h 10000"/>
              <a:gd name="connsiteX19" fmla="*/ 3447 w 9998"/>
              <a:gd name="connsiteY19" fmla="*/ 9494 h 10000"/>
              <a:gd name="connsiteX20" fmla="*/ 3041 w 9998"/>
              <a:gd name="connsiteY20" fmla="*/ 9382 h 10000"/>
              <a:gd name="connsiteX21" fmla="*/ 2635 w 9998"/>
              <a:gd name="connsiteY21" fmla="*/ 9157 h 10000"/>
              <a:gd name="connsiteX22" fmla="*/ 2431 w 9998"/>
              <a:gd name="connsiteY22" fmla="*/ 9045 h 10000"/>
              <a:gd name="connsiteX23" fmla="*/ 2329 w 9998"/>
              <a:gd name="connsiteY23" fmla="*/ 8820 h 10000"/>
              <a:gd name="connsiteX24" fmla="*/ 2329 w 9998"/>
              <a:gd name="connsiteY24" fmla="*/ 8202 h 10000"/>
              <a:gd name="connsiteX0" fmla="*/ 7618 w 10000"/>
              <a:gd name="connsiteY0" fmla="*/ 5730 h 10000"/>
              <a:gd name="connsiteX1" fmla="*/ 9994 w 10000"/>
              <a:gd name="connsiteY1" fmla="*/ 2828 h 10000"/>
              <a:gd name="connsiteX2" fmla="*/ 4972 w 10000"/>
              <a:gd name="connsiteY2" fmla="*/ 1 h 10000"/>
              <a:gd name="connsiteX3" fmla="*/ 1 w 10000"/>
              <a:gd name="connsiteY3" fmla="*/ 2614 h 10000"/>
              <a:gd name="connsiteX4" fmla="*/ 2329 w 10000"/>
              <a:gd name="connsiteY4" fmla="*/ 5730 h 10000"/>
              <a:gd name="connsiteX5" fmla="*/ 2329 w 10000"/>
              <a:gd name="connsiteY5" fmla="*/ 7191 h 10000"/>
              <a:gd name="connsiteX6" fmla="*/ 7618 w 10000"/>
              <a:gd name="connsiteY6" fmla="*/ 7191 h 10000"/>
              <a:gd name="connsiteX7" fmla="*/ 7618 w 10000"/>
              <a:gd name="connsiteY7" fmla="*/ 8820 h 10000"/>
              <a:gd name="connsiteX8" fmla="*/ 7517 w 10000"/>
              <a:gd name="connsiteY8" fmla="*/ 9045 h 10000"/>
              <a:gd name="connsiteX9" fmla="*/ 7413 w 10000"/>
              <a:gd name="connsiteY9" fmla="*/ 9157 h 10000"/>
              <a:gd name="connsiteX10" fmla="*/ 7007 w 10000"/>
              <a:gd name="connsiteY10" fmla="*/ 9382 h 10000"/>
              <a:gd name="connsiteX11" fmla="*/ 6498 w 10000"/>
              <a:gd name="connsiteY11" fmla="*/ 9494 h 10000"/>
              <a:gd name="connsiteX12" fmla="*/ 6397 w 10000"/>
              <a:gd name="connsiteY12" fmla="*/ 9719 h 10000"/>
              <a:gd name="connsiteX13" fmla="*/ 5991 w 10000"/>
              <a:gd name="connsiteY13" fmla="*/ 9831 h 10000"/>
              <a:gd name="connsiteX14" fmla="*/ 5685 w 10000"/>
              <a:gd name="connsiteY14" fmla="*/ 10000 h 10000"/>
              <a:gd name="connsiteX15" fmla="*/ 4972 w 10000"/>
              <a:gd name="connsiteY15" fmla="*/ 10000 h 10000"/>
              <a:gd name="connsiteX16" fmla="*/ 4364 w 10000"/>
              <a:gd name="connsiteY16" fmla="*/ 10000 h 10000"/>
              <a:gd name="connsiteX17" fmla="*/ 3855 w 10000"/>
              <a:gd name="connsiteY17" fmla="*/ 9831 h 10000"/>
              <a:gd name="connsiteX18" fmla="*/ 3551 w 10000"/>
              <a:gd name="connsiteY18" fmla="*/ 9719 h 10000"/>
              <a:gd name="connsiteX19" fmla="*/ 3448 w 10000"/>
              <a:gd name="connsiteY19" fmla="*/ 9494 h 10000"/>
              <a:gd name="connsiteX20" fmla="*/ 3042 w 10000"/>
              <a:gd name="connsiteY20" fmla="*/ 9382 h 10000"/>
              <a:gd name="connsiteX21" fmla="*/ 2636 w 10000"/>
              <a:gd name="connsiteY21" fmla="*/ 9157 h 10000"/>
              <a:gd name="connsiteX22" fmla="*/ 2431 w 10000"/>
              <a:gd name="connsiteY22" fmla="*/ 9045 h 10000"/>
              <a:gd name="connsiteX23" fmla="*/ 2329 w 10000"/>
              <a:gd name="connsiteY23" fmla="*/ 8820 h 10000"/>
              <a:gd name="connsiteX24" fmla="*/ 2329 w 10000"/>
              <a:gd name="connsiteY24" fmla="*/ 8202 h 10000"/>
              <a:gd name="connsiteX0" fmla="*/ 7618 w 9967"/>
              <a:gd name="connsiteY0" fmla="*/ 5730 h 10000"/>
              <a:gd name="connsiteX1" fmla="*/ 9961 w 9967"/>
              <a:gd name="connsiteY1" fmla="*/ 2622 h 10000"/>
              <a:gd name="connsiteX2" fmla="*/ 4972 w 9967"/>
              <a:gd name="connsiteY2" fmla="*/ 1 h 10000"/>
              <a:gd name="connsiteX3" fmla="*/ 1 w 9967"/>
              <a:gd name="connsiteY3" fmla="*/ 2614 h 10000"/>
              <a:gd name="connsiteX4" fmla="*/ 2329 w 9967"/>
              <a:gd name="connsiteY4" fmla="*/ 5730 h 10000"/>
              <a:gd name="connsiteX5" fmla="*/ 2329 w 9967"/>
              <a:gd name="connsiteY5" fmla="*/ 7191 h 10000"/>
              <a:gd name="connsiteX6" fmla="*/ 7618 w 9967"/>
              <a:gd name="connsiteY6" fmla="*/ 7191 h 10000"/>
              <a:gd name="connsiteX7" fmla="*/ 7618 w 9967"/>
              <a:gd name="connsiteY7" fmla="*/ 8820 h 10000"/>
              <a:gd name="connsiteX8" fmla="*/ 7517 w 9967"/>
              <a:gd name="connsiteY8" fmla="*/ 9045 h 10000"/>
              <a:gd name="connsiteX9" fmla="*/ 7413 w 9967"/>
              <a:gd name="connsiteY9" fmla="*/ 9157 h 10000"/>
              <a:gd name="connsiteX10" fmla="*/ 7007 w 9967"/>
              <a:gd name="connsiteY10" fmla="*/ 9382 h 10000"/>
              <a:gd name="connsiteX11" fmla="*/ 6498 w 9967"/>
              <a:gd name="connsiteY11" fmla="*/ 9494 h 10000"/>
              <a:gd name="connsiteX12" fmla="*/ 6397 w 9967"/>
              <a:gd name="connsiteY12" fmla="*/ 9719 h 10000"/>
              <a:gd name="connsiteX13" fmla="*/ 5991 w 9967"/>
              <a:gd name="connsiteY13" fmla="*/ 9831 h 10000"/>
              <a:gd name="connsiteX14" fmla="*/ 5685 w 9967"/>
              <a:gd name="connsiteY14" fmla="*/ 10000 h 10000"/>
              <a:gd name="connsiteX15" fmla="*/ 4972 w 9967"/>
              <a:gd name="connsiteY15" fmla="*/ 10000 h 10000"/>
              <a:gd name="connsiteX16" fmla="*/ 4364 w 9967"/>
              <a:gd name="connsiteY16" fmla="*/ 10000 h 10000"/>
              <a:gd name="connsiteX17" fmla="*/ 3855 w 9967"/>
              <a:gd name="connsiteY17" fmla="*/ 9831 h 10000"/>
              <a:gd name="connsiteX18" fmla="*/ 3551 w 9967"/>
              <a:gd name="connsiteY18" fmla="*/ 9719 h 10000"/>
              <a:gd name="connsiteX19" fmla="*/ 3448 w 9967"/>
              <a:gd name="connsiteY19" fmla="*/ 9494 h 10000"/>
              <a:gd name="connsiteX20" fmla="*/ 3042 w 9967"/>
              <a:gd name="connsiteY20" fmla="*/ 9382 h 10000"/>
              <a:gd name="connsiteX21" fmla="*/ 2636 w 9967"/>
              <a:gd name="connsiteY21" fmla="*/ 9157 h 10000"/>
              <a:gd name="connsiteX22" fmla="*/ 2431 w 9967"/>
              <a:gd name="connsiteY22" fmla="*/ 9045 h 10000"/>
              <a:gd name="connsiteX23" fmla="*/ 2329 w 9967"/>
              <a:gd name="connsiteY23" fmla="*/ 8820 h 10000"/>
              <a:gd name="connsiteX24" fmla="*/ 2329 w 9967"/>
              <a:gd name="connsiteY24" fmla="*/ 8202 h 10000"/>
              <a:gd name="connsiteX0" fmla="*/ 7643 w 9994"/>
              <a:gd name="connsiteY0" fmla="*/ 5730 h 10000"/>
              <a:gd name="connsiteX1" fmla="*/ 9994 w 9994"/>
              <a:gd name="connsiteY1" fmla="*/ 2622 h 10000"/>
              <a:gd name="connsiteX2" fmla="*/ 4988 w 9994"/>
              <a:gd name="connsiteY2" fmla="*/ 1 h 10000"/>
              <a:gd name="connsiteX3" fmla="*/ 1 w 9994"/>
              <a:gd name="connsiteY3" fmla="*/ 2614 h 10000"/>
              <a:gd name="connsiteX4" fmla="*/ 2337 w 9994"/>
              <a:gd name="connsiteY4" fmla="*/ 5730 h 10000"/>
              <a:gd name="connsiteX5" fmla="*/ 2337 w 9994"/>
              <a:gd name="connsiteY5" fmla="*/ 7191 h 10000"/>
              <a:gd name="connsiteX6" fmla="*/ 7643 w 9994"/>
              <a:gd name="connsiteY6" fmla="*/ 7191 h 10000"/>
              <a:gd name="connsiteX7" fmla="*/ 7643 w 9994"/>
              <a:gd name="connsiteY7" fmla="*/ 8820 h 10000"/>
              <a:gd name="connsiteX8" fmla="*/ 7542 w 9994"/>
              <a:gd name="connsiteY8" fmla="*/ 9045 h 10000"/>
              <a:gd name="connsiteX9" fmla="*/ 7438 w 9994"/>
              <a:gd name="connsiteY9" fmla="*/ 9157 h 10000"/>
              <a:gd name="connsiteX10" fmla="*/ 7030 w 9994"/>
              <a:gd name="connsiteY10" fmla="*/ 9382 h 10000"/>
              <a:gd name="connsiteX11" fmla="*/ 6520 w 9994"/>
              <a:gd name="connsiteY11" fmla="*/ 9494 h 10000"/>
              <a:gd name="connsiteX12" fmla="*/ 6418 w 9994"/>
              <a:gd name="connsiteY12" fmla="*/ 9719 h 10000"/>
              <a:gd name="connsiteX13" fmla="*/ 6011 w 9994"/>
              <a:gd name="connsiteY13" fmla="*/ 9831 h 10000"/>
              <a:gd name="connsiteX14" fmla="*/ 5704 w 9994"/>
              <a:gd name="connsiteY14" fmla="*/ 10000 h 10000"/>
              <a:gd name="connsiteX15" fmla="*/ 4988 w 9994"/>
              <a:gd name="connsiteY15" fmla="*/ 10000 h 10000"/>
              <a:gd name="connsiteX16" fmla="*/ 4378 w 9994"/>
              <a:gd name="connsiteY16" fmla="*/ 10000 h 10000"/>
              <a:gd name="connsiteX17" fmla="*/ 3868 w 9994"/>
              <a:gd name="connsiteY17" fmla="*/ 9831 h 10000"/>
              <a:gd name="connsiteX18" fmla="*/ 3563 w 9994"/>
              <a:gd name="connsiteY18" fmla="*/ 9719 h 10000"/>
              <a:gd name="connsiteX19" fmla="*/ 3459 w 9994"/>
              <a:gd name="connsiteY19" fmla="*/ 9494 h 10000"/>
              <a:gd name="connsiteX20" fmla="*/ 3052 w 9994"/>
              <a:gd name="connsiteY20" fmla="*/ 9382 h 10000"/>
              <a:gd name="connsiteX21" fmla="*/ 2645 w 9994"/>
              <a:gd name="connsiteY21" fmla="*/ 9157 h 10000"/>
              <a:gd name="connsiteX22" fmla="*/ 2439 w 9994"/>
              <a:gd name="connsiteY22" fmla="*/ 9045 h 10000"/>
              <a:gd name="connsiteX23" fmla="*/ 2337 w 9994"/>
              <a:gd name="connsiteY23" fmla="*/ 8820 h 10000"/>
              <a:gd name="connsiteX24" fmla="*/ 2337 w 9994"/>
              <a:gd name="connsiteY24" fmla="*/ 820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94" h="10000">
                <a:moveTo>
                  <a:pt x="7643" y="5730"/>
                </a:moveTo>
                <a:cubicBezTo>
                  <a:pt x="7589" y="4431"/>
                  <a:pt x="10049" y="4661"/>
                  <a:pt x="9994" y="2622"/>
                </a:cubicBezTo>
                <a:cubicBezTo>
                  <a:pt x="9939" y="583"/>
                  <a:pt x="6654" y="2"/>
                  <a:pt x="4988" y="1"/>
                </a:cubicBezTo>
                <a:cubicBezTo>
                  <a:pt x="3323" y="0"/>
                  <a:pt x="-43" y="693"/>
                  <a:pt x="1" y="2614"/>
                </a:cubicBezTo>
                <a:cubicBezTo>
                  <a:pt x="45" y="4535"/>
                  <a:pt x="2344" y="4799"/>
                  <a:pt x="2337" y="5730"/>
                </a:cubicBezTo>
                <a:lnTo>
                  <a:pt x="2337" y="7191"/>
                </a:lnTo>
                <a:lnTo>
                  <a:pt x="7643" y="7191"/>
                </a:lnTo>
                <a:lnTo>
                  <a:pt x="7643" y="8820"/>
                </a:lnTo>
                <a:cubicBezTo>
                  <a:pt x="7608" y="8895"/>
                  <a:pt x="7575" y="8970"/>
                  <a:pt x="7542" y="9045"/>
                </a:cubicBezTo>
                <a:cubicBezTo>
                  <a:pt x="7505" y="9082"/>
                  <a:pt x="7473" y="9120"/>
                  <a:pt x="7438" y="9157"/>
                </a:cubicBezTo>
                <a:lnTo>
                  <a:pt x="7030" y="9382"/>
                </a:lnTo>
                <a:lnTo>
                  <a:pt x="6520" y="9494"/>
                </a:lnTo>
                <a:lnTo>
                  <a:pt x="6418" y="9719"/>
                </a:lnTo>
                <a:lnTo>
                  <a:pt x="6011" y="9831"/>
                </a:lnTo>
                <a:lnTo>
                  <a:pt x="5704" y="10000"/>
                </a:lnTo>
                <a:lnTo>
                  <a:pt x="4988" y="10000"/>
                </a:lnTo>
                <a:lnTo>
                  <a:pt x="4378" y="10000"/>
                </a:lnTo>
                <a:lnTo>
                  <a:pt x="3868" y="9831"/>
                </a:lnTo>
                <a:lnTo>
                  <a:pt x="3563" y="9719"/>
                </a:lnTo>
                <a:cubicBezTo>
                  <a:pt x="3528" y="9644"/>
                  <a:pt x="3496" y="9569"/>
                  <a:pt x="3459" y="9494"/>
                </a:cubicBezTo>
                <a:lnTo>
                  <a:pt x="3052" y="9382"/>
                </a:lnTo>
                <a:lnTo>
                  <a:pt x="2645" y="9157"/>
                </a:lnTo>
                <a:lnTo>
                  <a:pt x="2439" y="9045"/>
                </a:lnTo>
                <a:cubicBezTo>
                  <a:pt x="2407" y="8970"/>
                  <a:pt x="2373" y="8895"/>
                  <a:pt x="2337" y="8820"/>
                </a:cubicBezTo>
                <a:lnTo>
                  <a:pt x="2337" y="8202"/>
                </a:lnTo>
              </a:path>
            </a:pathLst>
          </a:custGeom>
          <a:solidFill>
            <a:srgbClr val="FBBA00"/>
          </a:solidFill>
          <a:ln w="19050" cmpd="sng">
            <a:solidFill>
              <a:schemeClr val="bg1"/>
            </a:solidFill>
            <a:prstDash val="solid"/>
            <a:round/>
            <a:headEnd/>
            <a:tailEnd/>
          </a:ln>
        </p:spPr>
        <p:txBody>
          <a:bodyPr/>
          <a:lstStyle/>
          <a:p>
            <a:endParaRPr lang="de-DE" dirty="0"/>
          </a:p>
        </p:txBody>
      </p:sp>
      <p:sp>
        <p:nvSpPr>
          <p:cNvPr id="23" name="Line 1242">
            <a:extLst>
              <a:ext uri="{FF2B5EF4-FFF2-40B4-BE49-F238E27FC236}">
                <a16:creationId xmlns:a16="http://schemas.microsoft.com/office/drawing/2014/main" id="{19C44312-65D9-053D-E423-F33DA98D4ADB}"/>
              </a:ext>
            </a:extLst>
          </p:cNvPr>
          <p:cNvSpPr>
            <a:spLocks noChangeShapeType="1"/>
          </p:cNvSpPr>
          <p:nvPr/>
        </p:nvSpPr>
        <p:spPr bwMode="auto">
          <a:xfrm flipH="1" flipV="1">
            <a:off x="1339901" y="2429786"/>
            <a:ext cx="0" cy="55964"/>
          </a:xfrm>
          <a:prstGeom prst="line">
            <a:avLst/>
          </a:prstGeom>
          <a:solidFill>
            <a:srgbClr val="FBBA00"/>
          </a:solidFill>
          <a:ln w="19050" cmpd="sng">
            <a:solidFill>
              <a:schemeClr val="bg1"/>
            </a:solidFill>
            <a:round/>
            <a:headEnd/>
            <a:tailEnd/>
          </a:ln>
        </p:spPr>
        <p:txBody>
          <a:bodyPr/>
          <a:lstStyle/>
          <a:p>
            <a:endParaRPr lang="de-DE" dirty="0"/>
          </a:p>
        </p:txBody>
      </p:sp>
      <p:sp>
        <p:nvSpPr>
          <p:cNvPr id="24" name="Line 1243">
            <a:extLst>
              <a:ext uri="{FF2B5EF4-FFF2-40B4-BE49-F238E27FC236}">
                <a16:creationId xmlns:a16="http://schemas.microsoft.com/office/drawing/2014/main" id="{DA198CC1-1250-29EC-A335-FFBB4D782044}"/>
              </a:ext>
            </a:extLst>
          </p:cNvPr>
          <p:cNvSpPr>
            <a:spLocks noChangeShapeType="1"/>
          </p:cNvSpPr>
          <p:nvPr/>
        </p:nvSpPr>
        <p:spPr bwMode="auto">
          <a:xfrm flipV="1">
            <a:off x="1424179" y="2508138"/>
            <a:ext cx="47922" cy="27982"/>
          </a:xfrm>
          <a:prstGeom prst="line">
            <a:avLst/>
          </a:prstGeom>
          <a:solidFill>
            <a:srgbClr val="FBBA00"/>
          </a:solidFill>
          <a:ln w="19050" cmpd="sng">
            <a:solidFill>
              <a:schemeClr val="bg1"/>
            </a:solidFill>
            <a:round/>
            <a:headEnd/>
            <a:tailEnd/>
          </a:ln>
        </p:spPr>
        <p:txBody>
          <a:bodyPr/>
          <a:lstStyle/>
          <a:p>
            <a:endParaRPr lang="de-DE" dirty="0"/>
          </a:p>
        </p:txBody>
      </p:sp>
      <p:sp>
        <p:nvSpPr>
          <p:cNvPr id="25" name="Line 1244">
            <a:extLst>
              <a:ext uri="{FF2B5EF4-FFF2-40B4-BE49-F238E27FC236}">
                <a16:creationId xmlns:a16="http://schemas.microsoft.com/office/drawing/2014/main" id="{2D6509F0-9FE9-FC9B-DDD0-719B9014D2C4}"/>
              </a:ext>
            </a:extLst>
          </p:cNvPr>
          <p:cNvSpPr>
            <a:spLocks noChangeShapeType="1"/>
          </p:cNvSpPr>
          <p:nvPr/>
        </p:nvSpPr>
        <p:spPr bwMode="auto">
          <a:xfrm>
            <a:off x="1426998" y="2639653"/>
            <a:ext cx="50740" cy="27982"/>
          </a:xfrm>
          <a:prstGeom prst="line">
            <a:avLst/>
          </a:prstGeom>
          <a:solidFill>
            <a:srgbClr val="FBBA00"/>
          </a:solidFill>
          <a:ln w="19050" cmpd="sng">
            <a:solidFill>
              <a:schemeClr val="bg1"/>
            </a:solidFill>
            <a:round/>
            <a:headEnd/>
            <a:tailEnd/>
          </a:ln>
        </p:spPr>
        <p:txBody>
          <a:bodyPr/>
          <a:lstStyle/>
          <a:p>
            <a:endParaRPr lang="de-DE" dirty="0"/>
          </a:p>
        </p:txBody>
      </p:sp>
      <p:sp>
        <p:nvSpPr>
          <p:cNvPr id="26" name="Line 1245">
            <a:extLst>
              <a:ext uri="{FF2B5EF4-FFF2-40B4-BE49-F238E27FC236}">
                <a16:creationId xmlns:a16="http://schemas.microsoft.com/office/drawing/2014/main" id="{3BFDBF59-8BF3-91D8-3D7D-1875724A59B6}"/>
              </a:ext>
            </a:extLst>
          </p:cNvPr>
          <p:cNvSpPr>
            <a:spLocks noChangeShapeType="1"/>
          </p:cNvSpPr>
          <p:nvPr/>
        </p:nvSpPr>
        <p:spPr bwMode="auto">
          <a:xfrm flipH="1">
            <a:off x="1195846" y="2645250"/>
            <a:ext cx="47922" cy="27982"/>
          </a:xfrm>
          <a:prstGeom prst="line">
            <a:avLst/>
          </a:prstGeom>
          <a:solidFill>
            <a:srgbClr val="FBBA00"/>
          </a:solidFill>
          <a:ln w="19050" cmpd="sng">
            <a:solidFill>
              <a:schemeClr val="bg1"/>
            </a:solidFill>
            <a:round/>
            <a:headEnd/>
            <a:tailEnd/>
          </a:ln>
        </p:spPr>
        <p:txBody>
          <a:bodyPr/>
          <a:lstStyle/>
          <a:p>
            <a:endParaRPr lang="de-DE" dirty="0"/>
          </a:p>
        </p:txBody>
      </p:sp>
      <p:sp>
        <p:nvSpPr>
          <p:cNvPr id="27" name="Line 1246">
            <a:extLst>
              <a:ext uri="{FF2B5EF4-FFF2-40B4-BE49-F238E27FC236}">
                <a16:creationId xmlns:a16="http://schemas.microsoft.com/office/drawing/2014/main" id="{0121728D-22F6-A70E-BA93-13EF4B02719D}"/>
              </a:ext>
            </a:extLst>
          </p:cNvPr>
          <p:cNvSpPr>
            <a:spLocks noChangeShapeType="1"/>
          </p:cNvSpPr>
          <p:nvPr/>
        </p:nvSpPr>
        <p:spPr bwMode="auto">
          <a:xfrm flipH="1" flipV="1">
            <a:off x="1193030" y="2513732"/>
            <a:ext cx="50740" cy="25185"/>
          </a:xfrm>
          <a:prstGeom prst="line">
            <a:avLst/>
          </a:prstGeom>
          <a:solidFill>
            <a:srgbClr val="FBBA00"/>
          </a:solidFill>
          <a:ln w="19050" cmpd="sng">
            <a:solidFill>
              <a:schemeClr val="bg1"/>
            </a:solidFill>
            <a:round/>
            <a:headEnd/>
            <a:tailEnd/>
          </a:ln>
        </p:spPr>
        <p:txBody>
          <a:bodyPr/>
          <a:lstStyle/>
          <a:p>
            <a:endParaRPr lang="de-DE" dirty="0"/>
          </a:p>
        </p:txBody>
      </p:sp>
      <p:sp>
        <p:nvSpPr>
          <p:cNvPr id="28" name="7 CuadroTexto">
            <a:extLst>
              <a:ext uri="{FF2B5EF4-FFF2-40B4-BE49-F238E27FC236}">
                <a16:creationId xmlns:a16="http://schemas.microsoft.com/office/drawing/2014/main" id="{190626CD-7A63-2B14-09B9-3E979A31E231}"/>
              </a:ext>
            </a:extLst>
          </p:cNvPr>
          <p:cNvSpPr txBox="1"/>
          <p:nvPr/>
        </p:nvSpPr>
        <p:spPr>
          <a:xfrm>
            <a:off x="1487314" y="2879367"/>
            <a:ext cx="8647285" cy="3283848"/>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In der Praxis lässt sich bei Unternehmensverkäufen eine „spontane“ Abfindung nicht immer vermeiden. In diesen Fällen sollte sichergestellt werden, dass der Verzicht (Erhöhung der Anschaffungskosten für die GmbH-Beteiligung) im gleichen Veranlagungszeitraum erfolgt, in dem auch der Veräußerungsgewinn für die GmbH-Anteilsveräußerung realisiert wird. </a:t>
            </a:r>
          </a:p>
          <a:p>
            <a:pPr>
              <a:lnSpc>
                <a:spcPct val="150000"/>
              </a:lnSpc>
            </a:pPr>
            <a:r>
              <a:rPr lang="de-DE" sz="1400" dirty="0">
                <a:latin typeface="Segoe UI" panose="020B0502040204020203" pitchFamily="34" charset="0"/>
                <a:cs typeface="Segoe UI" panose="020B0502040204020203" pitchFamily="34" charset="0"/>
                <a:sym typeface="Wingdings" panose="05000000000000000000" pitchFamily="2" charset="2"/>
              </a:rPr>
              <a:t>	 steuererhöhende und steuermindernde Auswirkungen im gleichen Jahr</a:t>
            </a:r>
          </a:p>
          <a:p>
            <a:pPr marL="285750" indent="-285750">
              <a:lnSpc>
                <a:spcPct val="150000"/>
              </a:lnSpc>
              <a:buFont typeface="Arial" panose="020B0604020202020204" pitchFamily="34" charset="0"/>
              <a:buChar char="•"/>
            </a:pPr>
            <a:endParaRPr lang="de-DE" sz="1400" dirty="0">
              <a:latin typeface="Segoe UI" panose="020B0502040204020203" pitchFamily="34" charset="0"/>
              <a:cs typeface="Segoe UI" panose="020B0502040204020203" pitchFamily="34" charset="0"/>
              <a:sym typeface="Wingdings" panose="05000000000000000000" pitchFamily="2" charset="2"/>
            </a:endParaRPr>
          </a:p>
          <a:p>
            <a:pPr marL="285750" indent="-285750">
              <a:lnSpc>
                <a:spcPct val="150000"/>
              </a:lnSpc>
              <a:buFont typeface="Arial" panose="020B0604020202020204" pitchFamily="34" charset="0"/>
              <a:buChar char="•"/>
            </a:pPr>
            <a:r>
              <a:rPr lang="de-DE" sz="1400" dirty="0">
                <a:latin typeface="Segoe UI" panose="020B0502040204020203" pitchFamily="34" charset="0"/>
                <a:cs typeface="Segoe UI" panose="020B0502040204020203" pitchFamily="34" charset="0"/>
                <a:sym typeface="Wingdings" panose="05000000000000000000" pitchFamily="2" charset="2"/>
              </a:rPr>
              <a:t>Aus außersteuerlichen Gründen ist es häufig wirtschaftlich, eine bestehende Rückdeckungsversicherung nicht aufzulösen sondern diese als Abfindung auf den Gesellschafter zu übertragen und von ihm fortzuführen (mitunter hohe Verzinsung bei Altverträgen).  </a:t>
            </a:r>
          </a:p>
          <a:p>
            <a:pPr>
              <a:lnSpc>
                <a:spcPct val="150000"/>
              </a:lnSpc>
            </a:pPr>
            <a:endParaRPr lang="de-DE"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86165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D0921B-0FF1-9F7C-96BA-C2DCADA73E58}"/>
            </a:ext>
          </a:extLst>
        </p:cNvPr>
        <p:cNvGrpSpPr/>
        <p:nvPr/>
      </p:nvGrpSpPr>
      <p:grpSpPr>
        <a:xfrm>
          <a:off x="0" y="0"/>
          <a:ext cx="0" cy="0"/>
          <a:chOff x="0" y="0"/>
          <a:chExt cx="0" cy="0"/>
        </a:xfrm>
      </p:grpSpPr>
      <p:sp>
        <p:nvSpPr>
          <p:cNvPr id="6" name="TextBox 18">
            <a:extLst>
              <a:ext uri="{FF2B5EF4-FFF2-40B4-BE49-F238E27FC236}">
                <a16:creationId xmlns:a16="http://schemas.microsoft.com/office/drawing/2014/main" id="{A6F4915B-AC51-4829-A745-DB97F5710B25}"/>
              </a:ext>
            </a:extLst>
          </p:cNvPr>
          <p:cNvSpPr txBox="1"/>
          <p:nvPr/>
        </p:nvSpPr>
        <p:spPr>
          <a:xfrm>
            <a:off x="896416" y="1021332"/>
            <a:ext cx="5513909" cy="584775"/>
          </a:xfrm>
          <a:prstGeom prst="rect">
            <a:avLst/>
          </a:prstGeom>
          <a:noFill/>
        </p:spPr>
        <p:txBody>
          <a:bodyPr wrap="square" rtlCol="0">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genda</a:t>
            </a:r>
          </a:p>
        </p:txBody>
      </p:sp>
      <p:graphicFrame>
        <p:nvGraphicFramePr>
          <p:cNvPr id="8" name="OT_AgendaTable">
            <a:extLst>
              <a:ext uri="{FF2B5EF4-FFF2-40B4-BE49-F238E27FC236}">
                <a16:creationId xmlns:a16="http://schemas.microsoft.com/office/drawing/2014/main" id="{AABD3E2F-9F6C-02CD-D703-1114BA62ACA0}"/>
              </a:ext>
            </a:extLst>
          </p:cNvPr>
          <p:cNvGraphicFramePr>
            <a:graphicFrameLocks noGrp="1"/>
          </p:cNvGraphicFramePr>
          <p:nvPr>
            <p:custDataLst>
              <p:tags r:id="rId1"/>
            </p:custDataLst>
            <p:extLst>
              <p:ext uri="{D42A27DB-BD31-4B8C-83A1-F6EECF244321}">
                <p14:modId xmlns:p14="http://schemas.microsoft.com/office/powerpoint/2010/main" val="888622484"/>
              </p:ext>
            </p:extLst>
          </p:nvPr>
        </p:nvGraphicFramePr>
        <p:xfrm>
          <a:off x="909551" y="1923728"/>
          <a:ext cx="9907131" cy="3386664"/>
        </p:xfrm>
        <a:graphic>
          <a:graphicData uri="http://schemas.openxmlformats.org/drawingml/2006/table">
            <a:tbl>
              <a:tblPr firstRow="1" bandRow="1">
                <a:tableStyleId>{2D5ABB26-0587-4C30-8999-92F81FD0307C}</a:tableStyleId>
              </a:tblPr>
              <a:tblGrid>
                <a:gridCol w="9907131">
                  <a:extLst>
                    <a:ext uri="{9D8B030D-6E8A-4147-A177-3AD203B41FA5}">
                      <a16:colId xmlns:a16="http://schemas.microsoft.com/office/drawing/2014/main" val="3315970368"/>
                    </a:ext>
                  </a:extLst>
                </a:gridCol>
              </a:tblGrid>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1" kern="1200" dirty="0">
                          <a:solidFill>
                            <a:schemeClr val="tx1"/>
                          </a:solidFill>
                          <a:latin typeface="Segoe UI" panose="020B0502040204020203" pitchFamily="34" charset="0"/>
                          <a:ea typeface="+mn-ea"/>
                          <a:cs typeface="Segoe UI" panose="020B0502040204020203" pitchFamily="34" charset="0"/>
                        </a:rPr>
                        <a:t>Bedeutung von Pensionszusagen beim Unternehmensverkauf </a:t>
                      </a:r>
                    </a:p>
                  </a:txBody>
                  <a:tcPr anchor="ctr">
                    <a:solidFill>
                      <a:srgbClr val="FBBA00"/>
                    </a:solidFill>
                  </a:tcPr>
                </a:tc>
                <a:extLst>
                  <a:ext uri="{0D108BD9-81ED-4DB2-BD59-A6C34878D82A}">
                    <a16:rowId xmlns:a16="http://schemas.microsoft.com/office/drawing/2014/main" val="3130548413"/>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Die „richtige“ Bewertung der Pensionsverpflichtung </a:t>
                      </a:r>
                    </a:p>
                  </a:txBody>
                  <a:tcPr anchor="ctr">
                    <a:noFill/>
                  </a:tcPr>
                </a:tc>
                <a:extLst>
                  <a:ext uri="{0D108BD9-81ED-4DB2-BD59-A6C34878D82A}">
                    <a16:rowId xmlns:a16="http://schemas.microsoft.com/office/drawing/2014/main" val="3106507590"/>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Folgen des vollständigen Verzichtes auf eine Pensionszusage </a:t>
                      </a:r>
                    </a:p>
                  </a:txBody>
                  <a:tcPr anchor="ctr">
                    <a:noFill/>
                  </a:tcPr>
                </a:tc>
                <a:extLst>
                  <a:ext uri="{0D108BD9-81ED-4DB2-BD59-A6C34878D82A}">
                    <a16:rowId xmlns:a16="http://schemas.microsoft.com/office/drawing/2014/main" val="541056519"/>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mögliche Lösung: </a:t>
                      </a:r>
                      <a:r>
                        <a:rPr lang="de-DE" sz="1800" b="0" dirty="0" err="1">
                          <a:solidFill>
                            <a:schemeClr val="tx1"/>
                          </a:solidFill>
                          <a:latin typeface="Segoe UI" panose="020B0502040204020203" pitchFamily="34" charset="0"/>
                          <a:cs typeface="Segoe UI" panose="020B0502040204020203" pitchFamily="34" charset="0"/>
                        </a:rPr>
                        <a:t>asset</a:t>
                      </a:r>
                      <a:r>
                        <a:rPr lang="de-DE" sz="1800" b="0" dirty="0">
                          <a:solidFill>
                            <a:schemeClr val="tx1"/>
                          </a:solidFill>
                          <a:latin typeface="Segoe UI" panose="020B0502040204020203" pitchFamily="34" charset="0"/>
                          <a:cs typeface="Segoe UI" panose="020B0502040204020203" pitchFamily="34" charset="0"/>
                        </a:rPr>
                        <a:t>-deal statt share-deal </a:t>
                      </a:r>
                    </a:p>
                  </a:txBody>
                  <a:tcPr anchor="ctr">
                    <a:noFill/>
                  </a:tcPr>
                </a:tc>
                <a:extLst>
                  <a:ext uri="{0D108BD9-81ED-4DB2-BD59-A6C34878D82A}">
                    <a16:rowId xmlns:a16="http://schemas.microsoft.com/office/drawing/2014/main" val="1873190663"/>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echte“ Auslagerung auf einen externen Versorgungsträger </a:t>
                      </a:r>
                    </a:p>
                  </a:txBody>
                  <a:tcPr anchor="ctr">
                    <a:noFill/>
                  </a:tcPr>
                </a:tc>
                <a:extLst>
                  <a:ext uri="{0D108BD9-81ED-4DB2-BD59-A6C34878D82A}">
                    <a16:rowId xmlns:a16="http://schemas.microsoft.com/office/drawing/2014/main" val="847646844"/>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Übertragung auf eine „Rentner-GmbH“ / „Holding-Struktur“ </a:t>
                      </a:r>
                    </a:p>
                  </a:txBody>
                  <a:tcPr anchor="ctr">
                    <a:solidFill>
                      <a:schemeClr val="bg1"/>
                    </a:solidFill>
                  </a:tcPr>
                </a:tc>
                <a:extLst>
                  <a:ext uri="{0D108BD9-81ED-4DB2-BD59-A6C34878D82A}">
                    <a16:rowId xmlns:a16="http://schemas.microsoft.com/office/drawing/2014/main" val="353730752"/>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Teilverzicht / Verzicht auf den „</a:t>
                      </a:r>
                      <a:r>
                        <a:rPr lang="de-DE" sz="1800" b="0" dirty="0" err="1">
                          <a:solidFill>
                            <a:schemeClr val="tx1"/>
                          </a:solidFill>
                          <a:latin typeface="Segoe UI" panose="020B0502040204020203" pitchFamily="34" charset="0"/>
                          <a:cs typeface="Segoe UI" panose="020B0502040204020203" pitchFamily="34" charset="0"/>
                        </a:rPr>
                        <a:t>future</a:t>
                      </a:r>
                      <a:r>
                        <a:rPr lang="de-DE" sz="1800" b="0" dirty="0">
                          <a:solidFill>
                            <a:schemeClr val="tx1"/>
                          </a:solidFill>
                          <a:latin typeface="Segoe UI" panose="020B0502040204020203" pitchFamily="34" charset="0"/>
                          <a:cs typeface="Segoe UI" panose="020B0502040204020203" pitchFamily="34" charset="0"/>
                        </a:rPr>
                        <a:t>-service“ </a:t>
                      </a:r>
                    </a:p>
                  </a:txBody>
                  <a:tcPr anchor="ctr">
                    <a:solidFill>
                      <a:schemeClr val="bg1"/>
                    </a:solidFill>
                  </a:tcPr>
                </a:tc>
                <a:extLst>
                  <a:ext uri="{0D108BD9-81ED-4DB2-BD59-A6C34878D82A}">
                    <a16:rowId xmlns:a16="http://schemas.microsoft.com/office/drawing/2014/main" val="3390285067"/>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Dringende Empfehlung: Vereinbarung der </a:t>
                      </a:r>
                      <a:r>
                        <a:rPr lang="de-DE" sz="1800" b="0" i="1" dirty="0">
                          <a:solidFill>
                            <a:schemeClr val="tx1"/>
                          </a:solidFill>
                          <a:latin typeface="Segoe UI" panose="020B0502040204020203" pitchFamily="34" charset="0"/>
                          <a:cs typeface="Segoe UI" panose="020B0502040204020203" pitchFamily="34" charset="0"/>
                        </a:rPr>
                        <a:t>Möglichkeit</a:t>
                      </a:r>
                      <a:r>
                        <a:rPr lang="de-DE" sz="1800" b="0" dirty="0">
                          <a:solidFill>
                            <a:schemeClr val="tx1"/>
                          </a:solidFill>
                          <a:latin typeface="Segoe UI" panose="020B0502040204020203" pitchFamily="34" charset="0"/>
                          <a:cs typeface="Segoe UI" panose="020B0502040204020203" pitchFamily="34" charset="0"/>
                        </a:rPr>
                        <a:t> einer einmaligen Kapitalabfindung </a:t>
                      </a:r>
                    </a:p>
                  </a:txBody>
                  <a:tcPr anchor="ctr">
                    <a:solidFill>
                      <a:schemeClr val="bg1"/>
                    </a:solidFill>
                  </a:tcPr>
                </a:tc>
                <a:extLst>
                  <a:ext uri="{0D108BD9-81ED-4DB2-BD59-A6C34878D82A}">
                    <a16:rowId xmlns:a16="http://schemas.microsoft.com/office/drawing/2014/main" val="2691783076"/>
                  </a:ext>
                </a:extLst>
              </a:tr>
            </a:tbl>
          </a:graphicData>
        </a:graphic>
      </p:graphicFrame>
    </p:spTree>
    <p:extLst>
      <p:ext uri="{BB962C8B-B14F-4D97-AF65-F5344CB8AC3E}">
        <p14:creationId xmlns:p14="http://schemas.microsoft.com/office/powerpoint/2010/main" val="225446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737854" y="2041411"/>
            <a:ext cx="3603956" cy="523220"/>
          </a:xfrm>
          <a:prstGeom prst="rect">
            <a:avLst/>
          </a:prstGeom>
          <a:noFill/>
        </p:spPr>
        <p:txBody>
          <a:bodyPr wrap="square" rtlCol="0">
            <a:spAutoFit/>
          </a:bodyPr>
          <a:lstStyle/>
          <a:p>
            <a:r>
              <a:rPr lang="en-US" sz="2800" b="1" dirty="0">
                <a:solidFill>
                  <a:schemeClr val="tx1">
                    <a:lumMod val="95000"/>
                    <a:lumOff val="5000"/>
                  </a:schemeClr>
                </a:solidFill>
                <a:latin typeface="Segoe UI" panose="020B0502040204020203" pitchFamily="34" charset="0"/>
                <a:ea typeface="Lato" charset="0"/>
                <a:cs typeface="Segoe UI" panose="020B0502040204020203" pitchFamily="34" charset="0"/>
              </a:rPr>
              <a:t>Sie </a:t>
            </a:r>
            <a:r>
              <a:rPr lang="en-US" sz="2800" b="1" dirty="0" err="1">
                <a:solidFill>
                  <a:schemeClr val="tx1">
                    <a:lumMod val="95000"/>
                    <a:lumOff val="5000"/>
                  </a:schemeClr>
                </a:solidFill>
                <a:latin typeface="Segoe UI" panose="020B0502040204020203" pitchFamily="34" charset="0"/>
                <a:ea typeface="Lato" charset="0"/>
                <a:cs typeface="Segoe UI" panose="020B0502040204020203" pitchFamily="34" charset="0"/>
              </a:rPr>
              <a:t>haben</a:t>
            </a:r>
            <a:r>
              <a:rPr lang="en-US" sz="2800" b="1" dirty="0">
                <a:solidFill>
                  <a:schemeClr val="tx1">
                    <a:lumMod val="95000"/>
                    <a:lumOff val="5000"/>
                  </a:schemeClr>
                </a:solidFill>
                <a:latin typeface="Segoe UI" panose="020B0502040204020203" pitchFamily="34" charset="0"/>
                <a:ea typeface="Lato" charset="0"/>
                <a:cs typeface="Segoe UI" panose="020B0502040204020203" pitchFamily="34" charset="0"/>
              </a:rPr>
              <a:t> </a:t>
            </a:r>
            <a:r>
              <a:rPr lang="en-US" sz="2800" b="1" dirty="0" err="1">
                <a:solidFill>
                  <a:schemeClr val="tx1">
                    <a:lumMod val="95000"/>
                    <a:lumOff val="5000"/>
                  </a:schemeClr>
                </a:solidFill>
                <a:latin typeface="Segoe UI" panose="020B0502040204020203" pitchFamily="34" charset="0"/>
                <a:ea typeface="Lato" charset="0"/>
                <a:cs typeface="Segoe UI" panose="020B0502040204020203" pitchFamily="34" charset="0"/>
              </a:rPr>
              <a:t>Fragen</a:t>
            </a:r>
            <a:r>
              <a:rPr lang="en-US" sz="2800" b="1" dirty="0">
                <a:solidFill>
                  <a:schemeClr val="tx1">
                    <a:lumMod val="95000"/>
                    <a:lumOff val="5000"/>
                  </a:schemeClr>
                </a:solidFill>
                <a:latin typeface="Segoe UI" panose="020B0502040204020203" pitchFamily="34" charset="0"/>
                <a:ea typeface="Lato" charset="0"/>
                <a:cs typeface="Segoe UI" panose="020B0502040204020203" pitchFamily="34" charset="0"/>
              </a:rPr>
              <a:t>?</a:t>
            </a:r>
          </a:p>
        </p:txBody>
      </p:sp>
      <p:sp>
        <p:nvSpPr>
          <p:cNvPr id="12" name="Textfeld 11">
            <a:extLst>
              <a:ext uri="{FF2B5EF4-FFF2-40B4-BE49-F238E27FC236}">
                <a16:creationId xmlns:a16="http://schemas.microsoft.com/office/drawing/2014/main" id="{AF7C844B-E1BA-E047-B454-CBDD8D3E9DF6}"/>
              </a:ext>
            </a:extLst>
          </p:cNvPr>
          <p:cNvSpPr txBox="1"/>
          <p:nvPr/>
        </p:nvSpPr>
        <p:spPr>
          <a:xfrm>
            <a:off x="2547695" y="2926653"/>
            <a:ext cx="3375777" cy="600164"/>
          </a:xfrm>
          <a:prstGeom prst="rect">
            <a:avLst/>
          </a:prstGeom>
          <a:noFill/>
        </p:spPr>
        <p:txBody>
          <a:bodyPr wrap="square" rtlCol="0">
            <a:spAutoFit/>
          </a:bodyPr>
          <a:lstStyle/>
          <a:p>
            <a:pPr>
              <a:lnSpc>
                <a:spcPct val="150000"/>
              </a:lnSpc>
            </a:pPr>
            <a:r>
              <a:rPr lang="de-DE" sz="1400" b="1" dirty="0">
                <a:latin typeface="Segoe UI Semibold" panose="020B0502040204020203" pitchFamily="34" charset="0"/>
                <a:cs typeface="Segoe UI Semibold" panose="020B0502040204020203" pitchFamily="34" charset="0"/>
              </a:rPr>
              <a:t>Dr. Lukas Karrenbrock</a:t>
            </a:r>
          </a:p>
          <a:p>
            <a:r>
              <a:rPr lang="en-US" sz="1200" dirty="0">
                <a:solidFill>
                  <a:schemeClr val="bg2">
                    <a:lumMod val="25000"/>
                  </a:schemeClr>
                </a:solidFill>
                <a:latin typeface="Lato" charset="0"/>
                <a:ea typeface="Lato" charset="0"/>
                <a:cs typeface="Lato" charset="0"/>
              </a:rPr>
              <a:t>Dipl. </a:t>
            </a:r>
            <a:r>
              <a:rPr lang="en-US" sz="1200" dirty="0" err="1">
                <a:solidFill>
                  <a:schemeClr val="bg2">
                    <a:lumMod val="25000"/>
                  </a:schemeClr>
                </a:solidFill>
                <a:latin typeface="Lato" charset="0"/>
                <a:ea typeface="Lato" charset="0"/>
                <a:cs typeface="Lato" charset="0"/>
              </a:rPr>
              <a:t>iur</a:t>
            </a:r>
            <a:r>
              <a:rPr lang="en-US" sz="1200" dirty="0">
                <a:solidFill>
                  <a:schemeClr val="bg2">
                    <a:lumMod val="25000"/>
                  </a:schemeClr>
                </a:solidFill>
                <a:latin typeface="Lato" charset="0"/>
                <a:ea typeface="Lato" charset="0"/>
                <a:cs typeface="Lato" charset="0"/>
              </a:rPr>
              <a:t>. </a:t>
            </a:r>
            <a:r>
              <a:rPr lang="en-US" sz="1200" dirty="0" err="1">
                <a:solidFill>
                  <a:schemeClr val="bg2">
                    <a:lumMod val="25000"/>
                  </a:schemeClr>
                </a:solidFill>
                <a:latin typeface="Lato" charset="0"/>
                <a:ea typeface="Lato" charset="0"/>
                <a:cs typeface="Lato" charset="0"/>
              </a:rPr>
              <a:t>oec</a:t>
            </a:r>
            <a:r>
              <a:rPr lang="en-US" sz="1200" dirty="0">
                <a:solidFill>
                  <a:schemeClr val="bg2">
                    <a:lumMod val="25000"/>
                  </a:schemeClr>
                </a:solidFill>
                <a:latin typeface="Lato" charset="0"/>
                <a:ea typeface="Lato" charset="0"/>
                <a:cs typeface="Lato" charset="0"/>
              </a:rPr>
              <a:t>. | </a:t>
            </a:r>
            <a:r>
              <a:rPr lang="en-US" sz="1200" dirty="0" err="1">
                <a:solidFill>
                  <a:schemeClr val="bg2">
                    <a:lumMod val="25000"/>
                  </a:schemeClr>
                </a:solidFill>
                <a:latin typeface="Lato" charset="0"/>
                <a:ea typeface="Lato" charset="0"/>
                <a:cs typeface="Lato" charset="0"/>
              </a:rPr>
              <a:t>StB</a:t>
            </a:r>
            <a:endParaRPr lang="en-US" sz="1200" dirty="0">
              <a:solidFill>
                <a:schemeClr val="bg2">
                  <a:lumMod val="25000"/>
                </a:schemeClr>
              </a:solidFill>
              <a:latin typeface="Lato" charset="0"/>
              <a:ea typeface="Lato" charset="0"/>
              <a:cs typeface="Lato" charset="0"/>
            </a:endParaRPr>
          </a:p>
        </p:txBody>
      </p:sp>
      <p:sp>
        <p:nvSpPr>
          <p:cNvPr id="14" name="Textfeld 13">
            <a:extLst>
              <a:ext uri="{FF2B5EF4-FFF2-40B4-BE49-F238E27FC236}">
                <a16:creationId xmlns:a16="http://schemas.microsoft.com/office/drawing/2014/main" id="{A9914185-334E-AB4F-A116-E9D1AAE6644E}"/>
              </a:ext>
            </a:extLst>
          </p:cNvPr>
          <p:cNvSpPr txBox="1"/>
          <p:nvPr/>
        </p:nvSpPr>
        <p:spPr>
          <a:xfrm>
            <a:off x="2547695" y="3755575"/>
            <a:ext cx="4381169" cy="923330"/>
          </a:xfrm>
          <a:prstGeom prst="rect">
            <a:avLst/>
          </a:prstGeom>
          <a:noFill/>
        </p:spPr>
        <p:txBody>
          <a:bodyPr wrap="square" rtlCol="0">
            <a:spAutoFit/>
          </a:bodyPr>
          <a:lstStyle/>
          <a:p>
            <a:pPr>
              <a:lnSpc>
                <a:spcPct val="150000"/>
              </a:lnSpc>
            </a:pPr>
            <a:r>
              <a:rPr lang="de-DE" sz="1200" b="1" dirty="0">
                <a:latin typeface="Segoe UI Semibold" panose="020B0502040204020203" pitchFamily="34" charset="0"/>
                <a:cs typeface="Segoe UI Semibold" panose="020B0502040204020203" pitchFamily="34" charset="0"/>
              </a:rPr>
              <a:t>Tel.:</a:t>
            </a:r>
            <a:r>
              <a:rPr lang="de-DE" sz="1200" dirty="0">
                <a:latin typeface="Segoe UI" panose="020B0502040204020203" pitchFamily="34" charset="0"/>
                <a:cs typeface="Segoe UI" panose="020B0502040204020203" pitchFamily="34" charset="0"/>
              </a:rPr>
              <a:t> 	0261 – 4066185</a:t>
            </a:r>
          </a:p>
          <a:p>
            <a:pPr>
              <a:lnSpc>
                <a:spcPct val="150000"/>
              </a:lnSpc>
            </a:pPr>
            <a:r>
              <a:rPr lang="de-DE" sz="1200" b="1" dirty="0">
                <a:latin typeface="Segoe UI Semibold" panose="020B0502040204020203" pitchFamily="34" charset="0"/>
                <a:cs typeface="Segoe UI Semibold" panose="020B0502040204020203" pitchFamily="34" charset="0"/>
              </a:rPr>
              <a:t>E-Mail:</a:t>
            </a:r>
            <a:r>
              <a:rPr lang="de-DE" sz="1200" dirty="0">
                <a:latin typeface="Segoe UI" panose="020B0502040204020203" pitchFamily="34" charset="0"/>
                <a:cs typeface="Segoe UI" panose="020B0502040204020203" pitchFamily="34" charset="0"/>
              </a:rPr>
              <a:t> 	lukas.karrenbrock@hlb-ddp.de</a:t>
            </a:r>
          </a:p>
          <a:p>
            <a:pPr>
              <a:lnSpc>
                <a:spcPct val="150000"/>
              </a:lnSpc>
            </a:pPr>
            <a:r>
              <a:rPr lang="de-DE" sz="1200" b="1" dirty="0">
                <a:latin typeface="Segoe UI Semibold" panose="020B0502040204020203" pitchFamily="34" charset="0"/>
                <a:cs typeface="Segoe UI Semibold" panose="020B0502040204020203" pitchFamily="34" charset="0"/>
              </a:rPr>
              <a:t>Web:</a:t>
            </a:r>
            <a:r>
              <a:rPr lang="de-DE" sz="1200" dirty="0">
                <a:latin typeface="Segoe UI" panose="020B0502040204020203" pitchFamily="34" charset="0"/>
                <a:cs typeface="Segoe UI" panose="020B0502040204020203" pitchFamily="34" charset="0"/>
              </a:rPr>
              <a:t>	</a:t>
            </a:r>
            <a:r>
              <a:rPr lang="de-DE" sz="1200" dirty="0" err="1">
                <a:latin typeface="Segoe UI" panose="020B0502040204020203" pitchFamily="34" charset="0"/>
                <a:cs typeface="Segoe UI" panose="020B0502040204020203" pitchFamily="34" charset="0"/>
              </a:rPr>
              <a:t>www.hlb-ddp.de</a:t>
            </a:r>
            <a:endParaRPr lang="de-DE" sz="1200" dirty="0">
              <a:latin typeface="Segoe UI" panose="020B0502040204020203" pitchFamily="34" charset="0"/>
              <a:cs typeface="Segoe UI" panose="020B0502040204020203" pitchFamily="34" charset="0"/>
            </a:endParaRPr>
          </a:p>
        </p:txBody>
      </p:sp>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6883" y="5158420"/>
            <a:ext cx="3011837" cy="858295"/>
          </a:xfrm>
          <a:prstGeom prst="rect">
            <a:avLst/>
          </a:prstGeom>
        </p:spPr>
      </p:pic>
      <p:pic>
        <p:nvPicPr>
          <p:cNvPr id="13" name="Bildplatzhalter 1"/>
          <p:cNvPicPr>
            <a:picLocks noChangeAspect="1"/>
          </p:cNvPicPr>
          <p:nvPr/>
        </p:nvPicPr>
        <p:blipFill rotWithShape="1">
          <a:blip r:embed="rId4" cstate="print">
            <a:extLst>
              <a:ext uri="{28A0092B-C50C-407E-A947-70E740481C1C}">
                <a14:useLocalDpi xmlns:a14="http://schemas.microsoft.com/office/drawing/2010/main" val="0"/>
              </a:ext>
            </a:extLst>
          </a:blip>
          <a:srcRect l="23495" r="23754"/>
          <a:stretch/>
        </p:blipFill>
        <p:spPr>
          <a:xfrm>
            <a:off x="6830291" y="0"/>
            <a:ext cx="5361709" cy="6858000"/>
          </a:xfrm>
          <a:prstGeom prst="rect">
            <a:avLst/>
          </a:prstGeom>
        </p:spPr>
      </p:pic>
      <p:pic>
        <p:nvPicPr>
          <p:cNvPr id="11" name="Bildplatzhalter 3"/>
          <p:cNvPicPr>
            <a:picLocks noGrp="1" noChangeAspect="1"/>
          </p:cNvPicPr>
          <p:nvPr>
            <p:ph type="pic" sz="quarter" idx="4294967295"/>
          </p:nvPr>
        </p:nvPicPr>
        <p:blipFill rotWithShape="1">
          <a:blip r:embed="rId5" cstate="print">
            <a:extLst>
              <a:ext uri="{28A0092B-C50C-407E-A947-70E740481C1C}">
                <a14:useLocalDpi xmlns:a14="http://schemas.microsoft.com/office/drawing/2010/main" val="0"/>
              </a:ext>
            </a:extLst>
          </a:blip>
          <a:srcRect l="12080" r="37097"/>
          <a:stretch/>
        </p:blipFill>
        <p:spPr>
          <a:xfrm>
            <a:off x="816435" y="2856087"/>
            <a:ext cx="1635190" cy="2010877"/>
          </a:xfrm>
          <a:prstGeom prst="rect">
            <a:avLst/>
          </a:prstGeom>
        </p:spPr>
      </p:pic>
      <p:pic>
        <p:nvPicPr>
          <p:cNvPr id="10" name="Grafik 9">
            <a:extLst>
              <a:ext uri="{FF2B5EF4-FFF2-40B4-BE49-F238E27FC236}">
                <a16:creationId xmlns:a16="http://schemas.microsoft.com/office/drawing/2014/main" id="{25C4FBD6-E41D-42EA-A249-065B47B11473}"/>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010504" y="321332"/>
            <a:ext cx="1054495" cy="611541"/>
          </a:xfrm>
          <a:prstGeom prst="rect">
            <a:avLst/>
          </a:prstGeom>
        </p:spPr>
      </p:pic>
      <p:pic>
        <p:nvPicPr>
          <p:cNvPr id="1026" name="Picture 2">
            <a:extLst>
              <a:ext uri="{FF2B5EF4-FFF2-40B4-BE49-F238E27FC236}">
                <a16:creationId xmlns:a16="http://schemas.microsoft.com/office/drawing/2014/main" id="{21E5250B-48D4-D250-0A22-72880F5F668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26433" y="5162239"/>
            <a:ext cx="855663" cy="854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3452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2" grpId="0"/>
      <p:bldP spid="1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372E1E-0E06-02F8-5A10-57595AAF33EB}"/>
            </a:ext>
          </a:extLst>
        </p:cNvPr>
        <p:cNvGrpSpPr/>
        <p:nvPr/>
      </p:nvGrpSpPr>
      <p:grpSpPr>
        <a:xfrm>
          <a:off x="0" y="0"/>
          <a:ext cx="0" cy="0"/>
          <a:chOff x="0" y="0"/>
          <a:chExt cx="0" cy="0"/>
        </a:xfrm>
      </p:grpSpPr>
      <p:sp>
        <p:nvSpPr>
          <p:cNvPr id="85" name="TextBox 1">
            <a:extLst>
              <a:ext uri="{FF2B5EF4-FFF2-40B4-BE49-F238E27FC236}">
                <a16:creationId xmlns:a16="http://schemas.microsoft.com/office/drawing/2014/main" id="{D843828A-3193-E6F7-4930-46E4D567E18E}"/>
              </a:ext>
            </a:extLst>
          </p:cNvPr>
          <p:cNvSpPr txBox="1"/>
          <p:nvPr/>
        </p:nvSpPr>
        <p:spPr>
          <a:xfrm>
            <a:off x="1433979" y="1084202"/>
            <a:ext cx="9087597" cy="1077218"/>
          </a:xfrm>
          <a:prstGeom prst="rect">
            <a:avLst/>
          </a:prstGeom>
          <a:noFill/>
        </p:spPr>
        <p:txBody>
          <a:bodyPr wrap="square" rtlCol="0">
            <a:spAutoFit/>
          </a:bodyPr>
          <a:lstStyle/>
          <a:p>
            <a:pPr algn="ct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Bedeut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von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Pensionszusagen</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beim</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Unternehmensverkauf</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p>
        </p:txBody>
      </p:sp>
      <p:sp>
        <p:nvSpPr>
          <p:cNvPr id="79" name="Foliennummernplatzhalter 2">
            <a:extLst>
              <a:ext uri="{FF2B5EF4-FFF2-40B4-BE49-F238E27FC236}">
                <a16:creationId xmlns:a16="http://schemas.microsoft.com/office/drawing/2014/main" id="{A16EDA1F-68D2-1317-BCF3-8DA8B982E19C}"/>
              </a:ext>
            </a:extLst>
          </p:cNvPr>
          <p:cNvSpPr txBox="1">
            <a:spLocks/>
          </p:cNvSpPr>
          <p:nvPr/>
        </p:nvSpPr>
        <p:spPr>
          <a:xfrm>
            <a:off x="1666096" y="7110490"/>
            <a:ext cx="283900" cy="151200"/>
          </a:xfrm>
          <a:prstGeom prst="rect">
            <a:avLst/>
          </a:prstGeom>
        </p:spPr>
        <p:txBody>
          <a:bodyPr vert="horz" wrap="none" lIns="91440" tIns="45720" rIns="0" bIns="45720" rtlCol="0" anchor="ctr"/>
          <a:lstStyle>
            <a:defPPr>
              <a:defRPr lang="de-DE"/>
            </a:defPPr>
            <a:lvl1pPr algn="l" rtl="0" fontAlgn="base">
              <a:lnSpc>
                <a:spcPct val="90000"/>
              </a:lnSpc>
              <a:spcBef>
                <a:spcPct val="0"/>
              </a:spcBef>
              <a:spcAft>
                <a:spcPct val="0"/>
              </a:spcAft>
              <a:defRPr sz="900" kern="1200">
                <a:solidFill>
                  <a:schemeClr val="tx1"/>
                </a:solidFill>
                <a:latin typeface="Arial" panose="020B0604020202020204" pitchFamily="34" charset="0"/>
                <a:ea typeface="+mn-ea"/>
                <a:cs typeface="+mn-cs"/>
              </a:defRPr>
            </a:lvl1pPr>
            <a:lvl2pPr marL="457200" algn="l" rtl="0" fontAlgn="base">
              <a:lnSpc>
                <a:spcPct val="90000"/>
              </a:lnSpc>
              <a:spcBef>
                <a:spcPct val="0"/>
              </a:spcBef>
              <a:spcAft>
                <a:spcPct val="0"/>
              </a:spcAft>
              <a:defRPr sz="1400" kern="1200">
                <a:solidFill>
                  <a:schemeClr val="tx1"/>
                </a:solidFill>
                <a:latin typeface="Arial" charset="0"/>
                <a:ea typeface="+mn-ea"/>
                <a:cs typeface="+mn-cs"/>
              </a:defRPr>
            </a:lvl2pPr>
            <a:lvl3pPr marL="914400" algn="l" rtl="0" fontAlgn="base">
              <a:lnSpc>
                <a:spcPct val="90000"/>
              </a:lnSpc>
              <a:spcBef>
                <a:spcPct val="0"/>
              </a:spcBef>
              <a:spcAft>
                <a:spcPct val="0"/>
              </a:spcAft>
              <a:defRPr sz="1400" kern="1200">
                <a:solidFill>
                  <a:schemeClr val="tx1"/>
                </a:solidFill>
                <a:latin typeface="Arial" charset="0"/>
                <a:ea typeface="+mn-ea"/>
                <a:cs typeface="+mn-cs"/>
              </a:defRPr>
            </a:lvl3pPr>
            <a:lvl4pPr marL="1371600" algn="l" rtl="0" fontAlgn="base">
              <a:lnSpc>
                <a:spcPct val="90000"/>
              </a:lnSpc>
              <a:spcBef>
                <a:spcPct val="0"/>
              </a:spcBef>
              <a:spcAft>
                <a:spcPct val="0"/>
              </a:spcAft>
              <a:defRPr sz="1400" kern="1200">
                <a:solidFill>
                  <a:schemeClr val="tx1"/>
                </a:solidFill>
                <a:latin typeface="Arial" charset="0"/>
                <a:ea typeface="+mn-ea"/>
                <a:cs typeface="+mn-cs"/>
              </a:defRPr>
            </a:lvl4pPr>
            <a:lvl5pPr marL="1828800" algn="l" rtl="0" fontAlgn="base">
              <a:lnSpc>
                <a:spcPct val="90000"/>
              </a:lnSpc>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de-DE" sz="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1" name="7 CuadroTexto">
            <a:extLst>
              <a:ext uri="{FF2B5EF4-FFF2-40B4-BE49-F238E27FC236}">
                <a16:creationId xmlns:a16="http://schemas.microsoft.com/office/drawing/2014/main" id="{9BD6B2F3-EA7A-7892-AE7B-5FDF99B14A9E}"/>
              </a:ext>
            </a:extLst>
          </p:cNvPr>
          <p:cNvSpPr txBox="1"/>
          <p:nvPr/>
        </p:nvSpPr>
        <p:spPr>
          <a:xfrm>
            <a:off x="1487314" y="2879367"/>
            <a:ext cx="8647285" cy="4114844"/>
          </a:xfrm>
          <a:prstGeom prst="rect">
            <a:avLst/>
          </a:prstGeom>
          <a:noFill/>
        </p:spPr>
        <p:txBody>
          <a:bodyPr wrap="square">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r>
              <a:rPr lang="de-DE" dirty="0" err="1">
                <a:latin typeface="Segoe UI" panose="020B0502040204020203" pitchFamily="34" charset="0"/>
                <a:cs typeface="Segoe UI" panose="020B0502040204020203" pitchFamily="34" charset="0"/>
              </a:rPr>
              <a:t>Versorgungszuage</a:t>
            </a:r>
            <a:r>
              <a:rPr lang="de-DE" dirty="0">
                <a:latin typeface="Segoe UI" panose="020B0502040204020203" pitchFamily="34" charset="0"/>
                <a:cs typeface="Segoe UI" panose="020B0502040204020203" pitchFamily="34" charset="0"/>
              </a:rPr>
              <a:t> als wesentliche Säule der </a:t>
            </a:r>
            <a:r>
              <a:rPr lang="de-DE" dirty="0" err="1">
                <a:latin typeface="Segoe UI" panose="020B0502040204020203" pitchFamily="34" charset="0"/>
                <a:cs typeface="Segoe UI" panose="020B0502040204020203" pitchFamily="34" charset="0"/>
              </a:rPr>
              <a:t>Altersversorung</a:t>
            </a:r>
            <a:r>
              <a:rPr lang="de-DE" dirty="0">
                <a:latin typeface="Segoe UI" panose="020B0502040204020203" pitchFamily="34" charset="0"/>
                <a:cs typeface="Segoe UI" panose="020B0502040204020203" pitchFamily="34" charset="0"/>
              </a:rPr>
              <a:t> des Verkäufers </a:t>
            </a:r>
          </a:p>
          <a:p>
            <a:pPr marL="285750" indent="-285750">
              <a:lnSpc>
                <a:spcPct val="150000"/>
              </a:lnSpc>
              <a:buFont typeface="Arial" panose="020B0604020202020204" pitchFamily="34" charset="0"/>
              <a:buChar char="•"/>
            </a:pPr>
            <a:r>
              <a:rPr lang="de-DE" dirty="0">
                <a:latin typeface="Segoe UI" panose="020B0502040204020203" pitchFamily="34" charset="0"/>
                <a:cs typeface="Segoe UI" panose="020B0502040204020203" pitchFamily="34" charset="0"/>
              </a:rPr>
              <a:t>Erwerber kalkuliert Pensionsverpflichtung im „</a:t>
            </a:r>
            <a:r>
              <a:rPr lang="de-DE" dirty="0" err="1">
                <a:latin typeface="Segoe UI" panose="020B0502040204020203" pitchFamily="34" charset="0"/>
                <a:cs typeface="Segoe UI" panose="020B0502040204020203" pitchFamily="34" charset="0"/>
              </a:rPr>
              <a:t>worst-case-Szenario</a:t>
            </a:r>
            <a:r>
              <a:rPr lang="de-DE" dirty="0">
                <a:latin typeface="Segoe UI" panose="020B0502040204020203" pitchFamily="34" charset="0"/>
                <a:cs typeface="Segoe UI" panose="020B0502040204020203" pitchFamily="34" charset="0"/>
              </a:rPr>
              <a:t>“ („Langlebigkeitsrisiko“ / „Witwenversorgung“) </a:t>
            </a:r>
          </a:p>
          <a:p>
            <a:pPr marL="285750" indent="-285750">
              <a:lnSpc>
                <a:spcPct val="150000"/>
              </a:lnSpc>
              <a:buFont typeface="Arial" panose="020B0604020202020204" pitchFamily="34" charset="0"/>
              <a:buChar char="•"/>
            </a:pPr>
            <a:r>
              <a:rPr lang="de-DE" dirty="0">
                <a:latin typeface="Segoe UI" panose="020B0502040204020203" pitchFamily="34" charset="0"/>
                <a:cs typeface="Segoe UI" panose="020B0502040204020203" pitchFamily="34" charset="0"/>
              </a:rPr>
              <a:t>Pensionszusagen sind in der Vergangenheit deutlich teurer geworden </a:t>
            </a:r>
          </a:p>
          <a:p>
            <a:pPr marL="285750" indent="-285750">
              <a:lnSpc>
                <a:spcPct val="150000"/>
              </a:lnSpc>
              <a:buFont typeface="Arial" panose="020B0604020202020204" pitchFamily="34" charset="0"/>
              <a:buChar char="•"/>
            </a:pPr>
            <a:r>
              <a:rPr lang="de-DE" dirty="0">
                <a:latin typeface="Segoe UI" panose="020B0502040204020203" pitchFamily="34" charset="0"/>
                <a:cs typeface="Segoe UI" panose="020B0502040204020203" pitchFamily="34" charset="0"/>
              </a:rPr>
              <a:t>Pensionsrückstellung häufig eine der größten Bilanzpositionen  </a:t>
            </a:r>
          </a:p>
          <a:p>
            <a:pPr marL="285750" indent="-285750">
              <a:lnSpc>
                <a:spcPct val="150000"/>
              </a:lnSpc>
              <a:buFont typeface="Arial" panose="020B0604020202020204" pitchFamily="34" charset="0"/>
              <a:buChar char="•"/>
            </a:pPr>
            <a:r>
              <a:rPr lang="de-DE" dirty="0">
                <a:latin typeface="Segoe UI" panose="020B0502040204020203" pitchFamily="34" charset="0"/>
                <a:cs typeface="Segoe UI" panose="020B0502040204020203" pitchFamily="34" charset="0"/>
              </a:rPr>
              <a:t>Im Mittelstand i.d.R. keine Unternehmensübertragung unter Beibehaltung der Pensionszusage gegenüber dem Gesellschafter-Geschäftsführer </a:t>
            </a:r>
          </a:p>
          <a:p>
            <a:pPr marL="285750" indent="-285750">
              <a:lnSpc>
                <a:spcPct val="150000"/>
              </a:lnSpc>
              <a:buFont typeface="Arial" panose="020B0604020202020204" pitchFamily="34" charset="0"/>
              <a:buChar char="•"/>
            </a:pPr>
            <a:r>
              <a:rPr lang="de-DE" dirty="0">
                <a:latin typeface="Segoe UI" panose="020B0502040204020203" pitchFamily="34" charset="0"/>
                <a:cs typeface="Segoe UI" panose="020B0502040204020203" pitchFamily="34" charset="0"/>
              </a:rPr>
              <a:t>Verkauf mit Pensionszusage nur mit großen Bewertungsabschlägen möglich </a:t>
            </a:r>
          </a:p>
          <a:p>
            <a:pPr marL="285750" indent="-285750">
              <a:lnSpc>
                <a:spcPct val="150000"/>
              </a:lnSpc>
              <a:buFont typeface="Arial" panose="020B0604020202020204" pitchFamily="34" charset="0"/>
              <a:buChar char="•"/>
            </a:pPr>
            <a:endParaRPr lang="de-DE" dirty="0">
              <a:latin typeface="Segoe UI" panose="020B0502040204020203" pitchFamily="34" charset="0"/>
              <a:cs typeface="Segoe UI" panose="020B0502040204020203" pitchFamily="34" charset="0"/>
            </a:endParaRPr>
          </a:p>
          <a:p>
            <a:pPr marL="285750" indent="-285750">
              <a:lnSpc>
                <a:spcPct val="150000"/>
              </a:lnSpc>
              <a:buFont typeface="Arial" panose="020B0604020202020204" pitchFamily="34" charset="0"/>
              <a:buChar char="•"/>
            </a:pPr>
            <a:endParaRPr lang="de-DE" sz="1400" dirty="0">
              <a:solidFill>
                <a:schemeClr val="accent6">
                  <a:lumMod val="7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4885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
                                            <p:txEl>
                                              <p:pRg st="0" end="0"/>
                                            </p:txEl>
                                          </p:spTgt>
                                        </p:tgtEl>
                                        <p:attrNameLst>
                                          <p:attrName>style.visibility</p:attrName>
                                        </p:attrNameLst>
                                      </p:cBhvr>
                                      <p:to>
                                        <p:strVal val="visible"/>
                                      </p:to>
                                    </p:set>
                                    <p:animEffect transition="in" filter="fade">
                                      <p:cBhvr>
                                        <p:cTn id="7" dur="500"/>
                                        <p:tgtEl>
                                          <p:spTgt spid="5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1">
                                            <p:txEl>
                                              <p:pRg st="1" end="1"/>
                                            </p:txEl>
                                          </p:spTgt>
                                        </p:tgtEl>
                                        <p:attrNameLst>
                                          <p:attrName>style.visibility</p:attrName>
                                        </p:attrNameLst>
                                      </p:cBhvr>
                                      <p:to>
                                        <p:strVal val="visible"/>
                                      </p:to>
                                    </p:set>
                                    <p:animEffect transition="in" filter="fade">
                                      <p:cBhvr>
                                        <p:cTn id="12" dur="500"/>
                                        <p:tgtEl>
                                          <p:spTgt spid="5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1">
                                            <p:txEl>
                                              <p:pRg st="2" end="2"/>
                                            </p:txEl>
                                          </p:spTgt>
                                        </p:tgtEl>
                                        <p:attrNameLst>
                                          <p:attrName>style.visibility</p:attrName>
                                        </p:attrNameLst>
                                      </p:cBhvr>
                                      <p:to>
                                        <p:strVal val="visible"/>
                                      </p:to>
                                    </p:set>
                                    <p:animEffect transition="in" filter="fade">
                                      <p:cBhvr>
                                        <p:cTn id="17" dur="500"/>
                                        <p:tgtEl>
                                          <p:spTgt spid="5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1">
                                            <p:txEl>
                                              <p:pRg st="3" end="3"/>
                                            </p:txEl>
                                          </p:spTgt>
                                        </p:tgtEl>
                                        <p:attrNameLst>
                                          <p:attrName>style.visibility</p:attrName>
                                        </p:attrNameLst>
                                      </p:cBhvr>
                                      <p:to>
                                        <p:strVal val="visible"/>
                                      </p:to>
                                    </p:set>
                                    <p:animEffect transition="in" filter="fade">
                                      <p:cBhvr>
                                        <p:cTn id="22" dur="500"/>
                                        <p:tgtEl>
                                          <p:spTgt spid="5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1">
                                            <p:txEl>
                                              <p:pRg st="4" end="4"/>
                                            </p:txEl>
                                          </p:spTgt>
                                        </p:tgtEl>
                                        <p:attrNameLst>
                                          <p:attrName>style.visibility</p:attrName>
                                        </p:attrNameLst>
                                      </p:cBhvr>
                                      <p:to>
                                        <p:strVal val="visible"/>
                                      </p:to>
                                    </p:set>
                                    <p:animEffect transition="in" filter="fade">
                                      <p:cBhvr>
                                        <p:cTn id="27" dur="500"/>
                                        <p:tgtEl>
                                          <p:spTgt spid="51">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1">
                                            <p:txEl>
                                              <p:pRg st="5" end="5"/>
                                            </p:txEl>
                                          </p:spTgt>
                                        </p:tgtEl>
                                        <p:attrNameLst>
                                          <p:attrName>style.visibility</p:attrName>
                                        </p:attrNameLst>
                                      </p:cBhvr>
                                      <p:to>
                                        <p:strVal val="visible"/>
                                      </p:to>
                                    </p:set>
                                    <p:animEffect transition="in" filter="fade">
                                      <p:cBhvr>
                                        <p:cTn id="32" dur="500"/>
                                        <p:tgtEl>
                                          <p:spTgt spid="51">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40801-DC8F-485C-B34B-A94F0EEFD759}"/>
            </a:ext>
          </a:extLst>
        </p:cNvPr>
        <p:cNvGrpSpPr/>
        <p:nvPr/>
      </p:nvGrpSpPr>
      <p:grpSpPr>
        <a:xfrm>
          <a:off x="0" y="0"/>
          <a:ext cx="0" cy="0"/>
          <a:chOff x="0" y="0"/>
          <a:chExt cx="0" cy="0"/>
        </a:xfrm>
      </p:grpSpPr>
      <p:sp>
        <p:nvSpPr>
          <p:cNvPr id="6" name="TextBox 18">
            <a:extLst>
              <a:ext uri="{FF2B5EF4-FFF2-40B4-BE49-F238E27FC236}">
                <a16:creationId xmlns:a16="http://schemas.microsoft.com/office/drawing/2014/main" id="{885957D7-1DE8-3B70-126E-099A6C4A688D}"/>
              </a:ext>
            </a:extLst>
          </p:cNvPr>
          <p:cNvSpPr txBox="1"/>
          <p:nvPr/>
        </p:nvSpPr>
        <p:spPr>
          <a:xfrm>
            <a:off x="896416" y="1021332"/>
            <a:ext cx="5513909" cy="584775"/>
          </a:xfrm>
          <a:prstGeom prst="rect">
            <a:avLst/>
          </a:prstGeom>
          <a:noFill/>
        </p:spPr>
        <p:txBody>
          <a:bodyPr wrap="square" rtlCol="0">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Agenda</a:t>
            </a:r>
          </a:p>
        </p:txBody>
      </p:sp>
      <p:graphicFrame>
        <p:nvGraphicFramePr>
          <p:cNvPr id="8" name="OT_AgendaTable">
            <a:extLst>
              <a:ext uri="{FF2B5EF4-FFF2-40B4-BE49-F238E27FC236}">
                <a16:creationId xmlns:a16="http://schemas.microsoft.com/office/drawing/2014/main" id="{04C9AE58-5984-8424-A803-8DC739F92088}"/>
              </a:ext>
            </a:extLst>
          </p:cNvPr>
          <p:cNvGraphicFramePr>
            <a:graphicFrameLocks noGrp="1"/>
          </p:cNvGraphicFramePr>
          <p:nvPr>
            <p:custDataLst>
              <p:tags r:id="rId1"/>
            </p:custDataLst>
            <p:extLst>
              <p:ext uri="{D42A27DB-BD31-4B8C-83A1-F6EECF244321}">
                <p14:modId xmlns:p14="http://schemas.microsoft.com/office/powerpoint/2010/main" val="465606252"/>
              </p:ext>
            </p:extLst>
          </p:nvPr>
        </p:nvGraphicFramePr>
        <p:xfrm>
          <a:off x="909551" y="1923728"/>
          <a:ext cx="9907131" cy="3386664"/>
        </p:xfrm>
        <a:graphic>
          <a:graphicData uri="http://schemas.openxmlformats.org/drawingml/2006/table">
            <a:tbl>
              <a:tblPr firstRow="1" bandRow="1">
                <a:tableStyleId>{2D5ABB26-0587-4C30-8999-92F81FD0307C}</a:tableStyleId>
              </a:tblPr>
              <a:tblGrid>
                <a:gridCol w="9907131">
                  <a:extLst>
                    <a:ext uri="{9D8B030D-6E8A-4147-A177-3AD203B41FA5}">
                      <a16:colId xmlns:a16="http://schemas.microsoft.com/office/drawing/2014/main" val="3315970368"/>
                    </a:ext>
                  </a:extLst>
                </a:gridCol>
              </a:tblGrid>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kern="1200" dirty="0">
                          <a:solidFill>
                            <a:schemeClr val="tx1"/>
                          </a:solidFill>
                          <a:latin typeface="Segoe UI" panose="020B0502040204020203" pitchFamily="34" charset="0"/>
                          <a:ea typeface="+mn-ea"/>
                          <a:cs typeface="Segoe UI" panose="020B0502040204020203" pitchFamily="34" charset="0"/>
                        </a:rPr>
                        <a:t>Bedeutung von Pensionszusagen beim Unternehmensverkauf </a:t>
                      </a:r>
                    </a:p>
                  </a:txBody>
                  <a:tcPr anchor="ctr">
                    <a:noFill/>
                  </a:tcPr>
                </a:tc>
                <a:extLst>
                  <a:ext uri="{0D108BD9-81ED-4DB2-BD59-A6C34878D82A}">
                    <a16:rowId xmlns:a16="http://schemas.microsoft.com/office/drawing/2014/main" val="3130548413"/>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1" dirty="0">
                          <a:solidFill>
                            <a:schemeClr val="tx1"/>
                          </a:solidFill>
                          <a:latin typeface="Segoe UI" panose="020B0502040204020203" pitchFamily="34" charset="0"/>
                          <a:cs typeface="Segoe UI" panose="020B0502040204020203" pitchFamily="34" charset="0"/>
                        </a:rPr>
                        <a:t>Die „richtige“ Bewertung der Pensionsverpflichtung </a:t>
                      </a:r>
                    </a:p>
                  </a:txBody>
                  <a:tcPr anchor="ctr">
                    <a:solidFill>
                      <a:srgbClr val="FBBA00"/>
                    </a:solidFill>
                  </a:tcPr>
                </a:tc>
                <a:extLst>
                  <a:ext uri="{0D108BD9-81ED-4DB2-BD59-A6C34878D82A}">
                    <a16:rowId xmlns:a16="http://schemas.microsoft.com/office/drawing/2014/main" val="3106507590"/>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Folgen des vollständigen Verzichtes auf eine Pensionszusage </a:t>
                      </a:r>
                    </a:p>
                  </a:txBody>
                  <a:tcPr anchor="ctr">
                    <a:noFill/>
                  </a:tcPr>
                </a:tc>
                <a:extLst>
                  <a:ext uri="{0D108BD9-81ED-4DB2-BD59-A6C34878D82A}">
                    <a16:rowId xmlns:a16="http://schemas.microsoft.com/office/drawing/2014/main" val="541056519"/>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mögliche Lösung: </a:t>
                      </a:r>
                      <a:r>
                        <a:rPr lang="de-DE" sz="1800" b="0" dirty="0" err="1">
                          <a:solidFill>
                            <a:schemeClr val="tx1"/>
                          </a:solidFill>
                          <a:latin typeface="Segoe UI" panose="020B0502040204020203" pitchFamily="34" charset="0"/>
                          <a:cs typeface="Segoe UI" panose="020B0502040204020203" pitchFamily="34" charset="0"/>
                        </a:rPr>
                        <a:t>asset</a:t>
                      </a:r>
                      <a:r>
                        <a:rPr lang="de-DE" sz="1800" b="0" dirty="0">
                          <a:solidFill>
                            <a:schemeClr val="tx1"/>
                          </a:solidFill>
                          <a:latin typeface="Segoe UI" panose="020B0502040204020203" pitchFamily="34" charset="0"/>
                          <a:cs typeface="Segoe UI" panose="020B0502040204020203" pitchFamily="34" charset="0"/>
                        </a:rPr>
                        <a:t>-deal statt share-deal </a:t>
                      </a:r>
                    </a:p>
                  </a:txBody>
                  <a:tcPr anchor="ctr">
                    <a:noFill/>
                  </a:tcPr>
                </a:tc>
                <a:extLst>
                  <a:ext uri="{0D108BD9-81ED-4DB2-BD59-A6C34878D82A}">
                    <a16:rowId xmlns:a16="http://schemas.microsoft.com/office/drawing/2014/main" val="1873190663"/>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echte“ Auslagerung auf einen externen Versorgungsträger </a:t>
                      </a:r>
                    </a:p>
                  </a:txBody>
                  <a:tcPr anchor="ctr">
                    <a:noFill/>
                  </a:tcPr>
                </a:tc>
                <a:extLst>
                  <a:ext uri="{0D108BD9-81ED-4DB2-BD59-A6C34878D82A}">
                    <a16:rowId xmlns:a16="http://schemas.microsoft.com/office/drawing/2014/main" val="847646844"/>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Übertragung auf eine „Rentner-GmbH“ / „Holding-Struktur“ </a:t>
                      </a:r>
                    </a:p>
                  </a:txBody>
                  <a:tcPr anchor="ctr">
                    <a:solidFill>
                      <a:schemeClr val="bg1"/>
                    </a:solidFill>
                  </a:tcPr>
                </a:tc>
                <a:extLst>
                  <a:ext uri="{0D108BD9-81ED-4DB2-BD59-A6C34878D82A}">
                    <a16:rowId xmlns:a16="http://schemas.microsoft.com/office/drawing/2014/main" val="353730752"/>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Teilverzicht / Verzicht auf den „</a:t>
                      </a:r>
                      <a:r>
                        <a:rPr lang="de-DE" sz="1800" b="0" dirty="0" err="1">
                          <a:solidFill>
                            <a:schemeClr val="tx1"/>
                          </a:solidFill>
                          <a:latin typeface="Segoe UI" panose="020B0502040204020203" pitchFamily="34" charset="0"/>
                          <a:cs typeface="Segoe UI" panose="020B0502040204020203" pitchFamily="34" charset="0"/>
                        </a:rPr>
                        <a:t>future</a:t>
                      </a:r>
                      <a:r>
                        <a:rPr lang="de-DE" sz="1800" b="0" dirty="0">
                          <a:solidFill>
                            <a:schemeClr val="tx1"/>
                          </a:solidFill>
                          <a:latin typeface="Segoe UI" panose="020B0502040204020203" pitchFamily="34" charset="0"/>
                          <a:cs typeface="Segoe UI" panose="020B0502040204020203" pitchFamily="34" charset="0"/>
                        </a:rPr>
                        <a:t>-service“ </a:t>
                      </a:r>
                    </a:p>
                  </a:txBody>
                  <a:tcPr anchor="ctr">
                    <a:solidFill>
                      <a:schemeClr val="bg1"/>
                    </a:solidFill>
                  </a:tcPr>
                </a:tc>
                <a:extLst>
                  <a:ext uri="{0D108BD9-81ED-4DB2-BD59-A6C34878D82A}">
                    <a16:rowId xmlns:a16="http://schemas.microsoft.com/office/drawing/2014/main" val="3390285067"/>
                  </a:ext>
                </a:extLst>
              </a:tr>
              <a:tr h="423333">
                <a:tc>
                  <a:txBody>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800" b="0" dirty="0">
                          <a:solidFill>
                            <a:schemeClr val="tx1"/>
                          </a:solidFill>
                          <a:latin typeface="Segoe UI" panose="020B0502040204020203" pitchFamily="34" charset="0"/>
                          <a:cs typeface="Segoe UI" panose="020B0502040204020203" pitchFamily="34" charset="0"/>
                        </a:rPr>
                        <a:t>Dringende Empfehlung: Vereinbarung der </a:t>
                      </a:r>
                      <a:r>
                        <a:rPr lang="de-DE" sz="1800" b="0" i="1" dirty="0">
                          <a:solidFill>
                            <a:schemeClr val="tx1"/>
                          </a:solidFill>
                          <a:latin typeface="Segoe UI" panose="020B0502040204020203" pitchFamily="34" charset="0"/>
                          <a:cs typeface="Segoe UI" panose="020B0502040204020203" pitchFamily="34" charset="0"/>
                        </a:rPr>
                        <a:t>Möglichkeit</a:t>
                      </a:r>
                      <a:r>
                        <a:rPr lang="de-DE" sz="1800" b="0" dirty="0">
                          <a:solidFill>
                            <a:schemeClr val="tx1"/>
                          </a:solidFill>
                          <a:latin typeface="Segoe UI" panose="020B0502040204020203" pitchFamily="34" charset="0"/>
                          <a:cs typeface="Segoe UI" panose="020B0502040204020203" pitchFamily="34" charset="0"/>
                        </a:rPr>
                        <a:t> einer einmaligen Kapitalabfindung </a:t>
                      </a:r>
                    </a:p>
                  </a:txBody>
                  <a:tcPr anchor="ctr">
                    <a:solidFill>
                      <a:schemeClr val="bg1"/>
                    </a:solidFill>
                  </a:tcPr>
                </a:tc>
                <a:extLst>
                  <a:ext uri="{0D108BD9-81ED-4DB2-BD59-A6C34878D82A}">
                    <a16:rowId xmlns:a16="http://schemas.microsoft.com/office/drawing/2014/main" val="2691783076"/>
                  </a:ext>
                </a:extLst>
              </a:tr>
            </a:tbl>
          </a:graphicData>
        </a:graphic>
      </p:graphicFrame>
    </p:spTree>
    <p:extLst>
      <p:ext uri="{BB962C8B-B14F-4D97-AF65-F5344CB8AC3E}">
        <p14:creationId xmlns:p14="http://schemas.microsoft.com/office/powerpoint/2010/main" val="226260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descr="Ein Bild, das Text, Reihe, Screenshot, Diagramm enthält.&#10;&#10;KI-generierte Inhalte können fehlerhaft sein.">
            <a:extLst>
              <a:ext uri="{FF2B5EF4-FFF2-40B4-BE49-F238E27FC236}">
                <a16:creationId xmlns:a16="http://schemas.microsoft.com/office/drawing/2014/main" id="{719D55FA-6768-D504-F05D-4BA7EF51FB2E}"/>
              </a:ext>
            </a:extLst>
          </p:cNvPr>
          <p:cNvPicPr>
            <a:picLocks noChangeAspect="1"/>
          </p:cNvPicPr>
          <p:nvPr/>
        </p:nvPicPr>
        <p:blipFill>
          <a:blip r:embed="rId3"/>
          <a:stretch>
            <a:fillRect/>
          </a:stretch>
        </p:blipFill>
        <p:spPr>
          <a:xfrm>
            <a:off x="1989237" y="1758510"/>
            <a:ext cx="7766708" cy="4366205"/>
          </a:xfrm>
          <a:prstGeom prst="rect">
            <a:avLst/>
          </a:prstGeom>
        </p:spPr>
      </p:pic>
      <p:sp>
        <p:nvSpPr>
          <p:cNvPr id="8" name="TextBox 1">
            <a:extLst>
              <a:ext uri="{FF2B5EF4-FFF2-40B4-BE49-F238E27FC236}">
                <a16:creationId xmlns:a16="http://schemas.microsoft.com/office/drawing/2014/main" id="{875DC8BD-C450-EA6A-5ACA-77A733F261EA}"/>
              </a:ext>
            </a:extLst>
          </p:cNvPr>
          <p:cNvSpPr txBox="1"/>
          <p:nvPr/>
        </p:nvSpPr>
        <p:spPr>
          <a:xfrm>
            <a:off x="550127" y="1084321"/>
            <a:ext cx="11255297" cy="584775"/>
          </a:xfrm>
          <a:prstGeom prst="rect">
            <a:avLst/>
          </a:prstGeom>
          <a:noFill/>
        </p:spPr>
        <p:txBody>
          <a:bodyPr wrap="square" rtlCol="0">
            <a:spAutoFit/>
          </a:bodyPr>
          <a:lstStyle/>
          <a:p>
            <a:pPr algn="ct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Die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richtige</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Bewertung</a:t>
            </a:r>
            <a:r>
              <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rPr>
              <a:t> der </a:t>
            </a:r>
            <a:r>
              <a:rPr lang="en-US" sz="3200" b="1" dirty="0" err="1">
                <a:solidFill>
                  <a:schemeClr val="tx1">
                    <a:lumMod val="75000"/>
                    <a:lumOff val="25000"/>
                  </a:schemeClr>
                </a:solidFill>
                <a:latin typeface="Segoe UI" panose="020B0502040204020203" pitchFamily="34" charset="0"/>
                <a:ea typeface="Lato" charset="0"/>
                <a:cs typeface="Segoe UI" panose="020B0502040204020203" pitchFamily="34" charset="0"/>
              </a:rPr>
              <a:t>Pensionsverpflichtung</a:t>
            </a:r>
            <a:endParaRPr lang="en-US" sz="3200" b="1" dirty="0">
              <a:solidFill>
                <a:schemeClr val="tx1">
                  <a:lumMod val="75000"/>
                  <a:lumOff val="25000"/>
                </a:schemeClr>
              </a:solidFill>
              <a:latin typeface="Segoe UI" panose="020B0502040204020203" pitchFamily="34" charset="0"/>
              <a:ea typeface="Lato" charset="0"/>
              <a:cs typeface="Segoe UI" panose="020B0502040204020203" pitchFamily="34" charset="0"/>
            </a:endParaRPr>
          </a:p>
        </p:txBody>
      </p:sp>
    </p:spTree>
    <p:extLst>
      <p:ext uri="{BB962C8B-B14F-4D97-AF65-F5344CB8AC3E}">
        <p14:creationId xmlns:p14="http://schemas.microsoft.com/office/powerpoint/2010/main" val="1828021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OT_AGENDAPROPERTIES" val="&lt;Agenda&gt;&lt;Colors&gt;&lt;Background themeColor=&quot;False&quot;&gt;No Fill&lt;/Background&gt;&lt;Highlight themeColor=&quot;True&quot;&gt;Accent 5&lt;/Highlight&gt;&lt;TextNormal themeColor=&quot;True&quot;&gt;Text 1&lt;/TextNormal&gt;&lt;TextHighlight themeColor=&quot;True&quot;&gt;Text 1&lt;/TextHighlight&gt;&lt;/Colors&gt;&lt;HighlightFont&gt;&lt;Bold&gt;True&lt;/Bold&gt;&lt;/HighlightFont&gt;&lt;/Agenda&gt;"/>
  <p:tag name="OT_AGENDAPAGENUMBERS" val="False"/>
  <p:tag name="OT_AGENDASHOWINSERTABSTRACTDIALOG" val="false"/>
</p:tagLst>
</file>

<file path=ppt/tags/tag10.xml><?xml version="1.0" encoding="utf-8"?>
<p:tagLst xmlns:a="http://schemas.openxmlformats.org/drawingml/2006/main" xmlns:r="http://schemas.openxmlformats.org/officeDocument/2006/relationships" xmlns:p="http://schemas.openxmlformats.org/presentationml/2006/main">
  <p:tag name="OT_AGENDAPROPERTIES" val="&lt;Agenda&gt;&lt;Colors&gt;&lt;Background themeColor=&quot;False&quot;&gt;No Fill&lt;/Background&gt;&lt;Highlight themeColor=&quot;True&quot;&gt;Accent 5&lt;/Highlight&gt;&lt;TextNormal themeColor=&quot;True&quot;&gt;Text 1&lt;/TextNormal&gt;&lt;TextHighlight themeColor=&quot;True&quot;&gt;Text 1&lt;/TextHighlight&gt;&lt;/Colors&gt;&lt;HighlightFont&gt;&lt;Bold&gt;True&lt;/Bold&gt;&lt;/HighlightFont&gt;&lt;/Agenda&gt;"/>
  <p:tag name="OT_AGENDAPAGENUMBERS" val="False"/>
  <p:tag name="OT_AGENDASHOWINSERTABSTRACTDIALOG" val="fals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988_mhKYLEeW4z3a8Vmb7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88_mhKYLEeW4z3a8Vmb7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88_mhKYLEeW4z3a8Vmb7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Ouj1CSLO0i8E.SH7bWYQQ"/>
  <p:tag name="HIDDEN" val="Fals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1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KzZ.zrQM_06gKljSioke9g"/>
  <p:tag name="LINEFORECOLOR" val="0"/>
  <p:tag name="LINEFORESCHEMECOLOR" val="13"/>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Ouj1CSLO0i8E.SH7bWYQQ"/>
  <p:tag name="HIDDEN" val="False"/>
</p:tagLst>
</file>

<file path=ppt/tags/tag2.xml><?xml version="1.0" encoding="utf-8"?>
<p:tagLst xmlns:a="http://schemas.openxmlformats.org/drawingml/2006/main" xmlns:r="http://schemas.openxmlformats.org/officeDocument/2006/relationships" xmlns:p="http://schemas.openxmlformats.org/presentationml/2006/main">
  <p:tag name="OT_AGENDAPROPERTIES" val="&lt;Agenda&gt;&lt;Colors&gt;&lt;Background themeColor=&quot;False&quot;&gt;No Fill&lt;/Background&gt;&lt;Highlight themeColor=&quot;True&quot;&gt;Accent 5&lt;/Highlight&gt;&lt;TextNormal themeColor=&quot;True&quot;&gt;Text 1&lt;/TextNormal&gt;&lt;TextHighlight themeColor=&quot;True&quot;&gt;Text 1&lt;/TextHighlight&gt;&lt;/Colors&gt;&lt;HighlightFont&gt;&lt;Bold&gt;True&lt;/Bold&gt;&lt;/HighlightFont&gt;&lt;/Agenda&gt;"/>
  <p:tag name="OT_AGENDAPAGENUMBERS" val="False"/>
  <p:tag name="OT_AGENDASHOWINSERTABSTRACTDIALOG" val="fals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88_mhKYLEeW4z3a8Vmb7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Ouj1CSLO0i8E.SH7bWYQQ"/>
  <p:tag name="HIDDEN" val="Fals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2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KzZ.zrQM_06gKljSioke9g"/>
  <p:tag name="LINEFORECOLOR" val="0"/>
  <p:tag name="LINEFORESCHEMECOLOR" val="13"/>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Ouj1CSLO0i8E.SH7bWYQQ"/>
  <p:tag name="HIDDEN" val="False"/>
</p:tagLst>
</file>

<file path=ppt/tags/tag3.xml><?xml version="1.0" encoding="utf-8"?>
<p:tagLst xmlns:a="http://schemas.openxmlformats.org/drawingml/2006/main" xmlns:r="http://schemas.openxmlformats.org/officeDocument/2006/relationships" xmlns:p="http://schemas.openxmlformats.org/presentationml/2006/main">
  <p:tag name="OT_AGENDAPROPERTIES" val="&lt;Agenda&gt;&lt;Colors&gt;&lt;Background themeColor=&quot;False&quot;&gt;No Fill&lt;/Background&gt;&lt;Highlight themeColor=&quot;True&quot;&gt;Accent 5&lt;/Highlight&gt;&lt;TextNormal themeColor=&quot;True&quot;&gt;Text 1&lt;/TextNormal&gt;&lt;TextHighlight themeColor=&quot;True&quot;&gt;Text 1&lt;/TextHighlight&gt;&lt;/Colors&gt;&lt;HighlightFont&gt;&lt;Bold&gt;True&lt;/Bold&gt;&lt;/HighlightFont&gt;&lt;/Agenda&gt;"/>
  <p:tag name="OT_AGENDAPAGENUMBERS" val="False"/>
  <p:tag name="OT_AGENDASHOWINSERTABSTRACTDIALOG" val="fals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uOuj1CSLO0i8E.SH7bWYQQ"/>
  <p:tag name="HIDDEN" val="Fals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988_mhKYLEeW4z3a8Vmb7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Ouj1CSLO0i8E.SH7bWYQQ"/>
  <p:tag name="HIDDEN" val="Fals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3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KzZ.zrQM_06gKljSioke9g"/>
  <p:tag name="LINEFORECOLOR" val="0"/>
  <p:tag name="LINEFORESCHEMECOLOR" val="13"/>
</p:tagLst>
</file>

<file path=ppt/tags/tag4.xml><?xml version="1.0" encoding="utf-8"?>
<p:tagLst xmlns:a="http://schemas.openxmlformats.org/drawingml/2006/main" xmlns:r="http://schemas.openxmlformats.org/officeDocument/2006/relationships" xmlns:p="http://schemas.openxmlformats.org/presentationml/2006/main">
  <p:tag name="OT_AGENDAPROPERTIES" val="&lt;Agenda&gt;&lt;Colors&gt;&lt;Background themeColor=&quot;False&quot;&gt;No Fill&lt;/Background&gt;&lt;Highlight themeColor=&quot;True&quot;&gt;Accent 5&lt;/Highlight&gt;&lt;TextNormal themeColor=&quot;True&quot;&gt;Text 1&lt;/TextNormal&gt;&lt;TextHighlight themeColor=&quot;True&quot;&gt;Text 1&lt;/TextHighlight&gt;&lt;/Colors&gt;&lt;HighlightFont&gt;&lt;Bold&gt;True&lt;/Bold&gt;&lt;/HighlightFont&gt;&lt;/Agenda&gt;"/>
  <p:tag name="OT_AGENDAPAGENUMBERS" val="False"/>
  <p:tag name="OT_AGENDASHOWINSERTABSTRACTDIALOG" val="fals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Ouj1CSLO0i8E.SH7bWYQQ"/>
  <p:tag name="HIDDEN" val="Fals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Ouj1CSLO0i8E.SH7bWYQQ"/>
  <p:tag name="HIDDEN" val="Fals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988_mhKYLEeW4z3a8Vmb7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Ouj1CSLO0i8E.SH7bWYQQ"/>
  <p:tag name="HIDDEN" val="Fals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5.xml><?xml version="1.0" encoding="utf-8"?>
<p:tagLst xmlns:a="http://schemas.openxmlformats.org/drawingml/2006/main" xmlns:r="http://schemas.openxmlformats.org/officeDocument/2006/relationships" xmlns:p="http://schemas.openxmlformats.org/presentationml/2006/main">
  <p:tag name="OT_AGENDAPROPERTIES" val="&lt;Agenda&gt;&lt;Colors&gt;&lt;Background themeColor=&quot;False&quot;&gt;No Fill&lt;/Background&gt;&lt;Highlight themeColor=&quot;True&quot;&gt;Accent 5&lt;/Highlight&gt;&lt;TextNormal themeColor=&quot;True&quot;&gt;Text 1&lt;/TextNormal&gt;&lt;TextHighlight themeColor=&quot;True&quot;&gt;Text 1&lt;/TextHighlight&gt;&lt;/Colors&gt;&lt;HighlightFont&gt;&lt;Bold&gt;True&lt;/Bold&gt;&lt;/HighlightFont&gt;&lt;/Agenda&gt;"/>
  <p:tag name="OT_AGENDAPAGENUMBERS" val="False"/>
  <p:tag name="OT_AGENDASHOWINSERTABSTRACTDIALOG" val="false"/>
</p:tagLst>
</file>

<file path=ppt/tags/tag5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KzZ.zrQM_06gKljSioke9g"/>
  <p:tag name="LINEFORECOLOR" val="0"/>
  <p:tag name="LINEFORESCHEMECOLOR" val="13"/>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Ouj1CSLO0i8E.SH7bWYQQ"/>
  <p:tag name="HIDDEN" val="Fals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Ouj1CSLO0i8E.SH7bWYQQ"/>
  <p:tag name="HIDDEN" val="Fals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988_mhKYLEeW4z3a8Vmb7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uOuj1CSLO0i8E.SH7bWYQQ"/>
  <p:tag name="HIDDEN" val="False"/>
</p:tagLst>
</file>

<file path=ppt/tags/tag6.xml><?xml version="1.0" encoding="utf-8"?>
<p:tagLst xmlns:a="http://schemas.openxmlformats.org/drawingml/2006/main" xmlns:r="http://schemas.openxmlformats.org/officeDocument/2006/relationships" xmlns:p="http://schemas.openxmlformats.org/presentationml/2006/main">
  <p:tag name="OT_AGENDAPROPERTIES" val="&lt;Agenda&gt;&lt;Colors&gt;&lt;Background themeColor=&quot;False&quot;&gt;No Fill&lt;/Background&gt;&lt;Highlight themeColor=&quot;True&quot;&gt;Accent 5&lt;/Highlight&gt;&lt;TextNormal themeColor=&quot;True&quot;&gt;Text 1&lt;/TextNormal&gt;&lt;TextHighlight themeColor=&quot;True&quot;&gt;Text 1&lt;/TextHighlight&gt;&lt;/Colors&gt;&lt;HighlightFont&gt;&lt;Bold&gt;True&lt;/Bold&gt;&lt;/HighlightFont&gt;&lt;/Agenda&gt;"/>
  <p:tag name="OT_AGENDAPAGENUMBERS" val="False"/>
  <p:tag name="OT_AGENDASHOWINSERTABSTRACTDIALOG" val="fals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6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KzZ.zrQM_06gKljSioke9g"/>
  <p:tag name="LINEFORECOLOR" val="0"/>
  <p:tag name="LINEFORESCHEMECOLOR" val="13"/>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Ouj1CSLO0i8E.SH7bWYQQ"/>
  <p:tag name="HIDDEN" val="Fals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uOuj1CSLO0i8E.SH7bWYQQ"/>
  <p:tag name="HIDDEN" val="Fals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988_mhKYLEeW4z3a8Vmb7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7.xml><?xml version="1.0" encoding="utf-8"?>
<p:tagLst xmlns:a="http://schemas.openxmlformats.org/drawingml/2006/main" xmlns:r="http://schemas.openxmlformats.org/officeDocument/2006/relationships" xmlns:p="http://schemas.openxmlformats.org/presentationml/2006/main">
  <p:tag name="OT_AGENDAPROPERTIES" val="&lt;Agenda&gt;&lt;Colors&gt;&lt;Background themeColor=&quot;False&quot;&gt;No Fill&lt;/Background&gt;&lt;Highlight themeColor=&quot;True&quot;&gt;Accent 5&lt;/Highlight&gt;&lt;TextNormal themeColor=&quot;True&quot;&gt;Text 1&lt;/TextNormal&gt;&lt;TextHighlight themeColor=&quot;True&quot;&gt;Text 1&lt;/TextHighlight&gt;&lt;/Colors&gt;&lt;HighlightFont&gt;&lt;Bold&gt;True&lt;/Bold&gt;&lt;/HighlightFont&gt;&lt;/Agenda&gt;"/>
  <p:tag name="OT_AGENDAPAGENUMBERS" val="False"/>
  <p:tag name="OT_AGENDASHOWINSERTABSTRACTDIALOG" val="fals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Ouj1CSLO0i8E.SH7bWYQQ"/>
  <p:tag name="HIDDEN" val="Fals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7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KzZ.zrQM_06gKljSioke9g"/>
  <p:tag name="LINEFORECOLOR" val="0"/>
  <p:tag name="LINEFORESCHEMECOLOR" val="13"/>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uOuj1CSLO0i8E.SH7bWYQQ"/>
  <p:tag name="HIDDEN" val="Fals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uOuj1CSLO0i8E.SH7bWYQQ"/>
  <p:tag name="HIDDEN" val="Fals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wodoJrrZEWD8ouSufmoqA"/>
</p:tagLst>
</file>

<file path=ppt/tags/tag76.xml><?xml version="1.0" encoding="utf-8"?>
<p:tagLst xmlns:a="http://schemas.openxmlformats.org/drawingml/2006/main" xmlns:r="http://schemas.openxmlformats.org/officeDocument/2006/relationships" xmlns:p="http://schemas.openxmlformats.org/presentationml/2006/main">
  <p:tag name="OT_AGENDAPROPERTIES" val="&lt;Agenda&gt;&lt;Colors&gt;&lt;Background themeColor=&quot;False&quot;&gt;No Fill&lt;/Background&gt;&lt;Highlight themeColor=&quot;True&quot;&gt;Accent 5&lt;/Highlight&gt;&lt;TextNormal themeColor=&quot;True&quot;&gt;Text 1&lt;/TextNormal&gt;&lt;TextHighlight themeColor=&quot;True&quot;&gt;Text 1&lt;/TextHighlight&gt;&lt;/Colors&gt;&lt;HighlightFont&gt;&lt;Bold&gt;True&lt;/Bold&gt;&lt;/HighlightFont&gt;&lt;/Agenda&gt;"/>
  <p:tag name="OT_AGENDAPAGENUMBERS" val="False"/>
  <p:tag name="OT_AGENDASHOWINSERTABSTRACTDIALOG" val="fals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988_mhKYLEeW4z3a8Vmb7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988_mhKYLEeW4z3a8Vmb7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88_mhKYLEeW4z3a8Vmb7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88_mhKYLEeW4z3a8Vmb7Q"/>
</p:tagLst>
</file>

<file path=ppt/theme/theme1.xml><?xml version="1.0" encoding="utf-8"?>
<a:theme xmlns:a="http://schemas.openxmlformats.org/drawingml/2006/main" name="Office Theme">
  <a:themeElements>
    <a:clrScheme name="agio-flat-blue">
      <a:dk1>
        <a:srgbClr val="000000"/>
      </a:dk1>
      <a:lt1>
        <a:srgbClr val="FFFFFF"/>
      </a:lt1>
      <a:dk2>
        <a:srgbClr val="44546A"/>
      </a:dk2>
      <a:lt2>
        <a:srgbClr val="E7E6E6"/>
      </a:lt2>
      <a:accent1>
        <a:srgbClr val="01C6FC"/>
      </a:accent1>
      <a:accent2>
        <a:srgbClr val="0DA9E2"/>
      </a:accent2>
      <a:accent3>
        <a:srgbClr val="A5A5A5"/>
      </a:accent3>
      <a:accent4>
        <a:srgbClr val="7E7F7E"/>
      </a:accent4>
      <a:accent5>
        <a:srgbClr val="4472C4"/>
      </a:accent5>
      <a:accent6>
        <a:srgbClr val="585958"/>
      </a:accent6>
      <a:hlink>
        <a:srgbClr val="D8D9D8"/>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2b90735-009d-435f-bc4b-f3cde4a6be14" xsi:nil="true"/>
    <lcf76f155ced4ddcb4097134ff3c332f xmlns="e00028a8-5693-46ac-a0c7-2c654e0885f7">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DD214EC6E48E154ABF74DAA81DBEC858" ma:contentTypeVersion="15" ma:contentTypeDescription="Ein neues Dokument erstellen." ma:contentTypeScope="" ma:versionID="f1d05c0675ff1196ffeaec4a2d45f8e9">
  <xsd:schema xmlns:xsd="http://www.w3.org/2001/XMLSchema" xmlns:xs="http://www.w3.org/2001/XMLSchema" xmlns:p="http://schemas.microsoft.com/office/2006/metadata/properties" xmlns:ns2="e00028a8-5693-46ac-a0c7-2c654e0885f7" xmlns:ns3="f2b90735-009d-435f-bc4b-f3cde4a6be14" targetNamespace="http://schemas.microsoft.com/office/2006/metadata/properties" ma:root="true" ma:fieldsID="c8c02688d2eccf8a8ea5c68282a938aa" ns2:_="" ns3:_="">
    <xsd:import namespace="e00028a8-5693-46ac-a0c7-2c654e0885f7"/>
    <xsd:import namespace="f2b90735-009d-435f-bc4b-f3cde4a6be14"/>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element ref="ns2:MediaServiceDateTaken" minOccurs="0"/>
                <xsd:element ref="ns2:MediaServiceLocation"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0028a8-5693-46ac-a0c7-2c654e0885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74208a61-80eb-446b-83d4-a47a9fd821cd"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2b90735-009d-435f-bc4b-f3cde4a6be14"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904b151e-f01c-446a-9829-d3fcdeaa45af}" ma:internalName="TaxCatchAll" ma:showField="CatchAllData" ma:web="f2b90735-009d-435f-bc4b-f3cde4a6be14">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BSO999929 xmlns="http://www.datev.de/BSOffice/999929">47882600-6842-4457-8695-961b12066e6d</BSO999929>
</file>

<file path=customXml/itemProps1.xml><?xml version="1.0" encoding="utf-8"?>
<ds:datastoreItem xmlns:ds="http://schemas.openxmlformats.org/officeDocument/2006/customXml" ds:itemID="{2A1A2D35-4611-4AF6-B38C-156C3D3D6A37}">
  <ds:schemaRefs>
    <ds:schemaRef ds:uri="http://purl.org/dc/elements/1.1/"/>
    <ds:schemaRef ds:uri="http://schemas.openxmlformats.org/package/2006/metadata/core-properties"/>
    <ds:schemaRef ds:uri="e00028a8-5693-46ac-a0c7-2c654e0885f7"/>
    <ds:schemaRef ds:uri="http://schemas.microsoft.com/office/infopath/2007/PartnerControls"/>
    <ds:schemaRef ds:uri="http://www.w3.org/XML/1998/namespace"/>
    <ds:schemaRef ds:uri="http://purl.org/dc/terms/"/>
    <ds:schemaRef ds:uri="http://schemas.microsoft.com/office/2006/metadata/properties"/>
    <ds:schemaRef ds:uri="http://schemas.microsoft.com/office/2006/documentManagement/types"/>
    <ds:schemaRef ds:uri="f2b90735-009d-435f-bc4b-f3cde4a6be14"/>
    <ds:schemaRef ds:uri="http://purl.org/dc/dcmitype/"/>
  </ds:schemaRefs>
</ds:datastoreItem>
</file>

<file path=customXml/itemProps2.xml><?xml version="1.0" encoding="utf-8"?>
<ds:datastoreItem xmlns:ds="http://schemas.openxmlformats.org/officeDocument/2006/customXml" ds:itemID="{A47A60A3-6092-4414-ADFF-B960E685A065}">
  <ds:schemaRefs>
    <ds:schemaRef ds:uri="http://schemas.microsoft.com/sharepoint/v3/contenttype/forms"/>
  </ds:schemaRefs>
</ds:datastoreItem>
</file>

<file path=customXml/itemProps3.xml><?xml version="1.0" encoding="utf-8"?>
<ds:datastoreItem xmlns:ds="http://schemas.openxmlformats.org/officeDocument/2006/customXml" ds:itemID="{3C15746B-C89A-440F-A9C0-B8A979D6B3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0028a8-5693-46ac-a0c7-2c654e0885f7"/>
    <ds:schemaRef ds:uri="f2b90735-009d-435f-bc4b-f3cde4a6be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A504AE3C-7AC1-41D5-BB73-5EE4222E22F6}">
  <ds:schemaRefs>
    <ds:schemaRef ds:uri="http://www.datev.de/BSOffice/999929"/>
  </ds:schemaRefs>
</ds:datastoreItem>
</file>

<file path=docMetadata/LabelInfo.xml><?xml version="1.0" encoding="utf-8"?>
<clbl:labelList xmlns:clbl="http://schemas.microsoft.com/office/2020/mipLabelMetadata">
  <clbl:label id="{5eca1fd1-7798-4fc1-909e-091a0b94d2d1}" enabled="0" method="" siteId="{5eca1fd1-7798-4fc1-909e-091a0b94d2d1}" removed="1"/>
</clbl:labelList>
</file>

<file path=docProps/app.xml><?xml version="1.0" encoding="utf-8"?>
<Properties xmlns="http://schemas.openxmlformats.org/officeDocument/2006/extended-properties" xmlns:vt="http://schemas.openxmlformats.org/officeDocument/2006/docPropsVTypes">
  <Template>Office Theme</Template>
  <TotalTime>0</TotalTime>
  <Words>3145</Words>
  <Application>Microsoft Office PowerPoint</Application>
  <PresentationFormat>Breitbild</PresentationFormat>
  <Paragraphs>662</Paragraphs>
  <Slides>60</Slides>
  <Notes>59</Notes>
  <HiddenSlides>0</HiddenSlides>
  <MMClips>1</MMClips>
  <ScaleCrop>false</ScaleCrop>
  <HeadingPairs>
    <vt:vector size="6" baseType="variant">
      <vt:variant>
        <vt:lpstr>Verwendete Schriftarten</vt:lpstr>
      </vt:variant>
      <vt:variant>
        <vt:i4>9</vt:i4>
      </vt:variant>
      <vt:variant>
        <vt:lpstr>Design</vt:lpstr>
      </vt:variant>
      <vt:variant>
        <vt:i4>1</vt:i4>
      </vt:variant>
      <vt:variant>
        <vt:lpstr>Folientitel</vt:lpstr>
      </vt:variant>
      <vt:variant>
        <vt:i4>60</vt:i4>
      </vt:variant>
    </vt:vector>
  </HeadingPairs>
  <TitlesOfParts>
    <vt:vector size="70" baseType="lpstr">
      <vt:lpstr>Arial</vt:lpstr>
      <vt:lpstr>Calibri</vt:lpstr>
      <vt:lpstr>GT-America</vt:lpstr>
      <vt:lpstr>Lato</vt:lpstr>
      <vt:lpstr>Roboto</vt:lpstr>
      <vt:lpstr>Segoe UI</vt:lpstr>
      <vt:lpstr>Segoe UI Black</vt:lpstr>
      <vt:lpstr>Segoe UI Semibold</vt:lpstr>
      <vt:lpstr>Wingdings</vt:lpstr>
      <vt:lpstr>Office Them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n</dc:creator>
  <cp:lastModifiedBy>Yvonne Scheer</cp:lastModifiedBy>
  <cp:revision>1789</cp:revision>
  <cp:lastPrinted>2021-05-03T13:36:27Z</cp:lastPrinted>
  <dcterms:created xsi:type="dcterms:W3CDTF">2014-10-14T06:21:58Z</dcterms:created>
  <dcterms:modified xsi:type="dcterms:W3CDTF">2025-06-26T05:5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D214EC6E48E154ABF74DAA81DBEC858</vt:lpwstr>
  </property>
  <property fmtid="{D5CDD505-2E9C-101B-9397-08002B2CF9AE}" pid="3" name="MediaServiceImageTags">
    <vt:lpwstr/>
  </property>
</Properties>
</file>